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charts/chart3.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39.xml" ContentType="application/vnd.openxmlformats-officedocument.presentationml.tags+xml"/>
  <Override PartName="/ppt/tags/tag540.xml" ContentType="application/vnd.openxmlformats-officedocument.presentationml.tags+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notesSlides/notesSlide6.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notesSlides/notesSlide8.xml" ContentType="application/vnd.openxmlformats-officedocument.presentationml.notesSlide+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notesSlides/notesSlide9.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charts/chart19.xml" ContentType="application/vnd.openxmlformats-officedocument.drawingml.chart+xml"/>
  <Override PartName="/ppt/tags/tag909.xml" ContentType="application/vnd.openxmlformats-officedocument.presentationml.tags+xml"/>
  <Override PartName="/ppt/tags/tag910.xml" ContentType="application/vnd.openxmlformats-officedocument.presentationml.tags+xml"/>
  <Override PartName="/ppt/notesSlides/notesSlide11.xml" ContentType="application/vnd.openxmlformats-officedocument.presentationml.notesSlide+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charts/chart20.xml" ContentType="application/vnd.openxmlformats-officedocument.drawingml.chart+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charts/chart21.xml" ContentType="application/vnd.openxmlformats-officedocument.drawingml.chart+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039.xml" ContentType="application/vnd.openxmlformats-officedocument.presentationml.tags+xml"/>
  <Override PartName="/ppt/tags/tag1040.xml" ContentType="application/vnd.openxmlformats-officedocument.presentationml.tags+xml"/>
  <Override PartName="/ppt/notesSlides/notesSlide12.xml" ContentType="application/vnd.openxmlformats-officedocument.presentationml.notesSlide+xml"/>
  <Override PartName="/ppt/tags/tag1041.xml" ContentType="application/vnd.openxmlformats-officedocument.presentationml.tags+xml"/>
  <Override PartName="/ppt/tags/tag1042.xml" ContentType="application/vnd.openxmlformats-officedocument.presentationml.tags+xml"/>
  <Override PartName="/ppt/notesSlides/notesSlide13.xml" ContentType="application/vnd.openxmlformats-officedocument.presentationml.notesSlide+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1100.xml" ContentType="application/vnd.openxmlformats-officedocument.presentationml.tags+xml"/>
  <Override PartName="/ppt/tags/tag1101.xml" ContentType="application/vnd.openxmlformats-officedocument.presentationml.tags+xml"/>
  <Override PartName="/ppt/notesSlides/notesSlide14.xml" ContentType="application/vnd.openxmlformats-officedocument.presentationml.notesSl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charts/chart26.xml" ContentType="application/vnd.openxmlformats-officedocument.drawingml.chart+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15.xml" ContentType="application/vnd.openxmlformats-officedocument.presentationml.notesSlide+xml"/>
  <Override PartName="/ppt/tags/tag1136.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 id="2147483676" r:id="rId2"/>
  </p:sldMasterIdLst>
  <p:notesMasterIdLst>
    <p:notesMasterId r:id="rId91"/>
  </p:notesMasterIdLst>
  <p:handoutMasterIdLst>
    <p:handoutMasterId r:id="rId92"/>
  </p:handoutMasterIdLst>
  <p:sldIdLst>
    <p:sldId id="568" r:id="rId3"/>
    <p:sldId id="2147470377" r:id="rId4"/>
    <p:sldId id="2147470440" r:id="rId5"/>
    <p:sldId id="381" r:id="rId6"/>
    <p:sldId id="639" r:id="rId7"/>
    <p:sldId id="2147472431" r:id="rId8"/>
    <p:sldId id="2147472387" r:id="rId9"/>
    <p:sldId id="2147472433" r:id="rId10"/>
    <p:sldId id="2147472434" r:id="rId11"/>
    <p:sldId id="2147472389" r:id="rId12"/>
    <p:sldId id="640" r:id="rId13"/>
    <p:sldId id="527" r:id="rId14"/>
    <p:sldId id="2147470442" r:id="rId15"/>
    <p:sldId id="477" r:id="rId16"/>
    <p:sldId id="2147470428" r:id="rId17"/>
    <p:sldId id="663" r:id="rId18"/>
    <p:sldId id="382" r:id="rId19"/>
    <p:sldId id="627" r:id="rId20"/>
    <p:sldId id="2147470337" r:id="rId21"/>
    <p:sldId id="2147472394" r:id="rId22"/>
    <p:sldId id="2147472405" r:id="rId23"/>
    <p:sldId id="2147472408" r:id="rId24"/>
    <p:sldId id="2147472409" r:id="rId25"/>
    <p:sldId id="2147472410" r:id="rId26"/>
    <p:sldId id="2147472411" r:id="rId27"/>
    <p:sldId id="2147472412" r:id="rId28"/>
    <p:sldId id="2147472390" r:id="rId29"/>
    <p:sldId id="2147472392" r:id="rId30"/>
    <p:sldId id="2147472435" r:id="rId31"/>
    <p:sldId id="2147470340" r:id="rId32"/>
    <p:sldId id="542" r:id="rId33"/>
    <p:sldId id="2147470331" r:id="rId34"/>
    <p:sldId id="529" r:id="rId35"/>
    <p:sldId id="2147472380" r:id="rId36"/>
    <p:sldId id="485" r:id="rId37"/>
    <p:sldId id="486" r:id="rId38"/>
    <p:sldId id="2147470338" r:id="rId39"/>
    <p:sldId id="2147470353" r:id="rId40"/>
    <p:sldId id="690" r:id="rId41"/>
    <p:sldId id="2147472418" r:id="rId42"/>
    <p:sldId id="2147472419" r:id="rId43"/>
    <p:sldId id="2147472420" r:id="rId44"/>
    <p:sldId id="2147472422" r:id="rId45"/>
    <p:sldId id="2147472423" r:id="rId46"/>
    <p:sldId id="2147470431" r:id="rId47"/>
    <p:sldId id="2147470339" r:id="rId48"/>
    <p:sldId id="2147470429" r:id="rId49"/>
    <p:sldId id="2147470430" r:id="rId50"/>
    <p:sldId id="2147472436" r:id="rId51"/>
    <p:sldId id="737" r:id="rId52"/>
    <p:sldId id="2147472438" r:id="rId53"/>
    <p:sldId id="666" r:id="rId54"/>
    <p:sldId id="2147472382" r:id="rId55"/>
    <p:sldId id="681" r:id="rId56"/>
    <p:sldId id="2147472383" r:id="rId57"/>
    <p:sldId id="682" r:id="rId58"/>
    <p:sldId id="2147470312" r:id="rId59"/>
    <p:sldId id="2147470433" r:id="rId60"/>
    <p:sldId id="2147472439" r:id="rId61"/>
    <p:sldId id="2147472385" r:id="rId62"/>
    <p:sldId id="2147470376" r:id="rId63"/>
    <p:sldId id="674" r:id="rId64"/>
    <p:sldId id="2147470439" r:id="rId65"/>
    <p:sldId id="2147470437" r:id="rId66"/>
    <p:sldId id="2147470316" r:id="rId67"/>
    <p:sldId id="2147470441" r:id="rId68"/>
    <p:sldId id="691" r:id="rId69"/>
    <p:sldId id="2147470334" r:id="rId70"/>
    <p:sldId id="2147470335" r:id="rId71"/>
    <p:sldId id="557" r:id="rId72"/>
    <p:sldId id="451" r:id="rId73"/>
    <p:sldId id="652" r:id="rId74"/>
    <p:sldId id="2147472425" r:id="rId75"/>
    <p:sldId id="2147472426" r:id="rId76"/>
    <p:sldId id="2147472427" r:id="rId77"/>
    <p:sldId id="2147472428" r:id="rId78"/>
    <p:sldId id="2147470313" r:id="rId79"/>
    <p:sldId id="642" r:id="rId80"/>
    <p:sldId id="2147472391" r:id="rId81"/>
    <p:sldId id="2147470438" r:id="rId82"/>
    <p:sldId id="683" r:id="rId83"/>
    <p:sldId id="599" r:id="rId84"/>
    <p:sldId id="600" r:id="rId85"/>
    <p:sldId id="644" r:id="rId86"/>
    <p:sldId id="602" r:id="rId87"/>
    <p:sldId id="603" r:id="rId88"/>
    <p:sldId id="673" r:id="rId89"/>
    <p:sldId id="686" r:id="rId90"/>
  </p:sldIdLst>
  <p:sldSz cx="9906000" cy="6858000" type="A4"/>
  <p:notesSz cx="6807200" cy="9939338"/>
  <p:custDataLst>
    <p:tags r:id="rId9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33"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41" userDrawn="1">
          <p15:clr>
            <a:srgbClr val="A4A3A4"/>
          </p15:clr>
        </p15:guide>
        <p15:guide id="16" pos="3120">
          <p15:clr>
            <a:srgbClr val="A4A3A4"/>
          </p15:clr>
        </p15:guide>
        <p15:guide id="17" pos="5524">
          <p15:clr>
            <a:srgbClr val="A4A3A4"/>
          </p15:clr>
        </p15:guide>
        <p15:guide id="18" pos="716">
          <p15:clr>
            <a:srgbClr val="A4A3A4"/>
          </p15:clr>
        </p15:guide>
        <p15:guide id="19" orient="horz" pos="216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2" name="作成者" initials="A" lastIdx="0"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ADA"/>
    <a:srgbClr val="E8E8E8"/>
    <a:srgbClr val="AFCDE0"/>
    <a:srgbClr val="CADDEB"/>
    <a:srgbClr val="4D4D4D"/>
    <a:srgbClr val="CCCCCC"/>
    <a:srgbClr val="80CCE8"/>
    <a:srgbClr val="C0E6F4"/>
    <a:srgbClr val="1F497D"/>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2" autoAdjust="0"/>
    <p:restoredTop sz="96126" autoAdjust="0"/>
  </p:normalViewPr>
  <p:slideViewPr>
    <p:cSldViewPr>
      <p:cViewPr varScale="1">
        <p:scale>
          <a:sx n="90" d="100"/>
          <a:sy n="90" d="100"/>
        </p:scale>
        <p:origin x="2106" y="306"/>
      </p:cViewPr>
      <p:guideLst>
        <p:guide orient="horz" pos="4156"/>
        <p:guide pos="6114"/>
        <p:guide orient="horz" pos="1933"/>
        <p:guide pos="1669"/>
        <p:guide pos="126"/>
        <p:guide orient="horz" pos="709"/>
        <p:guide orient="horz" pos="3566"/>
        <p:guide orient="horz" pos="2341"/>
        <p:guide pos="3120"/>
        <p:guide pos="5524"/>
        <p:guide pos="716"/>
        <p:guide orient="horz" pos="216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commentAuthors" Target="commentAuthors.xml"/><Relationship Id="rId9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3.xml"/><Relationship Id="rId1" Type="http://schemas.microsoft.com/office/2011/relationships/chartStyle" Target="style3.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25706503234589E-3"/>
          <c:y val="0.15081652257444764"/>
          <c:w val="0.95420497105890367"/>
          <c:h val="0.7127761767531219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4035245</c:v>
                </c:pt>
                <c:pt idx="1">
                  <c:v>4116166</c:v>
                </c:pt>
                <c:pt idx="2">
                  <c:v>4146892.5</c:v>
                </c:pt>
                <c:pt idx="3">
                  <c:v>4138245</c:v>
                </c:pt>
                <c:pt idx="4">
                  <c:v>4172767.5</c:v>
                </c:pt>
                <c:pt idx="5">
                  <c:v>4268363.5</c:v>
                </c:pt>
                <c:pt idx="6">
                  <c:v>4407058</c:v>
                </c:pt>
                <c:pt idx="7">
                  <c:v>4596515</c:v>
                </c:pt>
                <c:pt idx="8">
                  <c:v>4806741</c:v>
                </c:pt>
                <c:pt idx="9">
                  <c:v>4968567.5</c:v>
                </c:pt>
                <c:pt idx="10">
                  <c:v>5077014</c:v>
                </c:pt>
                <c:pt idx="11">
                  <c:v>5182239</c:v>
                </c:pt>
                <c:pt idx="12">
                  <c:v>5293339.5</c:v>
                </c:pt>
                <c:pt idx="13">
                  <c:v>5385588.5</c:v>
                </c:pt>
                <c:pt idx="14">
                  <c:v>5457900</c:v>
                </c:pt>
                <c:pt idx="15">
                  <c:v>5525339.5</c:v>
                </c:pt>
                <c:pt idx="16">
                  <c:v>5577929.5</c:v>
                </c:pt>
                <c:pt idx="17">
                  <c:v>5604078.5</c:v>
                </c:pt>
                <c:pt idx="18">
                  <c:v>5634369.5</c:v>
                </c:pt>
                <c:pt idx="19">
                  <c:v>5669562.5</c:v>
                </c:pt>
                <c:pt idx="20">
                  <c:v>5620150.5</c:v>
                </c:pt>
                <c:pt idx="21">
                  <c:v>5546290</c:v>
                </c:pt>
                <c:pt idx="22">
                  <c:v>5649884.5</c:v>
                </c:pt>
                <c:pt idx="23">
                  <c:v>5789089.5</c:v>
                </c:pt>
                <c:pt idx="24">
                  <c:v>5832387</c:v>
                </c:pt>
                <c:pt idx="25">
                  <c:v>5870750</c:v>
                </c:pt>
                <c:pt idx="26">
                  <c:v>6031377.5</c:v>
                </c:pt>
                <c:pt idx="27">
                  <c:v>6194781.5</c:v>
                </c:pt>
                <c:pt idx="28">
                  <c:v>6081691.5</c:v>
                </c:pt>
              </c:numCache>
            </c:numRef>
          </c:val>
          <c:extLst>
            <c:ext xmlns:c16="http://schemas.microsoft.com/office/drawing/2014/chart" uri="{C3380CC4-5D6E-409C-BE32-E72D297353CC}">
              <c16:uniqueId val="{00000000-8EF5-4FED-A265-434E7C09BCC3}"/>
            </c:ext>
          </c:extLst>
        </c:ser>
        <c:dLbls>
          <c:showLegendKey val="0"/>
          <c:showVal val="0"/>
          <c:showCatName val="0"/>
          <c:showSerName val="0"/>
          <c:showPercent val="0"/>
          <c:showBubbleSize val="0"/>
        </c:dLbls>
        <c:gapWidth val="60"/>
        <c:overlap val="100"/>
        <c:axId val="19801207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F5-4FED-A265-434E7C09BCC3}"/>
                </c:ext>
              </c:extLst>
            </c:dLbl>
            <c:dLbl>
              <c:idx val="1"/>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F5-4FED-A265-434E7C09BCC3}"/>
                </c:ext>
              </c:extLst>
            </c:dLbl>
            <c:dLbl>
              <c:idx val="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F5-4FED-A265-434E7C09BCC3}"/>
                </c:ext>
              </c:extLst>
            </c:dLbl>
            <c:dLbl>
              <c:idx val="3"/>
              <c:layout>
                <c:manualLayout>
                  <c:x val="0"/>
                  <c:y val="-0.103746397694524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F5-4FED-A265-434E7C09BCC3}"/>
                </c:ext>
              </c:extLst>
            </c:dLbl>
            <c:dLbl>
              <c:idx val="4"/>
              <c:layout>
                <c:manualLayout>
                  <c:x val="0"/>
                  <c:y val="-0.103746397694524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F5-4FED-A265-434E7C09BCC3}"/>
                </c:ext>
              </c:extLst>
            </c:dLbl>
            <c:dLbl>
              <c:idx val="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F5-4FED-A265-434E7C09BCC3}"/>
                </c:ext>
              </c:extLst>
            </c:dLbl>
            <c:dLbl>
              <c:idx val="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F5-4FED-A265-434E7C09BCC3}"/>
                </c:ext>
              </c:extLst>
            </c:dLbl>
            <c:dLbl>
              <c:idx val="7"/>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F5-4FED-A265-434E7C09BCC3}"/>
                </c:ext>
              </c:extLst>
            </c:dLbl>
            <c:dLbl>
              <c:idx val="8"/>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F5-4FED-A265-434E7C09BCC3}"/>
                </c:ext>
              </c:extLst>
            </c:dLbl>
            <c:dLbl>
              <c:idx val="9"/>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F5-4FED-A265-434E7C09BCC3}"/>
                </c:ext>
              </c:extLst>
            </c:dLbl>
            <c:dLbl>
              <c:idx val="10"/>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F5-4FED-A265-434E7C09BCC3}"/>
                </c:ext>
              </c:extLst>
            </c:dLbl>
            <c:dLbl>
              <c:idx val="11"/>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F5-4FED-A265-434E7C09BCC3}"/>
                </c:ext>
              </c:extLst>
            </c:dLbl>
            <c:dLbl>
              <c:idx val="1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F5-4FED-A265-434E7C09BCC3}"/>
                </c:ext>
              </c:extLst>
            </c:dLbl>
            <c:dLbl>
              <c:idx val="13"/>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F5-4FED-A265-434E7C09BCC3}"/>
                </c:ext>
              </c:extLst>
            </c:dLbl>
            <c:dLbl>
              <c:idx val="14"/>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F5-4FED-A265-434E7C09BCC3}"/>
                </c:ext>
              </c:extLst>
            </c:dLbl>
            <c:dLbl>
              <c:idx val="1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F5-4FED-A265-434E7C09BCC3}"/>
                </c:ext>
              </c:extLst>
            </c:dLbl>
            <c:dLbl>
              <c:idx val="1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F5-4FED-A265-434E7C09BCC3}"/>
                </c:ext>
              </c:extLst>
            </c:dLbl>
            <c:dLbl>
              <c:idx val="17"/>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F5-4FED-A265-434E7C09BCC3}"/>
                </c:ext>
              </c:extLst>
            </c:dLbl>
            <c:dLbl>
              <c:idx val="18"/>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F5-4FED-A265-434E7C09BCC3}"/>
                </c:ext>
              </c:extLst>
            </c:dLbl>
            <c:dLbl>
              <c:idx val="19"/>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EF5-4FED-A265-434E7C09BCC3}"/>
                </c:ext>
              </c:extLst>
            </c:dLbl>
            <c:dLbl>
              <c:idx val="20"/>
              <c:layout>
                <c:manualLayout>
                  <c:x val="-3.7453183520599251E-3"/>
                  <c:y val="-0.2843419788664745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EF5-4FED-A265-434E7C09BCC3}"/>
                </c:ext>
              </c:extLst>
            </c:dLbl>
            <c:dLbl>
              <c:idx val="2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EF5-4FED-A265-434E7C09BCC3}"/>
                </c:ext>
              </c:extLst>
            </c:dLbl>
            <c:dLbl>
              <c:idx val="23"/>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EF5-4FED-A265-434E7C09BCC3}"/>
                </c:ext>
              </c:extLst>
            </c:dLbl>
            <c:dLbl>
              <c:idx val="24"/>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EF5-4FED-A265-434E7C09BCC3}"/>
                </c:ext>
              </c:extLst>
            </c:dLbl>
            <c:dLbl>
              <c:idx val="2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EF5-4FED-A265-434E7C09BCC3}"/>
                </c:ext>
              </c:extLst>
            </c:dLbl>
            <c:dLbl>
              <c:idx val="2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EF5-4FED-A265-434E7C09BCC3}"/>
                </c:ext>
              </c:extLst>
            </c:dLbl>
            <c:dLbl>
              <c:idx val="27"/>
              <c:layout>
                <c:manualLayout>
                  <c:x val="0"/>
                  <c:y val="-0.1037463976945245"/>
                </c:manualLayout>
              </c:layout>
              <c:numFmt formatCode="#,##0.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EF5-4FED-A265-434E7C09BCC3}"/>
                </c:ext>
              </c:extLst>
            </c:dLbl>
            <c:dLbl>
              <c:idx val="28"/>
              <c:layout>
                <c:manualLayout>
                  <c:x val="-5.1072522982635344E-4"/>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EF5-4FED-A265-434E7C09B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1949999999999998</c:v>
                </c:pt>
                <c:pt idx="1">
                  <c:v>1.78</c:v>
                </c:pt>
                <c:pt idx="2">
                  <c:v>-0.28499999999999998</c:v>
                </c:pt>
                <c:pt idx="3">
                  <c:v>-0.13300000000000001</c:v>
                </c:pt>
                <c:pt idx="4">
                  <c:v>1.786</c:v>
                </c:pt>
                <c:pt idx="5">
                  <c:v>2.7330000000000001</c:v>
                </c:pt>
                <c:pt idx="6">
                  <c:v>3.6469999999999998</c:v>
                </c:pt>
                <c:pt idx="7">
                  <c:v>4.7480000000000002</c:v>
                </c:pt>
                <c:pt idx="8">
                  <c:v>4.2089999999999996</c:v>
                </c:pt>
                <c:pt idx="9">
                  <c:v>2.4430000000000001</c:v>
                </c:pt>
                <c:pt idx="10">
                  <c:v>1.881</c:v>
                </c:pt>
                <c:pt idx="11">
                  <c:v>2.218</c:v>
                </c:pt>
                <c:pt idx="12">
                  <c:v>2.0259999999999998</c:v>
                </c:pt>
                <c:pt idx="13">
                  <c:v>1.4339999999999999</c:v>
                </c:pt>
                <c:pt idx="14">
                  <c:v>1.2350000000000001</c:v>
                </c:pt>
                <c:pt idx="15">
                  <c:v>1.222</c:v>
                </c:pt>
                <c:pt idx="16">
                  <c:v>0.67600000000000005</c:v>
                </c:pt>
                <c:pt idx="17">
                  <c:v>0.26100000000000001</c:v>
                </c:pt>
                <c:pt idx="18">
                  <c:v>0.81599999999999995</c:v>
                </c:pt>
                <c:pt idx="19">
                  <c:v>0.43099999999999999</c:v>
                </c:pt>
                <c:pt idx="20">
                  <c:v>-2.1930000000000001</c:v>
                </c:pt>
                <c:pt idx="21">
                  <c:v>-0.441</c:v>
                </c:pt>
                <c:pt idx="22">
                  <c:v>4.101</c:v>
                </c:pt>
                <c:pt idx="23">
                  <c:v>0.80700000000000005</c:v>
                </c:pt>
                <c:pt idx="24">
                  <c:v>0.68300000000000005</c:v>
                </c:pt>
                <c:pt idx="25">
                  <c:v>0.628</c:v>
                </c:pt>
                <c:pt idx="26">
                  <c:v>0.435</c:v>
                </c:pt>
                <c:pt idx="27">
                  <c:v>-2.4E-2</c:v>
                </c:pt>
                <c:pt idx="28">
                  <c:v>-0.29199999999999998</c:v>
                </c:pt>
              </c:numCache>
            </c:numRef>
          </c:val>
          <c:smooth val="0"/>
          <c:extLst>
            <c:ext xmlns:c16="http://schemas.microsoft.com/office/drawing/2014/chart" uri="{C3380CC4-5D6E-409C-BE32-E72D297353CC}">
              <c16:uniqueId val="{0000001D-8EF5-4FED-A265-434E7C09BCC3}"/>
            </c:ext>
          </c:extLst>
        </c:ser>
        <c:dLbls>
          <c:showLegendKey val="0"/>
          <c:showVal val="0"/>
          <c:showCatName val="0"/>
          <c:showSerName val="0"/>
          <c:showPercent val="0"/>
          <c:showBubbleSize val="0"/>
        </c:dLbls>
        <c:marker val="1"/>
        <c:smooth val="0"/>
        <c:axId val="2"/>
        <c:axId val="3"/>
      </c:lineChart>
      <c:catAx>
        <c:axId val="1980120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8012079"/>
        <c:crosses val="min"/>
        <c:crossBetween val="between"/>
        <c:majorUnit val="2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4"/>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32967032967031"/>
          <c:w val="0.97224072840328668"/>
          <c:h val="0.57362637362637359"/>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B-427F-9C76-AC6E99A5F9B9}"/>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B-427F-9C76-AC6E99A5F9B9}"/>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B-427F-9C76-AC6E99A5F9B9}"/>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AB-427F-9C76-AC6E99A5F9B9}"/>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AB-427F-9C76-AC6E99A5F9B9}"/>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AB-427F-9C76-AC6E99A5F9B9}"/>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AB-427F-9C76-AC6E99A5F9B9}"/>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AB-427F-9C76-AC6E99A5F9B9}"/>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AB-427F-9C76-AC6E99A5F9B9}"/>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AB-427F-9C76-AC6E99A5F9B9}"/>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AB-427F-9C76-AC6E99A5F9B9}"/>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AB-427F-9C76-AC6E99A5F9B9}"/>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CAB-427F-9C76-AC6E99A5F9B9}"/>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CAB-427F-9C76-AC6E99A5F9B9}"/>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CAB-427F-9C76-AC6E99A5F9B9}"/>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CAB-427F-9C76-AC6E99A5F9B9}"/>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CAB-427F-9C76-AC6E99A5F9B9}"/>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CAB-427F-9C76-AC6E99A5F9B9}"/>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CAB-427F-9C76-AC6E99A5F9B9}"/>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CAB-427F-9C76-AC6E99A5F9B9}"/>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CAB-427F-9C76-AC6E99A5F9B9}"/>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CAB-427F-9C76-AC6E99A5F9B9}"/>
                </c:ext>
              </c:extLst>
            </c:dLbl>
            <c:dLbl>
              <c:idx val="22"/>
              <c:layout>
                <c:manualLayout>
                  <c:x val="5.3297801465689541E-3"/>
                  <c:y val="-0.119780219780219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CAB-427F-9C76-AC6E99A5F9B9}"/>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CAB-427F-9C76-AC6E99A5F9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36.332901</c:v>
                </c:pt>
                <c:pt idx="1">
                  <c:v>27.885047910000004</c:v>
                </c:pt>
                <c:pt idx="2">
                  <c:v>31.328048710000001</c:v>
                </c:pt>
                <c:pt idx="3">
                  <c:v>37.074733730000005</c:v>
                </c:pt>
                <c:pt idx="4">
                  <c:v>32.463787080000003</c:v>
                </c:pt>
                <c:pt idx="5">
                  <c:v>32.98620605</c:v>
                </c:pt>
                <c:pt idx="6">
                  <c:v>33.920410160000003</c:v>
                </c:pt>
                <c:pt idx="7">
                  <c:v>33.491455080000001</c:v>
                </c:pt>
                <c:pt idx="8">
                  <c:v>37.306266780000001</c:v>
                </c:pt>
                <c:pt idx="9">
                  <c:v>34.929691310000003</c:v>
                </c:pt>
                <c:pt idx="10">
                  <c:v>35.929084779999997</c:v>
                </c:pt>
                <c:pt idx="11">
                  <c:v>37.164722439999998</c:v>
                </c:pt>
                <c:pt idx="12">
                  <c:v>39.347164150000005</c:v>
                </c:pt>
                <c:pt idx="13">
                  <c:v>41.739902500000007</c:v>
                </c:pt>
                <c:pt idx="14">
                  <c:v>45.039989469999988</c:v>
                </c:pt>
                <c:pt idx="15">
                  <c:v>47.078285219999998</c:v>
                </c:pt>
                <c:pt idx="16">
                  <c:v>47.38230132999999</c:v>
                </c:pt>
                <c:pt idx="17">
                  <c:v>48.366371150000006</c:v>
                </c:pt>
                <c:pt idx="18">
                  <c:v>50.120037079999989</c:v>
                </c:pt>
                <c:pt idx="19">
                  <c:v>51.838638310000007</c:v>
                </c:pt>
                <c:pt idx="20">
                  <c:v>59.91770171999999</c:v>
                </c:pt>
                <c:pt idx="21">
                  <c:v>60.853431700000002</c:v>
                </c:pt>
                <c:pt idx="22">
                  <c:v>60.115150450000002</c:v>
                </c:pt>
                <c:pt idx="23">
                  <c:v>58.460567470000001</c:v>
                </c:pt>
              </c:numCache>
            </c:numRef>
          </c:yVal>
          <c:smooth val="0"/>
          <c:extLst>
            <c:ext xmlns:c16="http://schemas.microsoft.com/office/drawing/2014/chart" uri="{C3380CC4-5D6E-409C-BE32-E72D297353CC}">
              <c16:uniqueId val="{00000018-6CAB-427F-9C76-AC6E99A5F9B9}"/>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60.853431700000002"/>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5.9428571428571428E-2"/>
          <c:w val="0.97671294223018357"/>
          <c:h val="0.8811428571428571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203.6304990799999</c:v>
                </c:pt>
                <c:pt idx="1">
                  <c:v>1582.8992482899998</c:v>
                </c:pt>
                <c:pt idx="2">
                  <c:v>1962.2989406999998</c:v>
                </c:pt>
                <c:pt idx="3">
                  <c:v>2607.5536988700001</c:v>
                </c:pt>
                <c:pt idx="4">
                  <c:v>2192.2990822299998</c:v>
                </c:pt>
                <c:pt idx="5">
                  <c:v>2303.2192830199997</c:v>
                </c:pt>
                <c:pt idx="6">
                  <c:v>2497.5859520099993</c:v>
                </c:pt>
                <c:pt idx="7">
                  <c:v>2599.3564178599995</c:v>
                </c:pt>
                <c:pt idx="8">
                  <c:v>3320.90468194</c:v>
                </c:pt>
                <c:pt idx="9">
                  <c:v>3307.0692253700008</c:v>
                </c:pt>
                <c:pt idx="10">
                  <c:v>3671.2457414999999</c:v>
                </c:pt>
                <c:pt idx="11">
                  <c:v>3977.5972829199991</c:v>
                </c:pt>
                <c:pt idx="12">
                  <c:v>4635.0154241600003</c:v>
                </c:pt>
                <c:pt idx="13">
                  <c:v>5709.3153743999992</c:v>
                </c:pt>
                <c:pt idx="14">
                  <c:v>6731.9590788499991</c:v>
                </c:pt>
                <c:pt idx="15">
                  <c:v>7825.0143385899983</c:v>
                </c:pt>
                <c:pt idx="16">
                  <c:v>8560.1644719800006</c:v>
                </c:pt>
                <c:pt idx="17">
                  <c:v>9087.2441107899995</c:v>
                </c:pt>
                <c:pt idx="18">
                  <c:v>9100.4299558400016</c:v>
                </c:pt>
                <c:pt idx="19">
                  <c:v>10319.240736630003</c:v>
                </c:pt>
                <c:pt idx="20">
                  <c:v>14837.38669659</c:v>
                </c:pt>
                <c:pt idx="21">
                  <c:v>14931.408953579998</c:v>
                </c:pt>
                <c:pt idx="22">
                  <c:v>12924.760754899999</c:v>
                </c:pt>
                <c:pt idx="23">
                  <c:v>13272.014836310002</c:v>
                </c:pt>
              </c:numCache>
            </c:numRef>
          </c:val>
          <c:extLst>
            <c:ext xmlns:c16="http://schemas.microsoft.com/office/drawing/2014/chart" uri="{C3380CC4-5D6E-409C-BE32-E72D297353CC}">
              <c16:uniqueId val="{00000000-5E26-4B11-8322-D21DF0D68776}"/>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3861.4798416199992</c:v>
                </c:pt>
                <c:pt idx="1">
                  <c:v>4093.6166169199992</c:v>
                </c:pt>
                <c:pt idx="2">
                  <c:v>4301.4137306999992</c:v>
                </c:pt>
                <c:pt idx="3">
                  <c:v>4425.6830041899993</c:v>
                </c:pt>
                <c:pt idx="4">
                  <c:v>4560.7606743800006</c:v>
                </c:pt>
                <c:pt idx="5">
                  <c:v>4679.1513724199995</c:v>
                </c:pt>
                <c:pt idx="6">
                  <c:v>4865.4910105300005</c:v>
                </c:pt>
                <c:pt idx="7">
                  <c:v>5161.8961563900011</c:v>
                </c:pt>
                <c:pt idx="8">
                  <c:v>5580.8294668900007</c:v>
                </c:pt>
                <c:pt idx="9">
                  <c:v>6160.7188326900023</c:v>
                </c:pt>
                <c:pt idx="10">
                  <c:v>6546.7867093799987</c:v>
                </c:pt>
                <c:pt idx="11">
                  <c:v>6725.018686370001</c:v>
                </c:pt>
                <c:pt idx="12">
                  <c:v>7144.780356369999</c:v>
                </c:pt>
                <c:pt idx="13">
                  <c:v>7968.9990563800002</c:v>
                </c:pt>
                <c:pt idx="14">
                  <c:v>8214.6669939600015</c:v>
                </c:pt>
                <c:pt idx="15">
                  <c:v>8796.2677415200014</c:v>
                </c:pt>
                <c:pt idx="16">
                  <c:v>9506.0004301099998</c:v>
                </c:pt>
                <c:pt idx="17">
                  <c:v>9701.1084644699968</c:v>
                </c:pt>
                <c:pt idx="18">
                  <c:v>9056.839370149999</c:v>
                </c:pt>
                <c:pt idx="19">
                  <c:v>9587.2257064200021</c:v>
                </c:pt>
                <c:pt idx="20">
                  <c:v>9925.5570298600014</c:v>
                </c:pt>
                <c:pt idx="21">
                  <c:v>9605.2661256300016</c:v>
                </c:pt>
                <c:pt idx="22">
                  <c:v>8575.2448900800009</c:v>
                </c:pt>
                <c:pt idx="23">
                  <c:v>9430.4926200499976</c:v>
                </c:pt>
              </c:numCache>
            </c:numRef>
          </c:val>
          <c:extLst>
            <c:ext xmlns:c16="http://schemas.microsoft.com/office/drawing/2014/chart" uri="{C3380CC4-5D6E-409C-BE32-E72D297353CC}">
              <c16:uniqueId val="{00000001-5E26-4B11-8322-D21DF0D68776}"/>
            </c:ext>
          </c:extLst>
        </c:ser>
        <c:dLbls>
          <c:showLegendKey val="0"/>
          <c:showVal val="0"/>
          <c:showCatName val="0"/>
          <c:showSerName val="0"/>
          <c:showPercent val="0"/>
          <c:showBubbleSize val="0"/>
        </c:dLbls>
        <c:gapWidth val="60"/>
        <c:overlap val="100"/>
        <c:axId val="622381295"/>
        <c:axId val="1"/>
      </c:barChart>
      <c:catAx>
        <c:axId val="622381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622381295"/>
        <c:crosses val="min"/>
        <c:crossBetween val="between"/>
        <c:majorUnit val="50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15C-488F-BA20-60F68104B90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15C-488F-BA20-60F68104B90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15C-488F-BA20-60F68104B90A}"/>
              </c:ext>
            </c:extLst>
          </c:dPt>
          <c:dLbls>
            <c:dLbl>
              <c:idx val="0"/>
              <c:layout>
                <c:manualLayout>
                  <c:x val="3.6912751677852351E-2"/>
                  <c:y val="6.673673147661586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5C-488F-BA20-60F68104B9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7</c:v>
                </c:pt>
                <c:pt idx="1">
                  <c:v>11.799999999999999</c:v>
                </c:pt>
                <c:pt idx="2">
                  <c:v>7.3999999999999995</c:v>
                </c:pt>
              </c:numCache>
            </c:numRef>
          </c:val>
          <c:extLst>
            <c:ext xmlns:c16="http://schemas.microsoft.com/office/drawing/2014/chart" uri="{C3380CC4-5D6E-409C-BE32-E72D297353CC}">
              <c16:uniqueId val="{00000003-A15C-488F-BA20-60F68104B90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660-4B21-98F3-6486D4F1A11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660-4B21-98F3-6486D4F1A11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660-4B21-98F3-6486D4F1A119}"/>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1660-4B21-98F3-6486D4F1A119}"/>
              </c:ext>
            </c:extLst>
          </c:dPt>
          <c:dLbls>
            <c:dLbl>
              <c:idx val="0"/>
              <c:layout>
                <c:manualLayout>
                  <c:x val="4.2365771812080538E-2"/>
                  <c:y val="5.254860746190225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0-4B21-98F3-6486D4F1A119}"/>
                </c:ext>
              </c:extLst>
            </c:dLbl>
            <c:dLbl>
              <c:idx val="1"/>
              <c:layout>
                <c:manualLayout>
                  <c:x val="-4.5302013422818789E-2"/>
                  <c:y val="-4.519180241723594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0-4B21-98F3-6486D4F1A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5</c:v>
                </c:pt>
                <c:pt idx="1">
                  <c:v>21.6</c:v>
                </c:pt>
                <c:pt idx="2">
                  <c:v>3.5000000000000004</c:v>
                </c:pt>
                <c:pt idx="3">
                  <c:v>0</c:v>
                </c:pt>
              </c:numCache>
            </c:numRef>
          </c:val>
          <c:extLst>
            <c:ext xmlns:c16="http://schemas.microsoft.com/office/drawing/2014/chart" uri="{C3380CC4-5D6E-409C-BE32-E72D297353CC}">
              <c16:uniqueId val="{00000004-1660-4B21-98F3-6486D4F1A11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公的医療機関</c:v>
                </c:pt>
              </c:strCache>
            </c:strRef>
          </c:tx>
          <c:spPr>
            <a:solidFill>
              <a:schemeClr val="accent1"/>
            </a:solidFill>
            <a:ln>
              <a:noFill/>
            </a:ln>
            <a:effectLst/>
          </c:spPr>
          <c:invertIfNegative val="0"/>
          <c:dLbls>
            <c:dLbl>
              <c:idx val="2"/>
              <c:layout>
                <c:manualLayout>
                  <c:x val="-5.474680679550128E-3"/>
                  <c:y val="-3.67663797906501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AD1-4AF2-AFB9-12E90A6C4766}"/>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B$2:$B$6</c:f>
              <c:numCache>
                <c:formatCode>#,##0</c:formatCode>
                <c:ptCount val="5"/>
                <c:pt idx="0">
                  <c:v>10611</c:v>
                </c:pt>
                <c:pt idx="1">
                  <c:v>1950</c:v>
                </c:pt>
                <c:pt idx="2">
                  <c:v>1577</c:v>
                </c:pt>
                <c:pt idx="3">
                  <c:v>10045</c:v>
                </c:pt>
                <c:pt idx="4">
                  <c:v>95</c:v>
                </c:pt>
              </c:numCache>
            </c:numRef>
          </c:val>
          <c:extLst>
            <c:ext xmlns:c16="http://schemas.microsoft.com/office/drawing/2014/chart" uri="{C3380CC4-5D6E-409C-BE32-E72D297353CC}">
              <c16:uniqueId val="{00000001-FAD1-4AF2-AFB9-12E90A6C4766}"/>
            </c:ext>
          </c:extLst>
        </c:ser>
        <c:ser>
          <c:idx val="1"/>
          <c:order val="1"/>
          <c:tx>
            <c:strRef>
              <c:f>Sheet1!$C$1</c:f>
              <c:strCache>
                <c:ptCount val="1"/>
                <c:pt idx="0">
                  <c:v>非営利医療機関</c:v>
                </c:pt>
              </c:strCache>
            </c:strRef>
          </c:tx>
          <c:spPr>
            <a:solidFill>
              <a:schemeClr val="accent2"/>
            </a:solidFill>
            <a:ln>
              <a:noFill/>
            </a:ln>
            <a:effectLst/>
          </c:spPr>
          <c:invertIfNegative val="0"/>
          <c:dLbls>
            <c:dLbl>
              <c:idx val="3"/>
              <c:layout>
                <c:manualLayout>
                  <c:x val="2.4636063057975575E-2"/>
                  <c:y val="-2.67391853022909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AD1-4AF2-AFB9-12E90A6C4766}"/>
                </c:ext>
              </c:extLst>
            </c:dLbl>
            <c:dLbl>
              <c:idx val="4"/>
              <c:layout>
                <c:manualLayout>
                  <c:x val="0"/>
                  <c:y val="-2.339678713950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75-46EE-95F4-DD8591B4FCAA}"/>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C$2:$C$6</c:f>
              <c:numCache>
                <c:formatCode>General</c:formatCode>
                <c:ptCount val="5"/>
                <c:pt idx="0" formatCode="#,##0">
                  <c:v>348</c:v>
                </c:pt>
                <c:pt idx="1">
                  <c:v>0</c:v>
                </c:pt>
                <c:pt idx="2" formatCode="#,##0">
                  <c:v>976</c:v>
                </c:pt>
                <c:pt idx="3" formatCode="#,##0">
                  <c:v>6117</c:v>
                </c:pt>
                <c:pt idx="4" formatCode="#,##0">
                  <c:v>220</c:v>
                </c:pt>
              </c:numCache>
            </c:numRef>
          </c:val>
          <c:extLst>
            <c:ext xmlns:c16="http://schemas.microsoft.com/office/drawing/2014/chart" uri="{C3380CC4-5D6E-409C-BE32-E72D297353CC}">
              <c16:uniqueId val="{00000003-FAD1-4AF2-AFB9-12E90A6C4766}"/>
            </c:ext>
          </c:extLst>
        </c:ser>
        <c:ser>
          <c:idx val="2"/>
          <c:order val="2"/>
          <c:tx>
            <c:strRef>
              <c:f>Sheet1!$D$1</c:f>
              <c:strCache>
                <c:ptCount val="1"/>
                <c:pt idx="0">
                  <c:v>民間医療機関</c:v>
                </c:pt>
              </c:strCache>
            </c:strRef>
          </c:tx>
          <c:spPr>
            <a:solidFill>
              <a:schemeClr val="accent3"/>
            </a:solidFill>
            <a:ln>
              <a:noFill/>
            </a:ln>
            <a:effectLst/>
          </c:spPr>
          <c:invertIfNegative val="0"/>
          <c:dLbls>
            <c:dLbl>
              <c:idx val="3"/>
              <c:layout>
                <c:manualLayout>
                  <c:x val="2.4636063057975575E-2"/>
                  <c:y val="-1.67119908139319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AD1-4AF2-AFB9-12E90A6C4766}"/>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D$2:$D$6</c:f>
              <c:numCache>
                <c:formatCode>General</c:formatCode>
                <c:ptCount val="5"/>
                <c:pt idx="0" formatCode="#,##0">
                  <c:v>1661</c:v>
                </c:pt>
                <c:pt idx="1">
                  <c:v>0</c:v>
                </c:pt>
                <c:pt idx="2">
                  <c:v>0</c:v>
                </c:pt>
                <c:pt idx="3" formatCode="#,##0">
                  <c:v>4209</c:v>
                </c:pt>
                <c:pt idx="4">
                  <c:v>0</c:v>
                </c:pt>
              </c:numCache>
            </c:numRef>
          </c:val>
          <c:extLst>
            <c:ext xmlns:c16="http://schemas.microsoft.com/office/drawing/2014/chart" uri="{C3380CC4-5D6E-409C-BE32-E72D297353CC}">
              <c16:uniqueId val="{00000005-FAD1-4AF2-AFB9-12E90A6C4766}"/>
            </c:ext>
          </c:extLst>
        </c:ser>
        <c:dLbls>
          <c:dLblPos val="outEnd"/>
          <c:showLegendKey val="0"/>
          <c:showVal val="1"/>
          <c:showCatName val="0"/>
          <c:showSerName val="0"/>
          <c:showPercent val="0"/>
          <c:showBubbleSize val="0"/>
        </c:dLbls>
        <c:gapWidth val="219"/>
        <c:overlap val="-27"/>
        <c:axId val="507468000"/>
        <c:axId val="507479520"/>
      </c:barChart>
      <c:catAx>
        <c:axId val="50746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507479520"/>
        <c:crosses val="autoZero"/>
        <c:auto val="1"/>
        <c:lblAlgn val="ctr"/>
        <c:lblOffset val="100"/>
        <c:noMultiLvlLbl val="0"/>
      </c:catAx>
      <c:valAx>
        <c:axId val="507479520"/>
        <c:scaling>
          <c:orientation val="minMax"/>
        </c:scaling>
        <c:delete val="1"/>
        <c:axPos val="l"/>
        <c:numFmt formatCode="#,##0" sourceLinked="1"/>
        <c:majorTickMark val="none"/>
        <c:minorTickMark val="none"/>
        <c:tickLblPos val="nextTo"/>
        <c:crossAx val="50746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公的医療機関</c:v>
                </c:pt>
              </c:strCache>
            </c:strRef>
          </c:tx>
          <c:spPr>
            <a:solidFill>
              <a:schemeClr val="accent1"/>
            </a:solidFill>
            <a:ln>
              <a:noFill/>
            </a:ln>
            <a:effectLst/>
          </c:spPr>
          <c:invertIfNegative val="0"/>
          <c:dLbls>
            <c:dLbl>
              <c:idx val="2"/>
              <c:layout>
                <c:manualLayout>
                  <c:x val="-5.474680679550128E-3"/>
                  <c:y val="-3.67663797906501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B$2:$B$6</c:f>
              <c:numCache>
                <c:formatCode>#,##0</c:formatCode>
                <c:ptCount val="5"/>
                <c:pt idx="0">
                  <c:v>11</c:v>
                </c:pt>
                <c:pt idx="1">
                  <c:v>1</c:v>
                </c:pt>
                <c:pt idx="2">
                  <c:v>6</c:v>
                </c:pt>
                <c:pt idx="3">
                  <c:v>35</c:v>
                </c:pt>
                <c:pt idx="4">
                  <c:v>4</c:v>
                </c:pt>
              </c:numCache>
            </c:numRef>
          </c:val>
          <c:extLst>
            <c:ext xmlns:c16="http://schemas.microsoft.com/office/drawing/2014/chart" uri="{C3380CC4-5D6E-409C-BE32-E72D297353CC}">
              <c16:uniqueId val="{00000001-AB86-4E23-8F4C-18334B88CF00}"/>
            </c:ext>
          </c:extLst>
        </c:ser>
        <c:ser>
          <c:idx val="1"/>
          <c:order val="1"/>
          <c:tx>
            <c:strRef>
              <c:f>Sheet1!$C$1</c:f>
              <c:strCache>
                <c:ptCount val="1"/>
                <c:pt idx="0">
                  <c:v>非営利医療機関</c:v>
                </c:pt>
              </c:strCache>
            </c:strRef>
          </c:tx>
          <c:spPr>
            <a:solidFill>
              <a:schemeClr val="accent2"/>
            </a:solidFill>
            <a:ln>
              <a:noFill/>
            </a:ln>
            <a:effectLst/>
          </c:spPr>
          <c:invertIfNegative val="0"/>
          <c:dLbls>
            <c:dLbl>
              <c:idx val="3"/>
              <c:layout>
                <c:manualLayout>
                  <c:x val="2.737340339775064E-3"/>
                  <c:y val="-3.00815834650773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C$2:$C$6</c:f>
              <c:numCache>
                <c:formatCode>General</c:formatCode>
                <c:ptCount val="5"/>
                <c:pt idx="0" formatCode="#,##0">
                  <c:v>1</c:v>
                </c:pt>
                <c:pt idx="1">
                  <c:v>0</c:v>
                </c:pt>
                <c:pt idx="2" formatCode="#,##0">
                  <c:v>4</c:v>
                </c:pt>
                <c:pt idx="3" formatCode="#,##0">
                  <c:v>23</c:v>
                </c:pt>
                <c:pt idx="4" formatCode="#,##0">
                  <c:v>6</c:v>
                </c:pt>
              </c:numCache>
            </c:numRef>
          </c:val>
          <c:extLst>
            <c:ext xmlns:c16="http://schemas.microsoft.com/office/drawing/2014/chart" uri="{C3380CC4-5D6E-409C-BE32-E72D297353CC}">
              <c16:uniqueId val="{00000003-AB86-4E23-8F4C-18334B88CF00}"/>
            </c:ext>
          </c:extLst>
        </c:ser>
        <c:ser>
          <c:idx val="2"/>
          <c:order val="2"/>
          <c:tx>
            <c:strRef>
              <c:f>Sheet1!$D$1</c:f>
              <c:strCache>
                <c:ptCount val="1"/>
                <c:pt idx="0">
                  <c:v>民間医療機関</c:v>
                </c:pt>
              </c:strCache>
            </c:strRef>
          </c:tx>
          <c:spPr>
            <a:solidFill>
              <a:schemeClr val="accent3"/>
            </a:solidFill>
            <a:ln>
              <a:noFill/>
            </a:ln>
            <a:effectLst/>
          </c:spPr>
          <c:invertIfNegative val="0"/>
          <c:dLbls>
            <c:dLbl>
              <c:idx val="3"/>
              <c:layout>
                <c:manualLayout>
                  <c:x val="0"/>
                  <c:y val="-1.00271944883591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D$2:$D$6</c:f>
              <c:numCache>
                <c:formatCode>General</c:formatCode>
                <c:ptCount val="5"/>
                <c:pt idx="0" formatCode="#,##0">
                  <c:v>8</c:v>
                </c:pt>
                <c:pt idx="1">
                  <c:v>0</c:v>
                </c:pt>
                <c:pt idx="2">
                  <c:v>0</c:v>
                </c:pt>
                <c:pt idx="3" formatCode="#,##0">
                  <c:v>30</c:v>
                </c:pt>
                <c:pt idx="4">
                  <c:v>0</c:v>
                </c:pt>
              </c:numCache>
            </c:numRef>
          </c:val>
          <c:extLst>
            <c:ext xmlns:c16="http://schemas.microsoft.com/office/drawing/2014/chart" uri="{C3380CC4-5D6E-409C-BE32-E72D297353CC}">
              <c16:uniqueId val="{00000005-AB86-4E23-8F4C-18334B88CF00}"/>
            </c:ext>
          </c:extLst>
        </c:ser>
        <c:dLbls>
          <c:dLblPos val="outEnd"/>
          <c:showLegendKey val="0"/>
          <c:showVal val="1"/>
          <c:showCatName val="0"/>
          <c:showSerName val="0"/>
          <c:showPercent val="0"/>
          <c:showBubbleSize val="0"/>
        </c:dLbls>
        <c:gapWidth val="219"/>
        <c:overlap val="-27"/>
        <c:axId val="507468000"/>
        <c:axId val="507479520"/>
      </c:barChart>
      <c:catAx>
        <c:axId val="50746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ja-JP" sz="900" b="0" i="0" u="none" strike="noStrike" kern="1200" baseline="0">
                <a:solidFill>
                  <a:schemeClr val="tx1"/>
                </a:solidFill>
                <a:latin typeface="+mn-lt"/>
                <a:ea typeface="+mn-ea"/>
                <a:cs typeface="+mn-cs"/>
              </a:defRPr>
            </a:pPr>
            <a:endParaRPr lang="ja-JP"/>
          </a:p>
        </c:txPr>
        <c:crossAx val="507479520"/>
        <c:crosses val="autoZero"/>
        <c:auto val="1"/>
        <c:lblAlgn val="ctr"/>
        <c:lblOffset val="100"/>
        <c:noMultiLvlLbl val="0"/>
      </c:catAx>
      <c:valAx>
        <c:axId val="507479520"/>
        <c:scaling>
          <c:orientation val="minMax"/>
        </c:scaling>
        <c:delete val="1"/>
        <c:axPos val="l"/>
        <c:numFmt formatCode="#,##0" sourceLinked="1"/>
        <c:majorTickMark val="none"/>
        <c:minorTickMark val="none"/>
        <c:tickLblPos val="nextTo"/>
        <c:crossAx val="50746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68837058632976"/>
          <c:y val="5.3645636569701546E-2"/>
          <c:w val="0.82734045999352124"/>
          <c:h val="0.8571968265961466"/>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4095-4686-BF01-6C6EC3B9B1DC}"/>
              </c:ext>
            </c:extLst>
          </c:dPt>
          <c:dLbls>
            <c:dLbl>
              <c:idx val="0"/>
              <c:layout>
                <c:manualLayout>
                  <c:x val="4.9238743116294136E-2"/>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95-4686-BF01-6C6EC3B9B1DC}"/>
                </c:ext>
              </c:extLst>
            </c:dLbl>
            <c:dLbl>
              <c:idx val="1"/>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95-4686-BF01-6C6EC3B9B1DC}"/>
                </c:ext>
              </c:extLst>
            </c:dLbl>
            <c:dLbl>
              <c:idx val="2"/>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95-4686-BF01-6C6EC3B9B1DC}"/>
                </c:ext>
              </c:extLst>
            </c:dLbl>
            <c:dLbl>
              <c:idx val="3"/>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95-4686-BF01-6C6EC3B9B1DC}"/>
                </c:ext>
              </c:extLst>
            </c:dLbl>
            <c:dLbl>
              <c:idx val="4"/>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95-4686-BF01-6C6EC3B9B1DC}"/>
                </c:ext>
              </c:extLst>
            </c:dLbl>
            <c:dLbl>
              <c:idx val="5"/>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95-4686-BF01-6C6EC3B9B1DC}"/>
                </c:ext>
              </c:extLst>
            </c:dLbl>
            <c:dLbl>
              <c:idx val="6"/>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95-4686-BF01-6C6EC3B9B1DC}"/>
                </c:ext>
              </c:extLst>
            </c:dLbl>
            <c:dLbl>
              <c:idx val="7"/>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95-4686-BF01-6C6EC3B9B1DC}"/>
                </c:ext>
              </c:extLst>
            </c:dLbl>
            <c:dLbl>
              <c:idx val="8"/>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33726</c:v>
                </c:pt>
                <c:pt idx="1">
                  <c:v>34814</c:v>
                </c:pt>
                <c:pt idx="2">
                  <c:v>35732</c:v>
                </c:pt>
                <c:pt idx="3">
                  <c:v>36347</c:v>
                </c:pt>
                <c:pt idx="4">
                  <c:v>37259</c:v>
                </c:pt>
                <c:pt idx="5">
                  <c:v>38330</c:v>
                </c:pt>
                <c:pt idx="6">
                  <c:v>38368</c:v>
                </c:pt>
                <c:pt idx="7">
                  <c:v>39001</c:v>
                </c:pt>
                <c:pt idx="8">
                  <c:v>41045</c:v>
                </c:pt>
              </c:numCache>
            </c:numRef>
          </c:yVal>
          <c:smooth val="0"/>
          <c:extLst>
            <c:ext xmlns:c16="http://schemas.microsoft.com/office/drawing/2014/chart" uri="{C3380CC4-5D6E-409C-BE32-E72D297353CC}">
              <c16:uniqueId val="{0000000A-4095-4686-BF01-6C6EC3B9B1D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9"/>
            <c:marker>
              <c:symbol val="none"/>
            </c:marker>
            <c:bubble3D val="0"/>
            <c:extLst>
              <c:ext xmlns:c16="http://schemas.microsoft.com/office/drawing/2014/chart" uri="{C3380CC4-5D6E-409C-BE32-E72D297353CC}">
                <c16:uniqueId val="{0000000B-4095-4686-BF01-6C6EC3B9B1DC}"/>
              </c:ext>
            </c:extLst>
          </c:dPt>
          <c:dLbls>
            <c:dLbl>
              <c:idx val="0"/>
              <c:layout>
                <c:manualLayout>
                  <c:x val="4.9238743116294136E-2"/>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95-4686-BF01-6C6EC3B9B1DC}"/>
                </c:ext>
              </c:extLst>
            </c:dLbl>
            <c:dLbl>
              <c:idx val="1"/>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095-4686-BF01-6C6EC3B9B1DC}"/>
                </c:ext>
              </c:extLst>
            </c:dLbl>
            <c:dLbl>
              <c:idx val="2"/>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95-4686-BF01-6C6EC3B9B1DC}"/>
                </c:ext>
              </c:extLst>
            </c:dLbl>
            <c:dLbl>
              <c:idx val="3"/>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95-4686-BF01-6C6EC3B9B1DC}"/>
                </c:ext>
              </c:extLst>
            </c:dLbl>
            <c:dLbl>
              <c:idx val="4"/>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95-4686-BF01-6C6EC3B9B1DC}"/>
                </c:ext>
              </c:extLst>
            </c:dLbl>
            <c:dLbl>
              <c:idx val="5"/>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95-4686-BF01-6C6EC3B9B1DC}"/>
                </c:ext>
              </c:extLst>
            </c:dLbl>
            <c:dLbl>
              <c:idx val="6"/>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95-4686-BF01-6C6EC3B9B1DC}"/>
                </c:ext>
              </c:extLst>
            </c:dLbl>
            <c:dLbl>
              <c:idx val="7"/>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95-4686-BF01-6C6EC3B9B1DC}"/>
                </c:ext>
              </c:extLst>
            </c:dLbl>
            <c:dLbl>
              <c:idx val="8"/>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11823</c:v>
                </c:pt>
                <c:pt idx="1">
                  <c:v>12337</c:v>
                </c:pt>
                <c:pt idx="2">
                  <c:v>12680</c:v>
                </c:pt>
                <c:pt idx="3">
                  <c:v>13044</c:v>
                </c:pt>
                <c:pt idx="4">
                  <c:v>13469</c:v>
                </c:pt>
                <c:pt idx="5">
                  <c:v>14021</c:v>
                </c:pt>
                <c:pt idx="6">
                  <c:v>14445</c:v>
                </c:pt>
                <c:pt idx="7">
                  <c:v>14828</c:v>
                </c:pt>
                <c:pt idx="8">
                  <c:v>15455</c:v>
                </c:pt>
              </c:numCache>
            </c:numRef>
          </c:yVal>
          <c:smooth val="0"/>
          <c:extLst>
            <c:ext xmlns:c16="http://schemas.microsoft.com/office/drawing/2014/chart" uri="{C3380CC4-5D6E-409C-BE32-E72D297353CC}">
              <c16:uniqueId val="{00000015-4095-4686-BF01-6C6EC3B9B1D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6-4095-4686-BF01-6C6EC3B9B1DC}"/>
              </c:ext>
            </c:extLst>
          </c:dPt>
          <c:dLbls>
            <c:dLbl>
              <c:idx val="0"/>
              <c:layout>
                <c:manualLayout>
                  <c:x val="4.2112082928409462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95-4686-BF01-6C6EC3B9B1DC}"/>
                </c:ext>
              </c:extLst>
            </c:dLbl>
            <c:dLbl>
              <c:idx val="1"/>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95-4686-BF01-6C6EC3B9B1DC}"/>
                </c:ext>
              </c:extLst>
            </c:dLbl>
            <c:dLbl>
              <c:idx val="2"/>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95-4686-BF01-6C6EC3B9B1DC}"/>
                </c:ext>
              </c:extLst>
            </c:dLbl>
            <c:dLbl>
              <c:idx val="3"/>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95-4686-BF01-6C6EC3B9B1DC}"/>
                </c:ext>
              </c:extLst>
            </c:dLbl>
            <c:dLbl>
              <c:idx val="4"/>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095-4686-BF01-6C6EC3B9B1DC}"/>
                </c:ext>
              </c:extLst>
            </c:dLbl>
            <c:dLbl>
              <c:idx val="5"/>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95-4686-BF01-6C6EC3B9B1DC}"/>
                </c:ext>
              </c:extLst>
            </c:dLbl>
            <c:dLbl>
              <c:idx val="6"/>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95-4686-BF01-6C6EC3B9B1DC}"/>
                </c:ext>
              </c:extLst>
            </c:dLbl>
            <c:dLbl>
              <c:idx val="7"/>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095-4686-BF01-6C6EC3B9B1DC}"/>
                </c:ext>
              </c:extLst>
            </c:dLbl>
            <c:dLbl>
              <c:idx val="8"/>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2528</c:v>
                </c:pt>
                <c:pt idx="1">
                  <c:v>2615</c:v>
                </c:pt>
                <c:pt idx="2">
                  <c:v>2816</c:v>
                </c:pt>
                <c:pt idx="3">
                  <c:v>2902</c:v>
                </c:pt>
                <c:pt idx="4">
                  <c:v>3060</c:v>
                </c:pt>
                <c:pt idx="5">
                  <c:v>3053</c:v>
                </c:pt>
                <c:pt idx="6">
                  <c:v>3222</c:v>
                </c:pt>
                <c:pt idx="7">
                  <c:v>3310</c:v>
                </c:pt>
                <c:pt idx="8">
                  <c:v>3494</c:v>
                </c:pt>
              </c:numCache>
            </c:numRef>
          </c:yVal>
          <c:smooth val="0"/>
          <c:extLst>
            <c:ext xmlns:c16="http://schemas.microsoft.com/office/drawing/2014/chart" uri="{C3380CC4-5D6E-409C-BE32-E72D297353CC}">
              <c16:uniqueId val="{00000020-4095-4686-BF01-6C6EC3B9B1D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21-4095-4686-BF01-6C6EC3B9B1DC}"/>
              </c:ext>
            </c:extLst>
          </c:dPt>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1990</c:v>
                </c:pt>
                <c:pt idx="1">
                  <c:v>2130</c:v>
                </c:pt>
                <c:pt idx="2">
                  <c:v>2225</c:v>
                </c:pt>
                <c:pt idx="3">
                  <c:v>2293</c:v>
                </c:pt>
                <c:pt idx="4">
                  <c:v>2390</c:v>
                </c:pt>
                <c:pt idx="5">
                  <c:v>2399</c:v>
                </c:pt>
                <c:pt idx="6">
                  <c:v>2394</c:v>
                </c:pt>
                <c:pt idx="7">
                  <c:v>2507</c:v>
                </c:pt>
                <c:pt idx="8">
                  <c:v>2578</c:v>
                </c:pt>
              </c:numCache>
            </c:numRef>
          </c:yVal>
          <c:smooth val="0"/>
          <c:extLst>
            <c:ext xmlns:c16="http://schemas.microsoft.com/office/drawing/2014/chart" uri="{C3380CC4-5D6E-409C-BE32-E72D297353CC}">
              <c16:uniqueId val="{00000022-4095-4686-BF01-6C6EC3B9B1DC}"/>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2033898305083E-2"/>
          <c:y val="5.5620838229533884E-2"/>
          <c:w val="0.90305084745762709"/>
          <c:h val="0.888758323540932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1.04</c:v>
                </c:pt>
                <c:pt idx="1">
                  <c:v>62.41</c:v>
                </c:pt>
                <c:pt idx="2">
                  <c:v>63.76</c:v>
                </c:pt>
                <c:pt idx="3">
                  <c:v>64.510000000000005</c:v>
                </c:pt>
                <c:pt idx="4">
                  <c:v>65.72</c:v>
                </c:pt>
                <c:pt idx="5">
                  <c:v>68.2</c:v>
                </c:pt>
                <c:pt idx="6">
                  <c:v>69.66</c:v>
                </c:pt>
                <c:pt idx="7">
                  <c:v>69.03</c:v>
                </c:pt>
                <c:pt idx="8">
                  <c:v>70.900000000000006</c:v>
                </c:pt>
              </c:numCache>
            </c:numRef>
          </c:val>
          <c:smooth val="0"/>
          <c:extLst>
            <c:ext xmlns:c16="http://schemas.microsoft.com/office/drawing/2014/chart" uri="{C3380CC4-5D6E-409C-BE32-E72D297353CC}">
              <c16:uniqueId val="{00000009-B4E8-40B4-BF2F-6D192F5F4EE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1.4</c:v>
                </c:pt>
                <c:pt idx="1">
                  <c:v>22.12</c:v>
                </c:pt>
                <c:pt idx="2">
                  <c:v>22.63</c:v>
                </c:pt>
                <c:pt idx="3">
                  <c:v>23.15</c:v>
                </c:pt>
                <c:pt idx="4">
                  <c:v>23.76</c:v>
                </c:pt>
                <c:pt idx="5">
                  <c:v>24.95</c:v>
                </c:pt>
                <c:pt idx="6">
                  <c:v>26.04</c:v>
                </c:pt>
                <c:pt idx="7">
                  <c:v>26.25</c:v>
                </c:pt>
                <c:pt idx="8">
                  <c:v>26.7</c:v>
                </c:pt>
              </c:numCache>
            </c:numRef>
          </c:val>
          <c:smooth val="0"/>
          <c:extLst>
            <c:ext xmlns:c16="http://schemas.microsoft.com/office/drawing/2014/chart" uri="{C3380CC4-5D6E-409C-BE32-E72D297353CC}">
              <c16:uniqueId val="{00000013-B4E8-40B4-BF2F-6D192F5F4EE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4.58</c:v>
                </c:pt>
                <c:pt idx="1">
                  <c:v>4.6900000000000004</c:v>
                </c:pt>
                <c:pt idx="2">
                  <c:v>5.03</c:v>
                </c:pt>
                <c:pt idx="3">
                  <c:v>5.15</c:v>
                </c:pt>
                <c:pt idx="4">
                  <c:v>5.4</c:v>
                </c:pt>
                <c:pt idx="5">
                  <c:v>5.43</c:v>
                </c:pt>
                <c:pt idx="6">
                  <c:v>5.81</c:v>
                </c:pt>
                <c:pt idx="7">
                  <c:v>5.86</c:v>
                </c:pt>
                <c:pt idx="8">
                  <c:v>6.04</c:v>
                </c:pt>
              </c:numCache>
            </c:numRef>
          </c:val>
          <c:smooth val="0"/>
          <c:extLst>
            <c:ext xmlns:c16="http://schemas.microsoft.com/office/drawing/2014/chart" uri="{C3380CC4-5D6E-409C-BE32-E72D297353CC}">
              <c16:uniqueId val="{0000001D-B4E8-40B4-BF2F-6D192F5F4EE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I$4</c:f>
              <c:numCache>
                <c:formatCode>General</c:formatCode>
                <c:ptCount val="9"/>
                <c:pt idx="0">
                  <c:v>3.6</c:v>
                </c:pt>
                <c:pt idx="1">
                  <c:v>3.82</c:v>
                </c:pt>
                <c:pt idx="2">
                  <c:v>3.97</c:v>
                </c:pt>
                <c:pt idx="3">
                  <c:v>4.07</c:v>
                </c:pt>
                <c:pt idx="4">
                  <c:v>4.22</c:v>
                </c:pt>
                <c:pt idx="5">
                  <c:v>4.2699999999999996</c:v>
                </c:pt>
                <c:pt idx="6">
                  <c:v>4.32</c:v>
                </c:pt>
                <c:pt idx="7">
                  <c:v>4.4400000000000004</c:v>
                </c:pt>
                <c:pt idx="8">
                  <c:v>4.45</c:v>
                </c:pt>
              </c:numCache>
            </c:numRef>
          </c:val>
          <c:smooth val="0"/>
          <c:extLst>
            <c:ext xmlns:c16="http://schemas.microsoft.com/office/drawing/2014/chart" uri="{C3380CC4-5D6E-409C-BE32-E72D297353CC}">
              <c16:uniqueId val="{0000001E-B4E8-40B4-BF2F-6D192F5F4EEF}"/>
            </c:ext>
          </c:extLst>
        </c:ser>
        <c:dLbls>
          <c:showLegendKey val="0"/>
          <c:showVal val="0"/>
          <c:showCatName val="0"/>
          <c:showSerName val="0"/>
          <c:showPercent val="0"/>
          <c:showBubbleSize val="0"/>
        </c:dLbls>
        <c:marker val="1"/>
        <c:smooth val="0"/>
        <c:axId val="776487167"/>
        <c:axId val="1"/>
      </c:lineChart>
      <c:catAx>
        <c:axId val="776487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76487167"/>
        <c:crosses val="min"/>
        <c:crossBetween val="between"/>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71755725190833E-2"/>
          <c:y val="8.580183861082738E-2"/>
          <c:w val="0.8801526717557252"/>
          <c:h val="0.77170582226761997"/>
        </c:manualLayout>
      </c:layout>
      <c:scatterChart>
        <c:scatterStyle val="lineMarker"/>
        <c:varyColors val="0"/>
        <c:ser>
          <c:idx val="0"/>
          <c:order val="0"/>
          <c:spPr>
            <a:ln w="19050" cmpd="sng" algn="ctr">
              <a:solidFill>
                <a:schemeClr val="accent1"/>
              </a:solidFill>
              <a:prstDash val="solid"/>
            </a:ln>
          </c:spPr>
          <c:marker>
            <c:symbol val="none"/>
          </c:marker>
          <c:dLbls>
            <c:dLbl>
              <c:idx val="2"/>
              <c:layout>
                <c:manualLayout>
                  <c:x val="1.2022900763358779E-2"/>
                  <c:y val="3.779366700715015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2:$H$2</c:f>
              <c:numCache>
                <c:formatCode>General</c:formatCode>
                <c:ptCount val="8"/>
                <c:pt idx="0">
                  <c:v>1626</c:v>
                </c:pt>
                <c:pt idx="1">
                  <c:v>1739</c:v>
                </c:pt>
                <c:pt idx="2">
                  <c:v>1871</c:v>
                </c:pt>
                <c:pt idx="3">
                  <c:v>1963</c:v>
                </c:pt>
                <c:pt idx="4">
                  <c:v>2080</c:v>
                </c:pt>
                <c:pt idx="5">
                  <c:v>2153</c:v>
                </c:pt>
                <c:pt idx="6">
                  <c:v>2315</c:v>
                </c:pt>
                <c:pt idx="7">
                  <c:v>2478</c:v>
                </c:pt>
              </c:numCache>
            </c:numRef>
          </c:yVal>
          <c:smooth val="0"/>
          <c:extLst>
            <c:ext xmlns:c16="http://schemas.microsoft.com/office/drawing/2014/chart" uri="{C3380CC4-5D6E-409C-BE32-E72D297353CC}">
              <c16:uniqueId val="{00000001-C9F7-46ED-AB6A-3DF18F4F26DA}"/>
            </c:ext>
          </c:extLst>
        </c:ser>
        <c:ser>
          <c:idx val="1"/>
          <c:order val="1"/>
          <c:spPr>
            <a:ln w="19050" cmpd="sng" algn="ctr">
              <a:solidFill>
                <a:schemeClr val="accent2"/>
              </a:solidFill>
              <a:prstDash val="solid"/>
            </a:ln>
          </c:spPr>
          <c:marker>
            <c:symbol val="none"/>
          </c:marker>
          <c:dLbls>
            <c:dLbl>
              <c:idx val="0"/>
              <c:layout>
                <c:manualLayout>
                  <c:x val="3.0725190839694657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3:$H$3</c:f>
              <c:numCache>
                <c:formatCode>General</c:formatCode>
                <c:ptCount val="8"/>
                <c:pt idx="0">
                  <c:v>1125</c:v>
                </c:pt>
                <c:pt idx="1">
                  <c:v>1201</c:v>
                </c:pt>
                <c:pt idx="2">
                  <c:v>1227</c:v>
                </c:pt>
                <c:pt idx="3">
                  <c:v>1304</c:v>
                </c:pt>
                <c:pt idx="4">
                  <c:v>1381</c:v>
                </c:pt>
                <c:pt idx="5">
                  <c:v>1466</c:v>
                </c:pt>
                <c:pt idx="6">
                  <c:v>1550</c:v>
                </c:pt>
                <c:pt idx="7">
                  <c:v>1634</c:v>
                </c:pt>
              </c:numCache>
            </c:numRef>
          </c:yVal>
          <c:smooth val="0"/>
          <c:extLst>
            <c:ext xmlns:c16="http://schemas.microsoft.com/office/drawing/2014/chart" uri="{C3380CC4-5D6E-409C-BE32-E72D297353CC}">
              <c16:uniqueId val="{0000000A-C9F7-46ED-AB6A-3DF18F4F26DA}"/>
            </c:ext>
          </c:extLst>
        </c:ser>
        <c:ser>
          <c:idx val="2"/>
          <c:order val="2"/>
          <c:spPr>
            <a:ln w="19050" cmpd="sng" algn="ctr">
              <a:solidFill>
                <a:schemeClr val="accent3"/>
              </a:solidFill>
              <a:prstDash val="solid"/>
            </a:ln>
          </c:spPr>
          <c:marker>
            <c:symbol val="none"/>
          </c:marker>
          <c:dLbls>
            <c:dLbl>
              <c:idx val="0"/>
              <c:layout>
                <c:manualLayout>
                  <c:x val="3.0725190839694657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4:$H$4</c:f>
              <c:numCache>
                <c:formatCode>General</c:formatCode>
                <c:ptCount val="8"/>
                <c:pt idx="0">
                  <c:v>1693</c:v>
                </c:pt>
                <c:pt idx="1">
                  <c:v>1814</c:v>
                </c:pt>
                <c:pt idx="2">
                  <c:v>2020</c:v>
                </c:pt>
                <c:pt idx="3">
                  <c:v>2129</c:v>
                </c:pt>
                <c:pt idx="4">
                  <c:v>2260</c:v>
                </c:pt>
                <c:pt idx="5">
                  <c:v>2433</c:v>
                </c:pt>
                <c:pt idx="6">
                  <c:v>2618</c:v>
                </c:pt>
                <c:pt idx="7">
                  <c:v>2790</c:v>
                </c:pt>
              </c:numCache>
            </c:numRef>
          </c:yVal>
          <c:smooth val="0"/>
          <c:extLst>
            <c:ext xmlns:c16="http://schemas.microsoft.com/office/drawing/2014/chart" uri="{C3380CC4-5D6E-409C-BE32-E72D297353CC}">
              <c16:uniqueId val="{00000013-C9F7-46ED-AB6A-3DF18F4F26DA}"/>
            </c:ext>
          </c:extLst>
        </c:ser>
        <c:ser>
          <c:idx val="3"/>
          <c:order val="3"/>
          <c:spPr>
            <a:ln w="19050" cmpd="sng" algn="ctr">
              <a:solidFill>
                <a:schemeClr val="accent4"/>
              </a:solidFill>
              <a:prstDash val="solid"/>
            </a:ln>
          </c:spPr>
          <c:marker>
            <c:symbol val="none"/>
          </c:marker>
          <c:dLbls>
            <c:dLbl>
              <c:idx val="0"/>
              <c:layout>
                <c:manualLayout>
                  <c:x val="2.3091603053435116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5:$H$5</c:f>
              <c:numCache>
                <c:formatCode>General</c:formatCode>
                <c:ptCount val="8"/>
                <c:pt idx="0">
                  <c:v>168</c:v>
                </c:pt>
                <c:pt idx="1">
                  <c:v>182</c:v>
                </c:pt>
                <c:pt idx="2">
                  <c:v>194</c:v>
                </c:pt>
                <c:pt idx="3">
                  <c:v>203</c:v>
                </c:pt>
                <c:pt idx="4">
                  <c:v>218</c:v>
                </c:pt>
                <c:pt idx="5">
                  <c:v>220</c:v>
                </c:pt>
                <c:pt idx="6">
                  <c:v>229</c:v>
                </c:pt>
                <c:pt idx="7">
                  <c:v>237</c:v>
                </c:pt>
              </c:numCache>
            </c:numRef>
          </c:yVal>
          <c:smooth val="0"/>
          <c:extLst>
            <c:ext xmlns:c16="http://schemas.microsoft.com/office/drawing/2014/chart" uri="{C3380CC4-5D6E-409C-BE32-E72D297353CC}">
              <c16:uniqueId val="{0000001C-C9F7-46ED-AB6A-3DF18F4F26DA}"/>
            </c:ext>
          </c:extLst>
        </c:ser>
        <c:ser>
          <c:idx val="4"/>
          <c:order val="4"/>
          <c:spPr>
            <a:ln w="19050" cmpd="sng" algn="ctr">
              <a:solidFill>
                <a:schemeClr val="accent5"/>
              </a:solidFill>
              <a:prstDash val="solid"/>
            </a:ln>
          </c:spPr>
          <c:marker>
            <c:symbol val="none"/>
          </c:marker>
          <c:dLbls>
            <c:dLbl>
              <c:idx val="0"/>
              <c:layout>
                <c:manualLayout>
                  <c:x val="2.3091603053435116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6:$H$6</c:f>
              <c:numCache>
                <c:formatCode>General</c:formatCode>
                <c:ptCount val="8"/>
                <c:pt idx="0">
                  <c:v>595</c:v>
                </c:pt>
                <c:pt idx="1">
                  <c:v>642</c:v>
                </c:pt>
                <c:pt idx="2">
                  <c:v>686</c:v>
                </c:pt>
                <c:pt idx="3">
                  <c:v>727</c:v>
                </c:pt>
                <c:pt idx="4">
                  <c:v>778</c:v>
                </c:pt>
                <c:pt idx="5">
                  <c:v>791</c:v>
                </c:pt>
                <c:pt idx="6">
                  <c:v>824</c:v>
                </c:pt>
                <c:pt idx="7">
                  <c:v>861</c:v>
                </c:pt>
              </c:numCache>
            </c:numRef>
          </c:yVal>
          <c:smooth val="0"/>
          <c:extLst>
            <c:ext xmlns:c16="http://schemas.microsoft.com/office/drawing/2014/chart" uri="{C3380CC4-5D6E-409C-BE32-E72D297353CC}">
              <c16:uniqueId val="{00000025-C9F7-46ED-AB6A-3DF18F4F26DA}"/>
            </c:ext>
          </c:extLst>
        </c:ser>
        <c:dLbls>
          <c:showLegendKey val="0"/>
          <c:showVal val="0"/>
          <c:showCatName val="0"/>
          <c:showSerName val="0"/>
          <c:showPercent val="0"/>
          <c:showBubbleSize val="0"/>
        </c:dLbls>
        <c:axId val="4"/>
        <c:axId val="5"/>
      </c:scatterChart>
      <c:valAx>
        <c:axId val="4"/>
        <c:scaling>
          <c:orientation val="minMax"/>
          <c:max val="2024"/>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671316477768087E-3"/>
          <c:y val="0.10909913988229969"/>
          <c:w val="0.98186573670444643"/>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0.1290176550475328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41-4BA2-8054-C538AA1B65E6}"/>
                </c:ext>
              </c:extLst>
            </c:dLbl>
            <c:dLbl>
              <c:idx val="1"/>
              <c:layout>
                <c:manualLayout>
                  <c:x val="0"/>
                  <c:y val="-0.14169307378904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41-4BA2-8054-C538AA1B65E6}"/>
                </c:ext>
              </c:extLst>
            </c:dLbl>
            <c:dLbl>
              <c:idx val="2"/>
              <c:layout>
                <c:manualLayout>
                  <c:x val="0"/>
                  <c:y val="-0.1679492983250339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41-4BA2-8054-C538AA1B65E6}"/>
                </c:ext>
              </c:extLst>
            </c:dLbl>
            <c:dLbl>
              <c:idx val="3"/>
              <c:layout>
                <c:manualLayout>
                  <c:x val="0"/>
                  <c:y val="-0.172023540063377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41-4BA2-8054-C538AA1B65E6}"/>
                </c:ext>
              </c:extLst>
            </c:dLbl>
            <c:dLbl>
              <c:idx val="4"/>
              <c:layout>
                <c:manualLayout>
                  <c:x val="0"/>
                  <c:y val="-0.1566319601629696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41-4BA2-8054-C538AA1B65E6}"/>
                </c:ext>
              </c:extLst>
            </c:dLbl>
            <c:dLbl>
              <c:idx val="5"/>
              <c:layout>
                <c:manualLayout>
                  <c:x val="0"/>
                  <c:y val="-0.124490719782707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41-4BA2-8054-C538AA1B65E6}"/>
                </c:ext>
              </c:extLst>
            </c:dLbl>
            <c:dLbl>
              <c:idx val="6"/>
              <c:layout>
                <c:manualLayout>
                  <c:x val="0"/>
                  <c:y val="-0.1457673155273879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41-4BA2-8054-C538AA1B65E6}"/>
                </c:ext>
              </c:extLst>
            </c:dLbl>
            <c:dLbl>
              <c:idx val="7"/>
              <c:layout>
                <c:manualLayout>
                  <c:x val="0"/>
                  <c:y val="-0.1661385242191036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41-4BA2-8054-C538AA1B65E6}"/>
                </c:ext>
              </c:extLst>
            </c:dLbl>
            <c:dLbl>
              <c:idx val="8"/>
              <c:layout>
                <c:manualLayout>
                  <c:x val="0"/>
                  <c:y val="-0.191942055228610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41-4BA2-8054-C538AA1B65E6}"/>
                </c:ext>
              </c:extLst>
            </c:dLbl>
            <c:dLbl>
              <c:idx val="9"/>
              <c:layout>
                <c:manualLayout>
                  <c:x val="0"/>
                  <c:y val="-9.370755998189225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41-4BA2-8054-C538AA1B65E6}"/>
                </c:ext>
              </c:extLst>
            </c:dLbl>
            <c:dLbl>
              <c:idx val="10"/>
              <c:layout>
                <c:manualLayout>
                  <c:x val="0"/>
                  <c:y val="-0.1611588954277953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41-4BA2-8054-C538AA1B65E6}"/>
                </c:ext>
              </c:extLst>
            </c:dLbl>
            <c:dLbl>
              <c:idx val="11"/>
              <c:layout>
                <c:manualLayout>
                  <c:x val="0"/>
                  <c:y val="-0.181982797645993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41-4BA2-8054-C538AA1B65E6}"/>
                </c:ext>
              </c:extLst>
            </c:dLbl>
            <c:dLbl>
              <c:idx val="12"/>
              <c:layout>
                <c:manualLayout>
                  <c:x val="0"/>
                  <c:y val="-0.222725215029425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41-4BA2-8054-C538AA1B65E6}"/>
                </c:ext>
              </c:extLst>
            </c:dLbl>
            <c:dLbl>
              <c:idx val="13"/>
              <c:layout>
                <c:manualLayout>
                  <c:x val="0"/>
                  <c:y val="-0.240832956088727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41-4BA2-8054-C538AA1B65E6}"/>
                </c:ext>
              </c:extLst>
            </c:dLbl>
            <c:dLbl>
              <c:idx val="14"/>
              <c:layout>
                <c:manualLayout>
                  <c:x val="0"/>
                  <c:y val="-0.2815753734721593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41-4BA2-8054-C538AA1B65E6}"/>
                </c:ext>
              </c:extLst>
            </c:dLbl>
            <c:dLbl>
              <c:idx val="15"/>
              <c:layout>
                <c:manualLayout>
                  <c:x val="0"/>
                  <c:y val="-0.315980081484834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41-4BA2-8054-C538AA1B65E6}"/>
                </c:ext>
              </c:extLst>
            </c:dLbl>
            <c:dLbl>
              <c:idx val="16"/>
              <c:layout>
                <c:manualLayout>
                  <c:x val="0"/>
                  <c:y val="-0.34721593481213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41-4BA2-8054-C538AA1B65E6}"/>
                </c:ext>
              </c:extLst>
            </c:dLbl>
            <c:dLbl>
              <c:idx val="17"/>
              <c:layout>
                <c:manualLayout>
                  <c:x val="0"/>
                  <c:y val="-0.339067451335445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41-4BA2-8054-C538AA1B65E6}"/>
                </c:ext>
              </c:extLst>
            </c:dLbl>
            <c:dLbl>
              <c:idx val="18"/>
              <c:layout>
                <c:manualLayout>
                  <c:x val="0"/>
                  <c:y val="-0.388411045722046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41-4BA2-8054-C538AA1B65E6}"/>
                </c:ext>
              </c:extLst>
            </c:dLbl>
            <c:dLbl>
              <c:idx val="19"/>
              <c:layout>
                <c:manualLayout>
                  <c:x val="0"/>
                  <c:y val="-0.437301946582163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41-4BA2-8054-C538AA1B65E6}"/>
                </c:ext>
              </c:extLst>
            </c:dLbl>
            <c:dLbl>
              <c:idx val="20"/>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41-4BA2-8054-C538AA1B65E6}"/>
                </c:ext>
              </c:extLst>
            </c:dLbl>
            <c:dLbl>
              <c:idx val="21"/>
              <c:layout>
                <c:manualLayout>
                  <c:x val="0"/>
                  <c:y val="-0.344047080126754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41-4BA2-8054-C538AA1B65E6}"/>
                </c:ext>
              </c:extLst>
            </c:dLbl>
            <c:dLbl>
              <c:idx val="22"/>
              <c:layout>
                <c:manualLayout>
                  <c:x val="0"/>
                  <c:y val="-0.378904481665912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41-4BA2-8054-C538AA1B65E6}"/>
                </c:ext>
              </c:extLst>
            </c:dLbl>
            <c:dLbl>
              <c:idx val="23"/>
              <c:layout>
                <c:manualLayout>
                  <c:x val="0"/>
                  <c:y val="-0.378451788139429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41-4BA2-8054-C538AA1B65E6}"/>
                </c:ext>
              </c:extLst>
            </c:dLbl>
            <c:dLbl>
              <c:idx val="24"/>
              <c:layout>
                <c:manualLayout>
                  <c:x val="0"/>
                  <c:y val="-0.383884110457220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41-4BA2-8054-C538AA1B65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0.39134851999999</c:v>
                </c:pt>
                <c:pt idx="1">
                  <c:v>114.04352844</c:v>
                </c:pt>
                <c:pt idx="2">
                  <c:v>141.54354054000001</c:v>
                </c:pt>
                <c:pt idx="3">
                  <c:v>145.96745553</c:v>
                </c:pt>
                <c:pt idx="4">
                  <c:v>129.56527439999999</c:v>
                </c:pt>
                <c:pt idx="5">
                  <c:v>95.611440619739994</c:v>
                </c:pt>
                <c:pt idx="6">
                  <c:v>118.140251981688</c:v>
                </c:pt>
                <c:pt idx="7">
                  <c:v>139.115333674488</c:v>
                </c:pt>
                <c:pt idx="8">
                  <c:v>166.90239590079</c:v>
                </c:pt>
                <c:pt idx="9">
                  <c:v>63.353572078458001</c:v>
                </c:pt>
                <c:pt idx="10">
                  <c:v>134.20295759999999</c:v>
                </c:pt>
                <c:pt idx="11">
                  <c:v>155.79716999999999</c:v>
                </c:pt>
                <c:pt idx="12">
                  <c:v>199.27545000000001</c:v>
                </c:pt>
                <c:pt idx="13">
                  <c:v>218.380363478622</c:v>
                </c:pt>
                <c:pt idx="14">
                  <c:v>260.98704744294599</c:v>
                </c:pt>
                <c:pt idx="15">
                  <c:v>297.27458659786203</c:v>
                </c:pt>
                <c:pt idx="16">
                  <c:v>330.17060904312001</c:v>
                </c:pt>
                <c:pt idx="17">
                  <c:v>321.37041748987798</c:v>
                </c:pt>
                <c:pt idx="18">
                  <c:v>373.33921064599201</c:v>
                </c:pt>
                <c:pt idx="19">
                  <c:v>424.71033180000001</c:v>
                </c:pt>
                <c:pt idx="20">
                  <c:v>428.623377</c:v>
                </c:pt>
                <c:pt idx="21">
                  <c:v>326.50799999999998</c:v>
                </c:pt>
                <c:pt idx="22">
                  <c:v>363.40200000000004</c:v>
                </c:pt>
                <c:pt idx="23">
                  <c:v>362.46600000000007</c:v>
                </c:pt>
                <c:pt idx="24">
                  <c:v>368.86200000000002</c:v>
                </c:pt>
              </c:numCache>
            </c:numRef>
          </c:val>
          <c:extLst>
            <c:ext xmlns:c16="http://schemas.microsoft.com/office/drawing/2014/chart" uri="{C3380CC4-5D6E-409C-BE32-E72D297353CC}">
              <c16:uniqueId val="{00000019-2541-4BA2-8054-C538AA1B65E6}"/>
            </c:ext>
          </c:extLst>
        </c:ser>
        <c:dLbls>
          <c:showLegendKey val="0"/>
          <c:showVal val="0"/>
          <c:showCatName val="0"/>
          <c:showSerName val="0"/>
          <c:showPercent val="0"/>
          <c:showBubbleSize val="0"/>
        </c:dLbls>
        <c:gapWidth val="80"/>
        <c:overlap val="100"/>
        <c:axId val="806590959"/>
        <c:axId val="1"/>
      </c:barChart>
      <c:catAx>
        <c:axId val="806590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28.623377"/>
          <c:min val="0"/>
        </c:scaling>
        <c:delete val="1"/>
        <c:axPos val="l"/>
        <c:numFmt formatCode="General" sourceLinked="1"/>
        <c:majorTickMark val="out"/>
        <c:minorTickMark val="none"/>
        <c:tickLblPos val="nextTo"/>
        <c:crossAx val="80659095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25394646533974E-2"/>
          <c:y val="0.12157534246575342"/>
          <c:w val="0.93205216197666441"/>
          <c:h val="0.756849315068493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18.790742569534192</c:v>
                </c:pt>
                <c:pt idx="1">
                  <c:v>18.56408366426427</c:v>
                </c:pt>
                <c:pt idx="2">
                  <c:v>18.447126372337841</c:v>
                </c:pt>
                <c:pt idx="3">
                  <c:v>18.249257837561576</c:v>
                </c:pt>
                <c:pt idx="4">
                  <c:v>17.809930699469835</c:v>
                </c:pt>
                <c:pt idx="5">
                  <c:v>17.236172598702055</c:v>
                </c:pt>
                <c:pt idx="6">
                  <c:v>16.580153925816269</c:v>
                </c:pt>
                <c:pt idx="7">
                  <c:v>15.816765527796605</c:v>
                </c:pt>
                <c:pt idx="8">
                  <c:v>15.089225735274688</c:v>
                </c:pt>
                <c:pt idx="9">
                  <c:v>14.551165904458378</c:v>
                </c:pt>
                <c:pt idx="10">
                  <c:v>14.133474912615959</c:v>
                </c:pt>
                <c:pt idx="11">
                  <c:v>13.746345932713638</c:v>
                </c:pt>
                <c:pt idx="12">
                  <c:v>13.401001390521049</c:v>
                </c:pt>
                <c:pt idx="13">
                  <c:v>13.106617781882148</c:v>
                </c:pt>
                <c:pt idx="14">
                  <c:v>12.877013136920795</c:v>
                </c:pt>
                <c:pt idx="15">
                  <c:v>12.682569098242741</c:v>
                </c:pt>
                <c:pt idx="16">
                  <c:v>12.52118729718617</c:v>
                </c:pt>
                <c:pt idx="17">
                  <c:v>12.424834876956131</c:v>
                </c:pt>
                <c:pt idx="18">
                  <c:v>12.329383083590809</c:v>
                </c:pt>
                <c:pt idx="19">
                  <c:v>12.213067586784696</c:v>
                </c:pt>
                <c:pt idx="20">
                  <c:v>12.174522728528354</c:v>
                </c:pt>
                <c:pt idx="21">
                  <c:v>12.168855216730464</c:v>
                </c:pt>
                <c:pt idx="22">
                  <c:v>12.005289665655999</c:v>
                </c:pt>
                <c:pt idx="23">
                  <c:v>11.787475387969041</c:v>
                </c:pt>
                <c:pt idx="24">
                  <c:v>11.686158685971968</c:v>
                </c:pt>
                <c:pt idx="25">
                  <c:v>11.689162372780308</c:v>
                </c:pt>
                <c:pt idx="26">
                  <c:v>12.006900579511067</c:v>
                </c:pt>
                <c:pt idx="27">
                  <c:v>11.677030093797498</c:v>
                </c:pt>
                <c:pt idx="28">
                  <c:v>9.1235308466402802</c:v>
                </c:pt>
              </c:numCache>
            </c:numRef>
          </c:val>
          <c:extLst>
            <c:ext xmlns:c16="http://schemas.microsoft.com/office/drawing/2014/chart" uri="{C3380CC4-5D6E-409C-BE32-E72D297353CC}">
              <c16:uniqueId val="{00000000-0D2D-40D4-AC26-E5BC39398476}"/>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74.959500600335303</c:v>
                </c:pt>
                <c:pt idx="1">
                  <c:v>75.083159911432134</c:v>
                </c:pt>
                <c:pt idx="2">
                  <c:v>75.108144230890971</c:v>
                </c:pt>
                <c:pt idx="3">
                  <c:v>75.165208923106292</c:v>
                </c:pt>
                <c:pt idx="4">
                  <c:v>75.377947609110748</c:v>
                </c:pt>
                <c:pt idx="5">
                  <c:v>75.71954684740416</c:v>
                </c:pt>
                <c:pt idx="6">
                  <c:v>76.237219932208731</c:v>
                </c:pt>
                <c:pt idx="7">
                  <c:v>76.998356363462321</c:v>
                </c:pt>
                <c:pt idx="8">
                  <c:v>77.74215419553498</c:v>
                </c:pt>
                <c:pt idx="9">
                  <c:v>78.202349067412285</c:v>
                </c:pt>
                <c:pt idx="10">
                  <c:v>78.529289066368548</c:v>
                </c:pt>
                <c:pt idx="11">
                  <c:v>78.771386267595915</c:v>
                </c:pt>
                <c:pt idx="12">
                  <c:v>78.818683366143432</c:v>
                </c:pt>
                <c:pt idx="13">
                  <c:v>78.728239262988623</c:v>
                </c:pt>
                <c:pt idx="14">
                  <c:v>78.546922809139048</c:v>
                </c:pt>
                <c:pt idx="15">
                  <c:v>78.319223642275745</c:v>
                </c:pt>
                <c:pt idx="16">
                  <c:v>78.030871490935837</c:v>
                </c:pt>
                <c:pt idx="17">
                  <c:v>77.61114516864815</c:v>
                </c:pt>
                <c:pt idx="18">
                  <c:v>77.186968302309594</c:v>
                </c:pt>
                <c:pt idx="19">
                  <c:v>76.811879223485064</c:v>
                </c:pt>
                <c:pt idx="20">
                  <c:v>76.24052950183453</c:v>
                </c:pt>
                <c:pt idx="21">
                  <c:v>75.572950566955569</c:v>
                </c:pt>
                <c:pt idx="22">
                  <c:v>75.303813732829411</c:v>
                </c:pt>
                <c:pt idx="23">
                  <c:v>75.117157888127309</c:v>
                </c:pt>
                <c:pt idx="24">
                  <c:v>74.657623028101526</c:v>
                </c:pt>
                <c:pt idx="25">
                  <c:v>74.099799855214414</c:v>
                </c:pt>
                <c:pt idx="26">
                  <c:v>71.120220878232203</c:v>
                </c:pt>
                <c:pt idx="27">
                  <c:v>66.886515690666414</c:v>
                </c:pt>
                <c:pt idx="28">
                  <c:v>64.125827493880607</c:v>
                </c:pt>
              </c:numCache>
            </c:numRef>
          </c:val>
          <c:extLst>
            <c:ext xmlns:c16="http://schemas.microsoft.com/office/drawing/2014/chart" uri="{C3380CC4-5D6E-409C-BE32-E72D297353CC}">
              <c16:uniqueId val="{00000001-0D2D-40D4-AC26-E5BC39398476}"/>
            </c:ext>
          </c:extLst>
        </c:ser>
        <c:ser>
          <c:idx val="2"/>
          <c:order val="2"/>
          <c:spPr>
            <a:solidFill>
              <a:srgbClr val="C0E6F4"/>
            </a:solidFill>
            <a:ln w="9525" cmpd="sng" algn="ctr">
              <a:solidFill>
                <a:srgbClr val="808080"/>
              </a:solidFill>
              <a:prstDash val="solid"/>
            </a:ln>
          </c:spPr>
          <c:invertIfNegative val="0"/>
          <c:dLbls>
            <c:dLbl>
              <c:idx val="16"/>
              <c:layout>
                <c:manualLayout>
                  <c:x val="0"/>
                  <c:y val="-8.5616438356164379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2D-40D4-AC26-E5BC393984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6.2497568301305044</c:v>
                </c:pt>
                <c:pt idx="1">
                  <c:v>6.3527564243035854</c:v>
                </c:pt>
                <c:pt idx="2">
                  <c:v>6.4447293967711872</c:v>
                </c:pt>
                <c:pt idx="3">
                  <c:v>6.5855332393321309</c:v>
                </c:pt>
                <c:pt idx="4">
                  <c:v>6.8121216914194154</c:v>
                </c:pt>
                <c:pt idx="5">
                  <c:v>7.0442805538937776</c:v>
                </c:pt>
                <c:pt idx="6">
                  <c:v>7.1826261419749908</c:v>
                </c:pt>
                <c:pt idx="7">
                  <c:v>7.1848781087410778</c:v>
                </c:pt>
                <c:pt idx="8">
                  <c:v>7.1686200691903235</c:v>
                </c:pt>
                <c:pt idx="9">
                  <c:v>7.2464850281293351</c:v>
                </c:pt>
                <c:pt idx="10">
                  <c:v>7.3372360210154923</c:v>
                </c:pt>
                <c:pt idx="11">
                  <c:v>7.4822677996904341</c:v>
                </c:pt>
                <c:pt idx="12">
                  <c:v>7.7803152433355116</c:v>
                </c:pt>
                <c:pt idx="13">
                  <c:v>8.1651429551292338</c:v>
                </c:pt>
                <c:pt idx="14">
                  <c:v>8.5760640539401578</c:v>
                </c:pt>
                <c:pt idx="15">
                  <c:v>8.9982072594815286</c:v>
                </c:pt>
                <c:pt idx="16">
                  <c:v>9.4479412118779962</c:v>
                </c:pt>
                <c:pt idx="17">
                  <c:v>9.9640199543957095</c:v>
                </c:pt>
                <c:pt idx="18">
                  <c:v>10.483648614099595</c:v>
                </c:pt>
                <c:pt idx="19">
                  <c:v>10.975053189730255</c:v>
                </c:pt>
                <c:pt idx="20">
                  <c:v>11.584947769637122</c:v>
                </c:pt>
                <c:pt idx="21">
                  <c:v>12.258194216313967</c:v>
                </c:pt>
                <c:pt idx="22">
                  <c:v>12.69089660151459</c:v>
                </c:pt>
                <c:pt idx="23">
                  <c:v>13.095366723903645</c:v>
                </c:pt>
                <c:pt idx="24">
                  <c:v>13.656218285926503</c:v>
                </c:pt>
                <c:pt idx="25">
                  <c:v>14.211037772005286</c:v>
                </c:pt>
                <c:pt idx="26">
                  <c:v>16.872878542256721</c:v>
                </c:pt>
                <c:pt idx="27">
                  <c:v>21.436454215536106</c:v>
                </c:pt>
                <c:pt idx="28">
                  <c:v>26.750641659479115</c:v>
                </c:pt>
              </c:numCache>
            </c:numRef>
          </c:val>
          <c:extLst>
            <c:ext xmlns:c16="http://schemas.microsoft.com/office/drawing/2014/chart" uri="{C3380CC4-5D6E-409C-BE32-E72D297353CC}">
              <c16:uniqueId val="{00000003-0D2D-40D4-AC26-E5BC39398476}"/>
            </c:ext>
          </c:extLst>
        </c:ser>
        <c:dLbls>
          <c:showLegendKey val="0"/>
          <c:showVal val="0"/>
          <c:showCatName val="0"/>
          <c:showSerName val="0"/>
          <c:showPercent val="0"/>
          <c:showBubbleSize val="0"/>
        </c:dLbls>
        <c:gapWidth val="60"/>
        <c:overlap val="100"/>
        <c:axId val="822824911"/>
        <c:axId val="1"/>
      </c:barChart>
      <c:catAx>
        <c:axId val="8228249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2282491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6065.1103406999982</c:v>
                </c:pt>
                <c:pt idx="1">
                  <c:v>5676.5158194699989</c:v>
                </c:pt>
                <c:pt idx="2">
                  <c:v>6263.712618640001</c:v>
                </c:pt>
                <c:pt idx="3">
                  <c:v>7033.23668516</c:v>
                </c:pt>
                <c:pt idx="4">
                  <c:v>6753.0597996800007</c:v>
                </c:pt>
                <c:pt idx="5">
                  <c:v>6982.3706131700001</c:v>
                </c:pt>
                <c:pt idx="6">
                  <c:v>7363.0771036300011</c:v>
                </c:pt>
                <c:pt idx="7">
                  <c:v>7761.2526917899986</c:v>
                </c:pt>
                <c:pt idx="8">
                  <c:v>8901.7339183999993</c:v>
                </c:pt>
                <c:pt idx="9">
                  <c:v>9467.7879404300002</c:v>
                </c:pt>
                <c:pt idx="10">
                  <c:v>10218.032629810001</c:v>
                </c:pt>
                <c:pt idx="11">
                  <c:v>10702.616098200002</c:v>
                </c:pt>
                <c:pt idx="12">
                  <c:v>11779.795547800002</c:v>
                </c:pt>
                <c:pt idx="13">
                  <c:v>13678.3147899</c:v>
                </c:pt>
                <c:pt idx="14">
                  <c:v>14946.626298679999</c:v>
                </c:pt>
                <c:pt idx="15">
                  <c:v>16621.281796720003</c:v>
                </c:pt>
                <c:pt idx="16">
                  <c:v>18066.164623680004</c:v>
                </c:pt>
                <c:pt idx="17">
                  <c:v>18788.35295312</c:v>
                </c:pt>
                <c:pt idx="18">
                  <c:v>18157.26915882</c:v>
                </c:pt>
                <c:pt idx="19">
                  <c:v>19906.466154909998</c:v>
                </c:pt>
                <c:pt idx="20">
                  <c:v>24762.943726450001</c:v>
                </c:pt>
                <c:pt idx="21">
                  <c:v>24536.675079209999</c:v>
                </c:pt>
                <c:pt idx="22">
                  <c:v>21500.005644980003</c:v>
                </c:pt>
                <c:pt idx="23">
                  <c:v>22702.507146590004</c:v>
                </c:pt>
              </c:numCache>
            </c:numRef>
          </c:val>
          <c:extLst>
            <c:ext xmlns:c16="http://schemas.microsoft.com/office/drawing/2014/chart" uri="{C3380CC4-5D6E-409C-BE32-E72D297353CC}">
              <c16:uniqueId val="{00000000-3DBF-4452-9D75-432F6D6C9AAE}"/>
            </c:ext>
          </c:extLst>
        </c:ser>
        <c:dLbls>
          <c:showLegendKey val="0"/>
          <c:showVal val="0"/>
          <c:showCatName val="0"/>
          <c:showSerName val="0"/>
          <c:showPercent val="0"/>
          <c:showBubbleSize val="0"/>
        </c:dLbls>
        <c:gapWidth val="60"/>
        <c:overlap val="100"/>
        <c:axId val="488527519"/>
        <c:axId val="1"/>
      </c:barChart>
      <c:catAx>
        <c:axId val="4885275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88527519"/>
        <c:crosses val="min"/>
        <c:crossBetween val="between"/>
        <c:majorUnit val="5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03BC-47B5-B4C6-D0AE6691C3F8}"/>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03BC-47B5-B4C6-D0AE6691C3F8}"/>
              </c:ext>
            </c:extLst>
          </c:dPt>
          <c:dLbls>
            <c:dLbl>
              <c:idx val="0"/>
              <c:layout>
                <c:manualLayout>
                  <c:x val="-2.6632464276115498E-17"/>
                  <c:y val="-0.27549194991055453"/>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BC-47B5-B4C6-D0AE6691C3F8}"/>
                </c:ext>
              </c:extLst>
            </c:dLbl>
            <c:dLbl>
              <c:idx val="1"/>
              <c:layout>
                <c:manualLayout>
                  <c:x val="-1.4526966510881156E-3"/>
                  <c:y val="-0.38998211091234347"/>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BC-47B5-B4C6-D0AE6691C3F8}"/>
                </c:ext>
              </c:extLst>
            </c:dLbl>
            <c:dLbl>
              <c:idx val="2"/>
              <c:layout>
                <c:manualLayout>
                  <c:x val="-4.3580899532643467E-3"/>
                  <c:y val="-0.39713774597495527"/>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BC-47B5-B4C6-D0AE6691C3F8}"/>
                </c:ext>
              </c:extLst>
            </c:dLbl>
            <c:dLbl>
              <c:idx val="3"/>
              <c:layout>
                <c:manualLayout>
                  <c:x val="-1.452696651088222E-3"/>
                  <c:y val="-0.479427549194991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BC-47B5-B4C6-D0AE6691C3F8}"/>
                </c:ext>
              </c:extLst>
            </c:dLbl>
            <c:spPr>
              <a:noFill/>
              <a:ln>
                <a:noFill/>
              </a:ln>
              <a:effectLst/>
            </c:spPr>
            <c:txPr>
              <a:bodyPr wrap="square" lIns="38100" tIns="19050" rIns="38100" bIns="19050" anchor="ctr">
                <a:spAutoFit/>
              </a:bodyPr>
              <a:lstStyle/>
              <a:p>
                <a:pPr>
                  <a:defRPr lang="ja-JP" sz="12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2.11</c:v>
                </c:pt>
                <c:pt idx="1">
                  <c:v>3.25</c:v>
                </c:pt>
                <c:pt idx="2">
                  <c:v>3.22</c:v>
                </c:pt>
                <c:pt idx="3">
                  <c:v>4.17</c:v>
                </c:pt>
              </c:numCache>
            </c:numRef>
          </c:val>
          <c:extLst>
            <c:ext xmlns:c16="http://schemas.microsoft.com/office/drawing/2014/chart" uri="{C3380CC4-5D6E-409C-BE32-E72D297353CC}">
              <c16:uniqueId val="{00000006-03BC-47B5-B4C6-D0AE6691C3F8}"/>
            </c:ext>
          </c:extLst>
        </c:ser>
        <c:dLbls>
          <c:showLegendKey val="0"/>
          <c:showVal val="0"/>
          <c:showCatName val="0"/>
          <c:showSerName val="0"/>
          <c:showPercent val="0"/>
          <c:showBubbleSize val="0"/>
        </c:dLbls>
        <c:gapWidth val="60"/>
        <c:overlap val="100"/>
        <c:axId val="863758096"/>
        <c:axId val="1"/>
      </c:barChart>
      <c:catAx>
        <c:axId val="8637580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375809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699-4DCE-B7C0-5F1BDCE6FF8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699-4DCE-B7C0-5F1BDCE6FF8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699-4DCE-B7C0-5F1BDCE6FF80}"/>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699-4DCE-B7C0-5F1BDCE6FF80}"/>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699-4DCE-B7C0-5F1BDCE6FF80}"/>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7699-4DCE-B7C0-5F1BDCE6FF80}"/>
              </c:ext>
            </c:extLst>
          </c:dPt>
          <c:dLbls>
            <c:dLbl>
              <c:idx val="0"/>
              <c:layout>
                <c:manualLayout>
                  <c:x val="0.14231257941550191"/>
                  <c:y val="-7.3735199138858995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99-4DCE-B7C0-5F1BDCE6FF80}"/>
                </c:ext>
              </c:extLst>
            </c:dLbl>
            <c:dLbl>
              <c:idx val="1"/>
              <c:layout>
                <c:manualLayout>
                  <c:x val="0.11054637865311309"/>
                  <c:y val="0.1087190527448869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99-4DCE-B7C0-5F1BDCE6FF80}"/>
                </c:ext>
              </c:extLst>
            </c:dLbl>
            <c:dLbl>
              <c:idx val="2"/>
              <c:layout>
                <c:manualLayout>
                  <c:x val="-3.8119440914866584E-3"/>
                  <c:y val="0.162540365984930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99-4DCE-B7C0-5F1BDCE6FF80}"/>
                </c:ext>
              </c:extLst>
            </c:dLbl>
            <c:dLbl>
              <c:idx val="3"/>
              <c:layout>
                <c:manualLayout>
                  <c:x val="-0.102287166454892"/>
                  <c:y val="0.1254036598493003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99-4DCE-B7C0-5F1BDCE6FF80}"/>
                </c:ext>
              </c:extLst>
            </c:dLbl>
            <c:dLbl>
              <c:idx val="4"/>
              <c:layout>
                <c:manualLayout>
                  <c:x val="-0.1531130876747141"/>
                  <c:y val="7.857911733046286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99-4DCE-B7C0-5F1BDCE6FF80}"/>
                </c:ext>
              </c:extLst>
            </c:dLbl>
            <c:dLbl>
              <c:idx val="5"/>
              <c:layout>
                <c:manualLayout>
                  <c:x val="-0.13786531130876747"/>
                  <c:y val="-8.07319698600645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99-4DCE-B7C0-5F1BDCE6FF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2.542012114103777</c:v>
                </c:pt>
                <c:pt idx="1">
                  <c:v>12.310069474561686</c:v>
                </c:pt>
                <c:pt idx="2">
                  <c:v>10.965213593403025</c:v>
                </c:pt>
                <c:pt idx="3">
                  <c:v>7.6014427619726748</c:v>
                </c:pt>
                <c:pt idx="4">
                  <c:v>5.8404763969944247</c:v>
                </c:pt>
                <c:pt idx="5">
                  <c:v>30.74078565896442</c:v>
                </c:pt>
              </c:numCache>
            </c:numRef>
          </c:val>
          <c:extLst>
            <c:ext xmlns:c16="http://schemas.microsoft.com/office/drawing/2014/chart" uri="{C3380CC4-5D6E-409C-BE32-E72D297353CC}">
              <c16:uniqueId val="{00000006-7699-4DCE-B7C0-5F1BDCE6FF8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6220515633571E-2"/>
          <c:y val="2.5316455696202531E-2"/>
          <c:w val="0.97147558968732861"/>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931051</c:v>
                </c:pt>
                <c:pt idx="1">
                  <c:v>2870027</c:v>
                </c:pt>
                <c:pt idx="2">
                  <c:v>3200735</c:v>
                </c:pt>
                <c:pt idx="3">
                  <c:v>3280520</c:v>
                </c:pt>
                <c:pt idx="4">
                  <c:v>3442227</c:v>
                </c:pt>
                <c:pt idx="5">
                  <c:v>3084902</c:v>
                </c:pt>
                <c:pt idx="6">
                  <c:v>3133636</c:v>
                </c:pt>
                <c:pt idx="7">
                  <c:v>3598437</c:v>
                </c:pt>
                <c:pt idx="8">
                  <c:v>3458393</c:v>
                </c:pt>
              </c:numCache>
            </c:numRef>
          </c:val>
          <c:extLst>
            <c:ext xmlns:c16="http://schemas.microsoft.com/office/drawing/2014/chart" uri="{C3380CC4-5D6E-409C-BE32-E72D297353CC}">
              <c16:uniqueId val="{00000000-AA8D-4903-A074-9F17D51D5740}"/>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026966</c:v>
                </c:pt>
                <c:pt idx="1">
                  <c:v>2105228</c:v>
                </c:pt>
                <c:pt idx="2">
                  <c:v>2172997</c:v>
                </c:pt>
                <c:pt idx="3">
                  <c:v>2416865</c:v>
                </c:pt>
                <c:pt idx="4">
                  <c:v>2068431</c:v>
                </c:pt>
                <c:pt idx="5">
                  <c:v>2067210</c:v>
                </c:pt>
                <c:pt idx="6">
                  <c:v>2314589</c:v>
                </c:pt>
                <c:pt idx="7">
                  <c:v>2505726</c:v>
                </c:pt>
                <c:pt idx="8">
                  <c:v>2605558</c:v>
                </c:pt>
              </c:numCache>
            </c:numRef>
          </c:val>
          <c:extLst>
            <c:ext xmlns:c16="http://schemas.microsoft.com/office/drawing/2014/chart" uri="{C3380CC4-5D6E-409C-BE32-E72D297353CC}">
              <c16:uniqueId val="{00000001-AA8D-4903-A074-9F17D51D5740}"/>
            </c:ext>
          </c:extLst>
        </c:ser>
        <c:dLbls>
          <c:showLegendKey val="0"/>
          <c:showVal val="0"/>
          <c:showCatName val="0"/>
          <c:showSerName val="0"/>
          <c:showPercent val="0"/>
          <c:showBubbleSize val="0"/>
        </c:dLbls>
        <c:gapWidth val="60"/>
        <c:axId val="198046159"/>
        <c:axId val="1"/>
      </c:barChart>
      <c:catAx>
        <c:axId val="1980461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8046159"/>
        <c:crosses val="min"/>
        <c:crossBetween val="between"/>
        <c:majorUnit val="5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8EE-4292-8FBD-000C9874FD5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8EE-4292-8FBD-000C9874FD5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8EE-4292-8FBD-000C9874FD56}"/>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8EE-4292-8FBD-000C9874FD56}"/>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8EE-4292-8FBD-000C9874FD56}"/>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78EE-4292-8FBD-000C9874FD56}"/>
              </c:ext>
            </c:extLst>
          </c:dPt>
          <c:dLbls>
            <c:dLbl>
              <c:idx val="0"/>
              <c:layout>
                <c:manualLayout>
                  <c:x val="8.5768742058449809E-2"/>
                  <c:y val="-0.1275565123789020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EE-4292-8FBD-000C9874FD56}"/>
                </c:ext>
              </c:extLst>
            </c:dLbl>
            <c:dLbl>
              <c:idx val="1"/>
              <c:layout>
                <c:manualLayout>
                  <c:x val="0.16772554002541296"/>
                  <c:y val="-2.529601722282023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EE-4292-8FBD-000C9874FD56}"/>
                </c:ext>
              </c:extLst>
            </c:dLbl>
            <c:dLbl>
              <c:idx val="2"/>
              <c:layout>
                <c:manualLayout>
                  <c:x val="0.14358322744599747"/>
                  <c:y val="7.15823466092572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EE-4292-8FBD-000C9874FD56}"/>
                </c:ext>
              </c:extLst>
            </c:dLbl>
            <c:dLbl>
              <c:idx val="3"/>
              <c:layout>
                <c:manualLayout>
                  <c:x val="7.1156289707750953E-2"/>
                  <c:y val="0.1431646932185145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EE-4292-8FBD-000C9874FD56}"/>
                </c:ext>
              </c:extLst>
            </c:dLbl>
            <c:dLbl>
              <c:idx val="4"/>
              <c:layout>
                <c:manualLayout>
                  <c:x val="-3.303684879288437E-2"/>
                  <c:y val="0.1576964477933261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EE-4292-8FBD-000C9874FD56}"/>
                </c:ext>
              </c:extLst>
            </c:dLbl>
            <c:dLbl>
              <c:idx val="5"/>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EE-4292-8FBD-000C9874FD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6.547137911085969</c:v>
                </c:pt>
                <c:pt idx="1">
                  <c:v>11.344396444462937</c:v>
                </c:pt>
                <c:pt idx="2">
                  <c:v>11.17450504853297</c:v>
                </c:pt>
                <c:pt idx="3">
                  <c:v>9.1689144153839628</c:v>
                </c:pt>
                <c:pt idx="4">
                  <c:v>9.1517312399331399</c:v>
                </c:pt>
                <c:pt idx="5">
                  <c:v>42.613314940601022</c:v>
                </c:pt>
              </c:numCache>
            </c:numRef>
          </c:val>
          <c:extLst>
            <c:ext xmlns:c16="http://schemas.microsoft.com/office/drawing/2014/chart" uri="{C3380CC4-5D6E-409C-BE32-E72D297353CC}">
              <c16:uniqueId val="{00000006-78EE-4292-8FBD-000C9874FD5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6220515633571E-2"/>
          <c:y val="2.5304136253041364E-2"/>
          <c:w val="0.97147558968732861"/>
          <c:h val="0.9493917274939173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889526</c:v>
                </c:pt>
                <c:pt idx="1">
                  <c:v>8362962</c:v>
                </c:pt>
                <c:pt idx="2">
                  <c:v>8107010</c:v>
                </c:pt>
                <c:pt idx="3">
                  <c:v>8925984</c:v>
                </c:pt>
                <c:pt idx="4">
                  <c:v>10268877</c:v>
                </c:pt>
                <c:pt idx="5">
                  <c:v>9842829</c:v>
                </c:pt>
                <c:pt idx="6">
                  <c:v>11042024</c:v>
                </c:pt>
                <c:pt idx="7">
                  <c:v>8413046</c:v>
                </c:pt>
                <c:pt idx="8">
                  <c:v>7799981</c:v>
                </c:pt>
              </c:numCache>
            </c:numRef>
          </c:val>
          <c:extLst>
            <c:ext xmlns:c16="http://schemas.microsoft.com/office/drawing/2014/chart" uri="{C3380CC4-5D6E-409C-BE32-E72D297353CC}">
              <c16:uniqueId val="{00000000-8C92-47FF-B02C-716D8B9929CF}"/>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494843</c:v>
                </c:pt>
                <c:pt idx="1">
                  <c:v>2935013</c:v>
                </c:pt>
                <c:pt idx="2">
                  <c:v>3190537</c:v>
                </c:pt>
                <c:pt idx="3">
                  <c:v>3606328</c:v>
                </c:pt>
                <c:pt idx="4">
                  <c:v>4456368</c:v>
                </c:pt>
                <c:pt idx="5">
                  <c:v>5181696</c:v>
                </c:pt>
                <c:pt idx="6">
                  <c:v>4353134</c:v>
                </c:pt>
                <c:pt idx="7">
                  <c:v>5750053</c:v>
                </c:pt>
                <c:pt idx="8">
                  <c:v>4999076</c:v>
                </c:pt>
              </c:numCache>
            </c:numRef>
          </c:val>
          <c:extLst>
            <c:ext xmlns:c16="http://schemas.microsoft.com/office/drawing/2014/chart" uri="{C3380CC4-5D6E-409C-BE32-E72D297353CC}">
              <c16:uniqueId val="{00000001-8C92-47FF-B02C-716D8B9929CF}"/>
            </c:ext>
          </c:extLst>
        </c:ser>
        <c:dLbls>
          <c:showLegendKey val="0"/>
          <c:showVal val="0"/>
          <c:showCatName val="0"/>
          <c:showSerName val="0"/>
          <c:showPercent val="0"/>
          <c:showBubbleSize val="0"/>
        </c:dLbls>
        <c:gapWidth val="60"/>
        <c:axId val="1540605024"/>
        <c:axId val="1"/>
      </c:barChart>
      <c:catAx>
        <c:axId val="15406050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40605024"/>
        <c:crosses val="min"/>
        <c:crossBetween val="between"/>
        <c:majorUnit val="10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102941176470587E-2"/>
          <c:y val="8.2683307332293288E-2"/>
          <c:w val="0.92536764705882357"/>
          <c:h val="0.8619344773790951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389705882352941E-2"/>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4B-407D-BC09-FCD4025D648A}"/>
                </c:ext>
              </c:extLst>
            </c:dLbl>
            <c:dLbl>
              <c:idx val="1"/>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4B-407D-BC09-FCD4025D648A}"/>
                </c:ext>
              </c:extLst>
            </c:dLbl>
            <c:dLbl>
              <c:idx val="2"/>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4B-407D-BC09-FCD4025D648A}"/>
                </c:ext>
              </c:extLst>
            </c:dLbl>
            <c:dLbl>
              <c:idx val="3"/>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4B-407D-BC09-FCD4025D6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13.60000000000002</c:v>
                </c:pt>
                <c:pt idx="1">
                  <c:v>392.2</c:v>
                </c:pt>
                <c:pt idx="2">
                  <c:v>466.8</c:v>
                </c:pt>
                <c:pt idx="3">
                  <c:v>540.6</c:v>
                </c:pt>
              </c:numCache>
            </c:numRef>
          </c:val>
          <c:smooth val="0"/>
          <c:extLst>
            <c:ext xmlns:c16="http://schemas.microsoft.com/office/drawing/2014/chart" uri="{C3380CC4-5D6E-409C-BE32-E72D297353CC}">
              <c16:uniqueId val="{00000004-D14B-407D-BC09-FCD4025D648A}"/>
            </c:ext>
          </c:extLst>
        </c:ser>
        <c:dLbls>
          <c:showLegendKey val="0"/>
          <c:showVal val="0"/>
          <c:showCatName val="0"/>
          <c:showSerName val="0"/>
          <c:showPercent val="0"/>
          <c:showBubbleSize val="0"/>
        </c:dLbls>
        <c:marker val="1"/>
        <c:smooth val="0"/>
        <c:axId val="456192768"/>
        <c:axId val="1"/>
      </c:lineChart>
      <c:catAx>
        <c:axId val="4561927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6192768"/>
        <c:crosses val="min"/>
        <c:crossBetween val="midCat"/>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26849417949681E-2"/>
          <c:y val="0.11380985426786953"/>
          <c:w val="0.96094630116410062"/>
          <c:h val="0.85010409437890355"/>
        </c:manualLayout>
      </c:layout>
      <c:barChart>
        <c:barDir val="col"/>
        <c:grouping val="stacked"/>
        <c:varyColors val="0"/>
        <c:dLbls>
          <c:showLegendKey val="0"/>
          <c:showVal val="0"/>
          <c:showCatName val="0"/>
          <c:showSerName val="0"/>
          <c:showPercent val="0"/>
          <c:showBubbleSize val="0"/>
        </c:dLbls>
        <c:gapWidth val="80"/>
        <c:overlap val="100"/>
        <c:axId val="1141358543"/>
        <c:axId val="1"/>
      </c:barChart>
      <c:catAx>
        <c:axId val="11413585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141358543"/>
        <c:crosses val="min"/>
        <c:crossBetween val="between"/>
      </c:valAx>
      <c:spPr>
        <a:noFill/>
        <a:ln w="25400">
          <a:noFill/>
        </a:ln>
      </c:spPr>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4325236575162373"/>
          <c:y val="1.6273532587896031E-2"/>
          <c:w val="0.74984288368746299"/>
          <c:h val="0.90575264059829996"/>
        </c:manualLayout>
      </c:layout>
      <c:barChart>
        <c:barDir val="col"/>
        <c:grouping val="clustered"/>
        <c:varyColors val="0"/>
        <c:ser>
          <c:idx val="0"/>
          <c:order val="0"/>
          <c:tx>
            <c:strRef>
              <c:f>Sheet1!$B$6</c:f>
              <c:strCache>
                <c:ptCount val="1"/>
                <c:pt idx="0">
                  <c:v>医療ツーリスト数</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5:$G$5</c:f>
              <c:numCache>
                <c:formatCode>General</c:formatCode>
                <c:ptCount val="5"/>
                <c:pt idx="0">
                  <c:v>2017</c:v>
                </c:pt>
                <c:pt idx="1">
                  <c:v>2018</c:v>
                </c:pt>
                <c:pt idx="2">
                  <c:v>2019</c:v>
                </c:pt>
                <c:pt idx="3">
                  <c:v>2020</c:v>
                </c:pt>
                <c:pt idx="4">
                  <c:v>2021</c:v>
                </c:pt>
              </c:numCache>
            </c:numRef>
          </c:cat>
          <c:val>
            <c:numRef>
              <c:f>Sheet1!$C$6:$G$6</c:f>
              <c:numCache>
                <c:formatCode>General</c:formatCode>
                <c:ptCount val="5"/>
                <c:pt idx="0">
                  <c:v>450</c:v>
                </c:pt>
                <c:pt idx="1">
                  <c:v>525</c:v>
                </c:pt>
                <c:pt idx="2">
                  <c:v>600</c:v>
                </c:pt>
                <c:pt idx="3">
                  <c:v>375</c:v>
                </c:pt>
                <c:pt idx="4">
                  <c:v>500</c:v>
                </c:pt>
              </c:numCache>
            </c:numRef>
          </c:val>
          <c:extLst>
            <c:ext xmlns:c16="http://schemas.microsoft.com/office/drawing/2014/chart" uri="{C3380CC4-5D6E-409C-BE32-E72D297353CC}">
              <c16:uniqueId val="{00000005-20DD-4FF9-9D5B-6C8C43464B1D}"/>
            </c:ext>
          </c:extLst>
        </c:ser>
        <c:dLbls>
          <c:dLblPos val="outEnd"/>
          <c:showLegendKey val="0"/>
          <c:showVal val="1"/>
          <c:showCatName val="0"/>
          <c:showSerName val="0"/>
          <c:showPercent val="0"/>
          <c:showBubbleSize val="0"/>
        </c:dLbls>
        <c:gapWidth val="219"/>
        <c:overlap val="-27"/>
        <c:axId val="132997856"/>
        <c:axId val="129706192"/>
      </c:barChart>
      <c:catAx>
        <c:axId val="13299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129706192"/>
        <c:crosses val="autoZero"/>
        <c:auto val="1"/>
        <c:lblAlgn val="ctr"/>
        <c:lblOffset val="100"/>
        <c:noMultiLvlLbl val="0"/>
      </c:catAx>
      <c:valAx>
        <c:axId val="129706192"/>
        <c:scaling>
          <c:orientation val="minMax"/>
        </c:scaling>
        <c:delete val="1"/>
        <c:axPos val="l"/>
        <c:numFmt formatCode="General" sourceLinked="1"/>
        <c:majorTickMark val="out"/>
        <c:minorTickMark val="none"/>
        <c:tickLblPos val="nextTo"/>
        <c:crossAx val="132997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26600073991862"/>
          <c:y val="4.9894588896697116E-2"/>
          <c:w val="0.85349611542730297"/>
          <c:h val="0.90021082220660575"/>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1C-4BCC-A969-F3ECF4CB115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1C-4BCC-A969-F3ECF4CB115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1C-4BCC-A969-F3ECF4CB115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1C-4BCC-A969-F3ECF4CB11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539.1480000000001</c:v>
                </c:pt>
                <c:pt idx="1">
                  <c:v>4386.7129999999997</c:v>
                </c:pt>
                <c:pt idx="2">
                  <c:v>4963.9979999999996</c:v>
                </c:pt>
                <c:pt idx="3">
                  <c:v>5091.7520000000004</c:v>
                </c:pt>
              </c:numCache>
            </c:numRef>
          </c:val>
          <c:extLst>
            <c:ext xmlns:c16="http://schemas.microsoft.com/office/drawing/2014/chart" uri="{C3380CC4-5D6E-409C-BE32-E72D297353CC}">
              <c16:uniqueId val="{00000004-501C-4BCC-A969-F3ECF4CB1153}"/>
            </c:ext>
          </c:extLst>
        </c:ser>
        <c:ser>
          <c:idx val="1"/>
          <c:order val="1"/>
          <c:spPr>
            <a:solidFill>
              <a:srgbClr val="6F8DB9"/>
            </a:solidFill>
            <a:ln w="9525" cmpd="sng" algn="ctr">
              <a:solidFill>
                <a:srgbClr val="808080"/>
              </a:solidFill>
              <a:prstDash val="solid"/>
            </a:ln>
          </c:spPr>
          <c:invertIfNegative val="0"/>
          <c:dLbls>
            <c:dLbl>
              <c:idx val="0"/>
              <c:layout>
                <c:manualLayout>
                  <c:x val="0"/>
                  <c:y val="-3.5137034434293746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1C-4BCC-A969-F3ECF4CB115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01C-4BCC-A969-F3ECF4CB1153}"/>
                </c:ext>
              </c:extLst>
            </c:dLbl>
            <c:dLbl>
              <c:idx val="2"/>
              <c:layout>
                <c:manualLayout>
                  <c:x val="0"/>
                  <c:y val="-3.5137034434293746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1C-4BCC-A969-F3ECF4CB115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01C-4BCC-A969-F3ECF4CB11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82.83800000000019</c:v>
                </c:pt>
                <c:pt idx="1">
                  <c:v>679.49300000000039</c:v>
                </c:pt>
                <c:pt idx="2">
                  <c:v>878.55100000000039</c:v>
                </c:pt>
                <c:pt idx="3">
                  <c:v>901.97900000000027</c:v>
                </c:pt>
              </c:numCache>
            </c:numRef>
          </c:val>
          <c:extLst>
            <c:ext xmlns:c16="http://schemas.microsoft.com/office/drawing/2014/chart" uri="{C3380CC4-5D6E-409C-BE32-E72D297353CC}">
              <c16:uniqueId val="{00000009-501C-4BCC-A969-F3ECF4CB1153}"/>
            </c:ext>
          </c:extLst>
        </c:ser>
        <c:dLbls>
          <c:showLegendKey val="0"/>
          <c:showVal val="0"/>
          <c:showCatName val="0"/>
          <c:showSerName val="0"/>
          <c:showPercent val="0"/>
          <c:showBubbleSize val="0"/>
        </c:dLbls>
        <c:gapWidth val="60"/>
        <c:overlap val="100"/>
        <c:axId val="367763775"/>
        <c:axId val="1"/>
      </c:barChart>
      <c:catAx>
        <c:axId val="367763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67763775"/>
        <c:crosses val="min"/>
        <c:crossBetween val="between"/>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27711797307997E-2"/>
          <c:y val="0.16978309648466716"/>
          <c:w val="0.88558986539984164"/>
          <c:h val="0.7240089753178758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8F-4543-B497-C663300CA3B0}"/>
                </c:ext>
              </c:extLst>
            </c:dLbl>
            <c:dLbl>
              <c:idx val="1"/>
              <c:layout>
                <c:manualLayout>
                  <c:x val="0"/>
                  <c:y val="-7.479431563201196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8F-4543-B497-C663300CA3B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8F-4543-B497-C663300CA3B0}"/>
                </c:ext>
              </c:extLst>
            </c:dLbl>
            <c:dLbl>
              <c:idx val="3"/>
              <c:layout>
                <c:manualLayout>
                  <c:x val="0"/>
                  <c:y val="-7.479431563201196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8F-4543-B497-C663300CA3B0}"/>
                </c:ext>
              </c:extLst>
            </c:dLbl>
            <c:dLbl>
              <c:idx val="18"/>
              <c:layout>
                <c:manualLayout>
                  <c:x val="0"/>
                  <c:y val="-0.296933433059087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8F-4543-B497-C663300CA3B0}"/>
                </c:ext>
              </c:extLst>
            </c:dLbl>
            <c:dLbl>
              <c:idx val="19"/>
              <c:layout>
                <c:manualLayout>
                  <c:x val="0"/>
                  <c:y val="-0.296185489902767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8F-4543-B497-C663300CA3B0}"/>
                </c:ext>
              </c:extLst>
            </c:dLbl>
            <c:dLbl>
              <c:idx val="22"/>
              <c:layout>
                <c:manualLayout>
                  <c:x val="0"/>
                  <c:y val="-0.385190725504861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8F-4543-B497-C663300CA3B0}"/>
                </c:ext>
              </c:extLst>
            </c:dLbl>
            <c:dLbl>
              <c:idx val="23"/>
              <c:layout>
                <c:manualLayout>
                  <c:x val="0"/>
                  <c:y val="-0.382198952879581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8F-4543-B497-C663300CA3B0}"/>
                </c:ext>
              </c:extLst>
            </c:dLbl>
            <c:dLbl>
              <c:idx val="24"/>
              <c:layout>
                <c:manualLayout>
                  <c:x val="0"/>
                  <c:y val="-0.409872849663425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8F-4543-B497-C663300CA3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6.076999999999998</c:v>
                </c:pt>
                <c:pt idx="1">
                  <c:v>89.793999999999997</c:v>
                </c:pt>
                <c:pt idx="2">
                  <c:v>92.537999999999997</c:v>
                </c:pt>
                <c:pt idx="3">
                  <c:v>97.646000000000001</c:v>
                </c:pt>
                <c:pt idx="4">
                  <c:v>115.03400000000001</c:v>
                </c:pt>
                <c:pt idx="5">
                  <c:v>127.80800000000001</c:v>
                </c:pt>
                <c:pt idx="6">
                  <c:v>148.62700000000001</c:v>
                </c:pt>
                <c:pt idx="7">
                  <c:v>180.94200000000001</c:v>
                </c:pt>
                <c:pt idx="8">
                  <c:v>193.61699999999999</c:v>
                </c:pt>
                <c:pt idx="9">
                  <c:v>194.15</c:v>
                </c:pt>
                <c:pt idx="10">
                  <c:v>239.80799999999999</c:v>
                </c:pt>
                <c:pt idx="11">
                  <c:v>279.35700000000003</c:v>
                </c:pt>
                <c:pt idx="12">
                  <c:v>295.09300000000002</c:v>
                </c:pt>
                <c:pt idx="13">
                  <c:v>307.57600000000002</c:v>
                </c:pt>
                <c:pt idx="14">
                  <c:v>314.86399999999998</c:v>
                </c:pt>
                <c:pt idx="15">
                  <c:v>307.99900000000002</c:v>
                </c:pt>
                <c:pt idx="16">
                  <c:v>319.64600000000002</c:v>
                </c:pt>
                <c:pt idx="17">
                  <c:v>343.673</c:v>
                </c:pt>
                <c:pt idx="18">
                  <c:v>377.12400000000002</c:v>
                </c:pt>
                <c:pt idx="19">
                  <c:v>376.16199999999998</c:v>
                </c:pt>
                <c:pt idx="20">
                  <c:v>349.166</c:v>
                </c:pt>
                <c:pt idx="21">
                  <c:v>436.59100000000001</c:v>
                </c:pt>
                <c:pt idx="22">
                  <c:v>509.01799999999997</c:v>
                </c:pt>
                <c:pt idx="23">
                  <c:v>505.44</c:v>
                </c:pt>
                <c:pt idx="24">
                  <c:v>547.38699999999994</c:v>
                </c:pt>
              </c:numCache>
            </c:numRef>
          </c:val>
          <c:extLst>
            <c:ext xmlns:c16="http://schemas.microsoft.com/office/drawing/2014/chart" uri="{C3380CC4-5D6E-409C-BE32-E72D297353CC}">
              <c16:uniqueId val="{00000009-E88F-4543-B497-C663300CA3B0}"/>
            </c:ext>
          </c:extLst>
        </c:ser>
        <c:dLbls>
          <c:showLegendKey val="0"/>
          <c:showVal val="0"/>
          <c:showCatName val="0"/>
          <c:showSerName val="0"/>
          <c:showPercent val="0"/>
          <c:showBubbleSize val="0"/>
        </c:dLbls>
        <c:gapWidth val="60"/>
        <c:overlap val="100"/>
        <c:axId val="66056863"/>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88F-4543-B497-C663300CA3B0}"/>
                </c:ext>
              </c:extLst>
            </c:dLbl>
            <c:dLbl>
              <c:idx val="2"/>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8F-4543-B497-C663300CA3B0}"/>
                </c:ext>
              </c:extLst>
            </c:dLbl>
            <c:dLbl>
              <c:idx val="4"/>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88F-4543-B497-C663300CA3B0}"/>
                </c:ext>
              </c:extLst>
            </c:dLbl>
            <c:dLbl>
              <c:idx val="5"/>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88F-4543-B497-C663300CA3B0}"/>
                </c:ext>
              </c:extLst>
            </c:dLbl>
            <c:dLbl>
              <c:idx val="6"/>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88F-4543-B497-C663300CA3B0}"/>
                </c:ext>
              </c:extLst>
            </c:dLbl>
            <c:dLbl>
              <c:idx val="7"/>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88F-4543-B497-C663300CA3B0}"/>
                </c:ext>
              </c:extLst>
            </c:dLbl>
            <c:dLbl>
              <c:idx val="10"/>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88F-4543-B497-C663300CA3B0}"/>
                </c:ext>
              </c:extLst>
            </c:dLbl>
            <c:dLbl>
              <c:idx val="12"/>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88F-4543-B497-C663300CA3B0}"/>
                </c:ext>
              </c:extLst>
            </c:dLbl>
            <c:dLbl>
              <c:idx val="13"/>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88F-4543-B497-C663300CA3B0}"/>
                </c:ext>
              </c:extLst>
            </c:dLbl>
            <c:dLbl>
              <c:idx val="21"/>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88F-4543-B497-C663300CA3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9.0380000000000003</c:v>
                </c:pt>
                <c:pt idx="1">
                  <c:v>-1.071</c:v>
                </c:pt>
                <c:pt idx="2">
                  <c:v>3.923</c:v>
                </c:pt>
                <c:pt idx="3">
                  <c:v>4.548</c:v>
                </c:pt>
                <c:pt idx="4">
                  <c:v>9.94</c:v>
                </c:pt>
                <c:pt idx="5">
                  <c:v>7.3659999999999997</c:v>
                </c:pt>
                <c:pt idx="6">
                  <c:v>9.0069999999999997</c:v>
                </c:pt>
                <c:pt idx="7">
                  <c:v>9.0220000000000002</c:v>
                </c:pt>
                <c:pt idx="8">
                  <c:v>1.863</c:v>
                </c:pt>
                <c:pt idx="9">
                  <c:v>0.128</c:v>
                </c:pt>
                <c:pt idx="10">
                  <c:v>14.52</c:v>
                </c:pt>
                <c:pt idx="11">
                  <c:v>6.2149999999999999</c:v>
                </c:pt>
                <c:pt idx="12">
                  <c:v>4.4349999999999996</c:v>
                </c:pt>
                <c:pt idx="13">
                  <c:v>4.8179999999999996</c:v>
                </c:pt>
                <c:pt idx="14">
                  <c:v>3.9359999999999999</c:v>
                </c:pt>
                <c:pt idx="15">
                  <c:v>2.9769999999999999</c:v>
                </c:pt>
                <c:pt idx="16">
                  <c:v>3.7480000000000002</c:v>
                </c:pt>
                <c:pt idx="17">
                  <c:v>4.4770000000000003</c:v>
                </c:pt>
                <c:pt idx="18">
                  <c:v>3.452</c:v>
                </c:pt>
                <c:pt idx="19">
                  <c:v>1.3080000000000001</c:v>
                </c:pt>
                <c:pt idx="20">
                  <c:v>-3.8149999999999999</c:v>
                </c:pt>
                <c:pt idx="21">
                  <c:v>9.7569999999999997</c:v>
                </c:pt>
                <c:pt idx="22">
                  <c:v>4.1079999999999997</c:v>
                </c:pt>
                <c:pt idx="23">
                  <c:v>1.821</c:v>
                </c:pt>
                <c:pt idx="24">
                  <c:v>4.3879999999999999</c:v>
                </c:pt>
              </c:numCache>
            </c:numRef>
          </c:val>
          <c:smooth val="0"/>
          <c:extLst>
            <c:ext xmlns:c16="http://schemas.microsoft.com/office/drawing/2014/chart" uri="{C3380CC4-5D6E-409C-BE32-E72D297353CC}">
              <c16:uniqueId val="{00000014-E88F-4543-B497-C663300CA3B0}"/>
            </c:ext>
          </c:extLst>
        </c:ser>
        <c:dLbls>
          <c:showLegendKey val="0"/>
          <c:showVal val="0"/>
          <c:showCatName val="0"/>
          <c:showSerName val="0"/>
          <c:showPercent val="0"/>
          <c:showBubbleSize val="0"/>
        </c:dLbls>
        <c:marker val="1"/>
        <c:smooth val="0"/>
        <c:axId val="2"/>
        <c:axId val="3"/>
      </c:lineChart>
      <c:catAx>
        <c:axId val="660568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47.38699999999994"/>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6056863"/>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06805827353772E-2"/>
          <c:y val="5.6460369163952223E-2"/>
          <c:w val="0.97738638834529246"/>
          <c:h val="0.887079261672095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23852.833999999999</c:v>
                </c:pt>
                <c:pt idx="1">
                  <c:v>21699.748</c:v>
                </c:pt>
                <c:pt idx="2">
                  <c:v>22159.832999999999</c:v>
                </c:pt>
                <c:pt idx="3">
                  <c:v>23730.379000000001</c:v>
                </c:pt>
                <c:pt idx="4">
                  <c:v>27608.075000000001</c:v>
                </c:pt>
                <c:pt idx="5">
                  <c:v>29961.308000000001</c:v>
                </c:pt>
                <c:pt idx="6">
                  <c:v>33768.446000000004</c:v>
                </c:pt>
                <c:pt idx="7">
                  <c:v>39432.894999999997</c:v>
                </c:pt>
                <c:pt idx="8">
                  <c:v>40008.576999999997</c:v>
                </c:pt>
                <c:pt idx="9">
                  <c:v>38926.813000000002</c:v>
                </c:pt>
                <c:pt idx="10">
                  <c:v>47236.671999999999</c:v>
                </c:pt>
                <c:pt idx="11">
                  <c:v>53891.462</c:v>
                </c:pt>
                <c:pt idx="12">
                  <c:v>55547.546000000002</c:v>
                </c:pt>
                <c:pt idx="13">
                  <c:v>56967.425999999999</c:v>
                </c:pt>
                <c:pt idx="14">
                  <c:v>57564.802000000003</c:v>
                </c:pt>
                <c:pt idx="15">
                  <c:v>55645.607000000004</c:v>
                </c:pt>
                <c:pt idx="16">
                  <c:v>57005.574000000001</c:v>
                </c:pt>
                <c:pt idx="17">
                  <c:v>61236.250999999997</c:v>
                </c:pt>
                <c:pt idx="18">
                  <c:v>66881.623000000007</c:v>
                </c:pt>
                <c:pt idx="19">
                  <c:v>65952.021999999997</c:v>
                </c:pt>
                <c:pt idx="20">
                  <c:v>61410.093999999997</c:v>
                </c:pt>
                <c:pt idx="21">
                  <c:v>80056.108999999997</c:v>
                </c:pt>
                <c:pt idx="22">
                  <c:v>90299.091</c:v>
                </c:pt>
                <c:pt idx="23">
                  <c:v>85412.251999999993</c:v>
                </c:pt>
                <c:pt idx="24">
                  <c:v>90674.043999999994</c:v>
                </c:pt>
              </c:numCache>
            </c:numRef>
          </c:val>
          <c:extLst>
            <c:ext xmlns:c16="http://schemas.microsoft.com/office/drawing/2014/chart" uri="{C3380CC4-5D6E-409C-BE32-E72D297353CC}">
              <c16:uniqueId val="{00000000-1162-409F-A343-62F35674AC0F}"/>
            </c:ext>
          </c:extLst>
        </c:ser>
        <c:dLbls>
          <c:showLegendKey val="0"/>
          <c:showVal val="0"/>
          <c:showCatName val="0"/>
          <c:showSerName val="0"/>
          <c:showPercent val="0"/>
          <c:showBubbleSize val="0"/>
        </c:dLbls>
        <c:gapWidth val="60"/>
        <c:overlap val="100"/>
        <c:axId val="438286015"/>
        <c:axId val="1"/>
      </c:barChart>
      <c:catAx>
        <c:axId val="438286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38286015"/>
        <c:crosses val="min"/>
        <c:crossBetween val="between"/>
        <c:majorUnit val="20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92105263157893E-2"/>
          <c:y val="6.2527520915896084E-2"/>
          <c:w val="0.87927631578947374"/>
          <c:h val="0.87494495816820783"/>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89473684210528E-2"/>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0C-48CC-B266-93365F063AA2}"/>
                </c:ext>
              </c:extLst>
            </c:dLbl>
            <c:dLbl>
              <c:idx val="1"/>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0C-48CC-B266-93365F063AA2}"/>
                </c:ext>
              </c:extLst>
            </c:dLbl>
            <c:dLbl>
              <c:idx val="4"/>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0C-48CC-B266-93365F063AA2}"/>
                </c:ext>
              </c:extLst>
            </c:dLbl>
            <c:dLbl>
              <c:idx val="8"/>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B0C-48CC-B266-93365F063AA2}"/>
                </c:ext>
              </c:extLst>
            </c:dLbl>
            <c:dLbl>
              <c:idx val="11"/>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0C-48CC-B266-93365F063AA2}"/>
                </c:ext>
              </c:extLst>
            </c:dLbl>
            <c:dLbl>
              <c:idx val="17"/>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0C-48CC-B266-93365F063AA2}"/>
                </c:ext>
              </c:extLst>
            </c:dLbl>
            <c:dLbl>
              <c:idx val="18"/>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0C-48CC-B266-93365F063AA2}"/>
                </c:ext>
              </c:extLst>
            </c:dLbl>
            <c:dLbl>
              <c:idx val="19"/>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B0C-48CC-B266-93365F063AA2}"/>
                </c:ext>
              </c:extLst>
            </c:dLbl>
            <c:dLbl>
              <c:idx val="22"/>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0C-48CC-B266-93365F063AA2}"/>
                </c:ext>
              </c:extLst>
            </c:dLbl>
            <c:dLbl>
              <c:idx val="26"/>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0C-48CC-B266-93365F063AA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3</c:v>
                </c:pt>
                <c:pt idx="1">
                  <c:v>1</c:v>
                </c:pt>
                <c:pt idx="2">
                  <c:v>-0.4</c:v>
                </c:pt>
                <c:pt idx="3">
                  <c:v>0.5</c:v>
                </c:pt>
                <c:pt idx="4">
                  <c:v>1.7</c:v>
                </c:pt>
                <c:pt idx="5">
                  <c:v>0.5</c:v>
                </c:pt>
                <c:pt idx="6">
                  <c:v>1</c:v>
                </c:pt>
                <c:pt idx="7">
                  <c:v>2.1</c:v>
                </c:pt>
                <c:pt idx="8">
                  <c:v>6.6</c:v>
                </c:pt>
                <c:pt idx="9">
                  <c:v>0.6</c:v>
                </c:pt>
                <c:pt idx="10">
                  <c:v>2.8</c:v>
                </c:pt>
                <c:pt idx="11">
                  <c:v>5.3</c:v>
                </c:pt>
                <c:pt idx="12">
                  <c:v>4.5999999999999996</c:v>
                </c:pt>
                <c:pt idx="13">
                  <c:v>2.4</c:v>
                </c:pt>
                <c:pt idx="14">
                  <c:v>1</c:v>
                </c:pt>
                <c:pt idx="15">
                  <c:v>-0.5</c:v>
                </c:pt>
                <c:pt idx="16">
                  <c:v>-0.5</c:v>
                </c:pt>
                <c:pt idx="17">
                  <c:v>0.6</c:v>
                </c:pt>
                <c:pt idx="18">
                  <c:v>0.4</c:v>
                </c:pt>
                <c:pt idx="19">
                  <c:v>0.6</c:v>
                </c:pt>
                <c:pt idx="20">
                  <c:v>-0.2</c:v>
                </c:pt>
                <c:pt idx="21">
                  <c:v>2.2999999999999998</c:v>
                </c:pt>
                <c:pt idx="22">
                  <c:v>6.1</c:v>
                </c:pt>
                <c:pt idx="23">
                  <c:v>4.8</c:v>
                </c:pt>
                <c:pt idx="24">
                  <c:v>2.4</c:v>
                </c:pt>
                <c:pt idx="25">
                  <c:v>0.9</c:v>
                </c:pt>
                <c:pt idx="26">
                  <c:v>1.3</c:v>
                </c:pt>
              </c:numCache>
            </c:numRef>
          </c:val>
          <c:smooth val="0"/>
          <c:extLst>
            <c:ext xmlns:c16="http://schemas.microsoft.com/office/drawing/2014/chart" uri="{C3380CC4-5D6E-409C-BE32-E72D297353CC}">
              <c16:uniqueId val="{0000000A-7B0C-48CC-B266-93365F063AA2}"/>
            </c:ext>
          </c:extLst>
        </c:ser>
        <c:dLbls>
          <c:showLegendKey val="0"/>
          <c:showVal val="0"/>
          <c:showCatName val="0"/>
          <c:showSerName val="0"/>
          <c:showPercent val="0"/>
          <c:showBubbleSize val="0"/>
        </c:dLbls>
        <c:marker val="1"/>
        <c:smooth val="0"/>
        <c:axId val="546705952"/>
        <c:axId val="1"/>
      </c:lineChart>
      <c:catAx>
        <c:axId val="546705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8"/>
          <c:min val="-1"/>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46705952"/>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9891477816789"/>
          <c:y val="6.0194997880457818E-2"/>
          <c:w val="0.87360357484838813"/>
          <c:h val="0.87961000423908431"/>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471752314075968E-2"/>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09-4E40-916D-871B4CC116E8}"/>
                </c:ext>
              </c:extLst>
            </c:dLbl>
            <c:dLbl>
              <c:idx val="1"/>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09-4E40-916D-871B4CC116E8}"/>
                </c:ext>
              </c:extLst>
            </c:dLbl>
            <c:dLbl>
              <c:idx val="2"/>
              <c:layout>
                <c:manualLayout>
                  <c:x val="2.4896265560165973E-2"/>
                  <c:y val="-3.51844001695633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09-4E40-916D-871B4CC116E8}"/>
                </c:ext>
              </c:extLst>
            </c:dLbl>
            <c:dLbl>
              <c:idx val="3"/>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09-4E40-916D-871B4CC116E8}"/>
                </c:ext>
              </c:extLst>
            </c:dLbl>
            <c:dLbl>
              <c:idx val="4"/>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09-4E40-916D-871B4CC116E8}"/>
                </c:ext>
              </c:extLst>
            </c:dLbl>
            <c:dLbl>
              <c:idx val="5"/>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09-4E40-916D-871B4CC116E8}"/>
                </c:ext>
              </c:extLst>
            </c:dLbl>
            <c:dLbl>
              <c:idx val="6"/>
              <c:layout>
                <c:manualLayout>
                  <c:x val="-3.4152569422278962E-2"/>
                  <c:y val="-4.45103857566765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09-4E40-916D-871B4CC116E8}"/>
                </c:ext>
              </c:extLst>
            </c:dLbl>
            <c:dLbl>
              <c:idx val="7"/>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09-4E40-916D-871B4CC116E8}"/>
                </c:ext>
              </c:extLst>
            </c:dLbl>
            <c:dLbl>
              <c:idx val="8"/>
              <c:layout>
                <c:manualLayout>
                  <c:x val="4.0217044366421963E-2"/>
                  <c:y val="-3.43365832980076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09-4E40-916D-871B4CC116E8}"/>
                </c:ext>
              </c:extLst>
            </c:dLbl>
            <c:dLbl>
              <c:idx val="9"/>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09-4E40-916D-871B4CC116E8}"/>
                </c:ext>
              </c:extLst>
            </c:dLbl>
            <c:dLbl>
              <c:idx val="10"/>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09-4E40-916D-871B4CC116E8}"/>
                </c:ext>
              </c:extLst>
            </c:dLbl>
            <c:dLbl>
              <c:idx val="11"/>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09-4E40-916D-871B4CC116E8}"/>
                </c:ext>
              </c:extLst>
            </c:dLbl>
            <c:dLbl>
              <c:idx val="12"/>
              <c:layout>
                <c:manualLayout>
                  <c:x val="5.0750079795722949E-2"/>
                  <c:y val="3.8151759220008477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09-4E40-916D-871B4CC116E8}"/>
                </c:ext>
              </c:extLst>
            </c:dLbl>
            <c:dLbl>
              <c:idx val="13"/>
              <c:layout>
                <c:manualLayout>
                  <c:x val="-5.3303542930098945E-2"/>
                  <c:y val="-4.2390843577787198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09-4E40-916D-871B4CC116E8}"/>
                </c:ext>
              </c:extLst>
            </c:dLbl>
            <c:dLbl>
              <c:idx val="14"/>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B09-4E40-916D-871B4CC116E8}"/>
                </c:ext>
              </c:extLst>
            </c:dLbl>
            <c:dLbl>
              <c:idx val="15"/>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B09-4E40-916D-871B4CC116E8}"/>
                </c:ext>
              </c:extLst>
            </c:dLbl>
            <c:dLbl>
              <c:idx val="16"/>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09-4E40-916D-871B4CC116E8}"/>
                </c:ext>
              </c:extLst>
            </c:dLbl>
            <c:dLbl>
              <c:idx val="17"/>
              <c:layout>
                <c:manualLayout>
                  <c:x val="-2.106607085860198E-2"/>
                  <c:y val="-3.81517592200084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B09-4E40-916D-871B4CC116E8}"/>
                </c:ext>
              </c:extLst>
            </c:dLbl>
            <c:dLbl>
              <c:idx val="18"/>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09-4E40-916D-871B4CC116E8}"/>
                </c:ext>
              </c:extLst>
            </c:dLbl>
            <c:dLbl>
              <c:idx val="19"/>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09-4E40-916D-871B4CC116E8}"/>
                </c:ext>
              </c:extLst>
            </c:dLbl>
            <c:dLbl>
              <c:idx val="20"/>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B09-4E40-916D-871B4CC116E8}"/>
                </c:ext>
              </c:extLst>
            </c:dLbl>
            <c:dLbl>
              <c:idx val="21"/>
              <c:layout>
                <c:manualLayout>
                  <c:x val="2.8407277369932971E-2"/>
                  <c:y val="3.73039423484527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09-4E40-916D-871B4CC116E8}"/>
                </c:ext>
              </c:extLst>
            </c:dLbl>
            <c:dLbl>
              <c:idx val="22"/>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B09-4E40-916D-871B4CC116E8}"/>
                </c:ext>
              </c:extLst>
            </c:dLbl>
            <c:dLbl>
              <c:idx val="23"/>
              <c:layout>
                <c:manualLayout>
                  <c:x val="-5.426109160548994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B09-4E40-916D-871B4CC116E8}"/>
                </c:ext>
              </c:extLst>
            </c:dLbl>
            <c:dLbl>
              <c:idx val="24"/>
              <c:layout>
                <c:manualLayout>
                  <c:x val="-5.426109160548994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B09-4E40-916D-871B4CC116E8}"/>
                </c:ext>
              </c:extLst>
            </c:dLbl>
            <c:dLbl>
              <c:idx val="25"/>
              <c:layout>
                <c:manualLayout>
                  <c:x val="-2.3300351101180977E-2"/>
                  <c:y val="-1.56846121237812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B09-4E40-916D-871B4CC116E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62.513599999999997</c:v>
                </c:pt>
                <c:pt idx="1">
                  <c:v>67.825900000000004</c:v>
                </c:pt>
                <c:pt idx="2">
                  <c:v>69.997699999999995</c:v>
                </c:pt>
                <c:pt idx="3">
                  <c:v>66.534300000000002</c:v>
                </c:pt>
                <c:pt idx="4">
                  <c:v>64.006500000000003</c:v>
                </c:pt>
                <c:pt idx="5">
                  <c:v>66.199799999999996</c:v>
                </c:pt>
                <c:pt idx="6">
                  <c:v>73.2136</c:v>
                </c:pt>
                <c:pt idx="7">
                  <c:v>78.125100000000003</c:v>
                </c:pt>
                <c:pt idx="8">
                  <c:v>73.209199999999996</c:v>
                </c:pt>
                <c:pt idx="9">
                  <c:v>64.346000000000004</c:v>
                </c:pt>
                <c:pt idx="10">
                  <c:v>64.356099999999998</c:v>
                </c:pt>
                <c:pt idx="11">
                  <c:v>63.48</c:v>
                </c:pt>
                <c:pt idx="12">
                  <c:v>63.874000000000002</c:v>
                </c:pt>
                <c:pt idx="13">
                  <c:v>77.985299999999995</c:v>
                </c:pt>
                <c:pt idx="14">
                  <c:v>83.573099999999997</c:v>
                </c:pt>
                <c:pt idx="15">
                  <c:v>88.076599999999999</c:v>
                </c:pt>
                <c:pt idx="16">
                  <c:v>78.718599999999995</c:v>
                </c:pt>
                <c:pt idx="17">
                  <c:v>81.247500000000002</c:v>
                </c:pt>
                <c:pt idx="18">
                  <c:v>81.865600000000001</c:v>
                </c:pt>
                <c:pt idx="19">
                  <c:v>79.920100000000005</c:v>
                </c:pt>
                <c:pt idx="20">
                  <c:v>77.406800000000004</c:v>
                </c:pt>
                <c:pt idx="21">
                  <c:v>81.684299999999993</c:v>
                </c:pt>
                <c:pt idx="22">
                  <c:v>91.987899999999996</c:v>
                </c:pt>
                <c:pt idx="23">
                  <c:v>104.08</c:v>
                </c:pt>
                <c:pt idx="24">
                  <c:v>116.19</c:v>
                </c:pt>
                <c:pt idx="25">
                  <c:v>121.92</c:v>
                </c:pt>
              </c:numCache>
            </c:numRef>
          </c:val>
          <c:smooth val="0"/>
          <c:extLst>
            <c:ext xmlns:c16="http://schemas.microsoft.com/office/drawing/2014/chart" uri="{C3380CC4-5D6E-409C-BE32-E72D297353CC}">
              <c16:uniqueId val="{0000001A-EB09-4E40-916D-871B4CC116E8}"/>
            </c:ext>
          </c:extLst>
        </c:ser>
        <c:dLbls>
          <c:showLegendKey val="0"/>
          <c:showVal val="0"/>
          <c:showCatName val="0"/>
          <c:showSerName val="0"/>
          <c:showPercent val="0"/>
          <c:showBubbleSize val="0"/>
        </c:dLbls>
        <c:marker val="1"/>
        <c:smooth val="0"/>
        <c:axId val="492781775"/>
        <c:axId val="1"/>
      </c:lineChart>
      <c:catAx>
        <c:axId val="492781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92781775"/>
        <c:crosses val="min"/>
        <c:crossBetween val="midCat"/>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66692187054477E-2"/>
          <c:y val="2.8271754335818577E-2"/>
          <c:w val="0.96962773099040012"/>
          <c:h val="0.83397957666275746"/>
        </c:manualLayout>
      </c:layout>
      <c:barChart>
        <c:barDir val="col"/>
        <c:grouping val="clustered"/>
        <c:varyColors val="0"/>
        <c:ser>
          <c:idx val="0"/>
          <c:order val="0"/>
          <c:tx>
            <c:strRef>
              <c:f>Sheet1!$B$1</c:f>
              <c:strCache>
                <c:ptCount val="1"/>
                <c:pt idx="0">
                  <c:v>2012/2013</c:v>
                </c:pt>
              </c:strCache>
            </c:strRef>
          </c:tx>
          <c:spPr>
            <a:solidFill>
              <a:schemeClr val="accent1"/>
            </a:solidFill>
            <a:ln>
              <a:noFill/>
            </a:ln>
            <a:effectLst/>
          </c:spPr>
          <c:invertIfNegative val="0"/>
          <c:dLbls>
            <c:dLbl>
              <c:idx val="1"/>
              <c:layout>
                <c:manualLayout>
                  <c:x val="-8.7243727026097145E-3"/>
                  <c:y val="-2.8846151662162956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1495890530157955E-2"/>
                      <c:h val="6.5336533514799094E-2"/>
                    </c:manualLayout>
                  </c15:layout>
                </c:ext>
                <c:ext xmlns:c16="http://schemas.microsoft.com/office/drawing/2014/chart" uri="{C3380CC4-5D6E-409C-BE32-E72D297353CC}">
                  <c16:uniqueId val="{00000000-9DD7-4938-8818-CE891BA84F11}"/>
                </c:ext>
              </c:extLst>
            </c:dLbl>
            <c:dLbl>
              <c:idx val="3"/>
              <c:layout>
                <c:manualLayout>
                  <c:x val="-1.7448859899050789E-2"/>
                  <c:y val="-5.769230332432591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D7-4938-8818-CE891BA84F11}"/>
                </c:ext>
              </c:extLst>
            </c:dLbl>
            <c:dLbl>
              <c:idx val="4"/>
              <c:layout>
                <c:manualLayout>
                  <c:x val="-1.1044461458036319E-2"/>
                  <c:y val="-1.19741029381572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D7-4938-8818-CE891BA84F11}"/>
                </c:ext>
              </c:extLst>
            </c:dLbl>
            <c:dLbl>
              <c:idx val="5"/>
              <c:layout>
                <c:manualLayout>
                  <c:x val="-8.7244299495253946E-3"/>
                  <c:y val="-2.01923061635140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DD7-4938-8818-CE891BA84F11}"/>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B$2:$B$9</c:f>
              <c:numCache>
                <c:formatCode>0.0</c:formatCode>
                <c:ptCount val="8"/>
                <c:pt idx="0">
                  <c:v>76.099999999999994</c:v>
                </c:pt>
                <c:pt idx="1">
                  <c:v>95.8</c:v>
                </c:pt>
                <c:pt idx="2">
                  <c:v>13.3</c:v>
                </c:pt>
                <c:pt idx="3">
                  <c:v>97</c:v>
                </c:pt>
                <c:pt idx="4">
                  <c:v>82.7</c:v>
                </c:pt>
                <c:pt idx="5">
                  <c:v>98</c:v>
                </c:pt>
                <c:pt idx="6">
                  <c:v>42.1</c:v>
                </c:pt>
                <c:pt idx="7">
                  <c:v>7.9</c:v>
                </c:pt>
              </c:numCache>
            </c:numRef>
          </c:val>
          <c:extLst>
            <c:ext xmlns:c16="http://schemas.microsoft.com/office/drawing/2014/chart" uri="{C3380CC4-5D6E-409C-BE32-E72D297353CC}">
              <c16:uniqueId val="{00000004-9DD7-4938-8818-CE891BA84F11}"/>
            </c:ext>
          </c:extLst>
        </c:ser>
        <c:ser>
          <c:idx val="1"/>
          <c:order val="1"/>
          <c:tx>
            <c:strRef>
              <c:f>Sheet1!$C$1</c:f>
              <c:strCache>
                <c:ptCount val="1"/>
                <c:pt idx="0">
                  <c:v>2017/2018</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C$2:$C$9</c:f>
              <c:numCache>
                <c:formatCode>0.0</c:formatCode>
                <c:ptCount val="8"/>
                <c:pt idx="0">
                  <c:v>79.7</c:v>
                </c:pt>
                <c:pt idx="1">
                  <c:v>96.1</c:v>
                </c:pt>
                <c:pt idx="2">
                  <c:v>19.2</c:v>
                </c:pt>
                <c:pt idx="3">
                  <c:v>98</c:v>
                </c:pt>
                <c:pt idx="4">
                  <c:v>81.400000000000006</c:v>
                </c:pt>
                <c:pt idx="5">
                  <c:v>97</c:v>
                </c:pt>
                <c:pt idx="6">
                  <c:v>35.299999999999997</c:v>
                </c:pt>
                <c:pt idx="7">
                  <c:v>7.2</c:v>
                </c:pt>
              </c:numCache>
            </c:numRef>
          </c:val>
          <c:extLst>
            <c:ext xmlns:c16="http://schemas.microsoft.com/office/drawing/2014/chart" uri="{C3380CC4-5D6E-409C-BE32-E72D297353CC}">
              <c16:uniqueId val="{00000005-9DD7-4938-8818-CE891BA84F11}"/>
            </c:ext>
          </c:extLst>
        </c:ser>
        <c:ser>
          <c:idx val="2"/>
          <c:order val="2"/>
          <c:tx>
            <c:strRef>
              <c:f>Sheet1!$D$1</c:f>
              <c:strCache>
                <c:ptCount val="1"/>
                <c:pt idx="0">
                  <c:v>2023</c:v>
                </c:pt>
              </c:strCache>
            </c:strRef>
          </c:tx>
          <c:spPr>
            <a:solidFill>
              <a:schemeClr val="accent3"/>
            </a:solidFill>
            <a:ln>
              <a:noFill/>
            </a:ln>
            <a:effectLst/>
          </c:spPr>
          <c:invertIfNegative val="0"/>
          <c:dLbls>
            <c:dLbl>
              <c:idx val="0"/>
              <c:layout>
                <c:manualLayout>
                  <c:x val="1.3482932132158496E-2"/>
                  <c:y val="-1.4423093403685444E-2"/>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2288350452067402E-2"/>
                      <c:h val="5.0913422538509688E-2"/>
                    </c:manualLayout>
                  </c15:layout>
                </c:ext>
                <c:ext xmlns:c16="http://schemas.microsoft.com/office/drawing/2014/chart" uri="{C3380CC4-5D6E-409C-BE32-E72D297353CC}">
                  <c16:uniqueId val="{00000006-9DD7-4938-8818-CE891BA84F11}"/>
                </c:ext>
              </c:extLst>
            </c:dLbl>
            <c:dLbl>
              <c:idx val="1"/>
              <c:layout>
                <c:manualLayout>
                  <c:x val="2.0357060462474905E-2"/>
                  <c:y val="-8.6538454986489141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1495890530157955E-2"/>
                      <c:h val="5.9567303182366506E-2"/>
                    </c:manualLayout>
                  </c15:layout>
                </c:ext>
                <c:ext xmlns:c16="http://schemas.microsoft.com/office/drawing/2014/chart" uri="{C3380CC4-5D6E-409C-BE32-E72D297353CC}">
                  <c16:uniqueId val="{00000007-9DD7-4938-8818-CE891BA84F11}"/>
                </c:ext>
              </c:extLst>
            </c:dLbl>
            <c:dLbl>
              <c:idx val="3"/>
              <c:layout>
                <c:manualLayout>
                  <c:x val="2.3661433739938124E-2"/>
                  <c:y val="-8.6537466162229463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2288350452067402E-2"/>
                      <c:h val="4.8028813147300738E-2"/>
                    </c:manualLayout>
                  </c15:layout>
                </c:ext>
                <c:ext xmlns:c16="http://schemas.microsoft.com/office/drawing/2014/chart" uri="{C3380CC4-5D6E-409C-BE32-E72D297353CC}">
                  <c16:uniqueId val="{00000008-9DD7-4938-8818-CE891BA84F11}"/>
                </c:ext>
              </c:extLst>
            </c:dLbl>
            <c:dLbl>
              <c:idx val="4"/>
              <c:layout>
                <c:manualLayout>
                  <c:x val="6.902788411272699E-3"/>
                  <c:y val="-1.49676286726966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DD7-4938-8818-CE891BA84F11}"/>
                </c:ext>
              </c:extLst>
            </c:dLbl>
            <c:dLbl>
              <c:idx val="5"/>
              <c:layout>
                <c:manualLayout>
                  <c:x val="1.454071658254232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DD7-4938-8818-CE891BA84F11}"/>
                </c:ext>
              </c:extLst>
            </c:dLbl>
            <c:dLbl>
              <c:idx val="6"/>
              <c:layout>
                <c:manualLayout>
                  <c:x val="5.81628663301693E-3"/>
                  <c:y val="-1.15384606648651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DD7-4938-8818-CE891BA84F11}"/>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D$2:$D$9</c:f>
              <c:numCache>
                <c:formatCode>0.0</c:formatCode>
                <c:ptCount val="8"/>
                <c:pt idx="0">
                  <c:v>81.900000000000006</c:v>
                </c:pt>
                <c:pt idx="1">
                  <c:v>96.4</c:v>
                </c:pt>
                <c:pt idx="2">
                  <c:v>27.8</c:v>
                </c:pt>
                <c:pt idx="3">
                  <c:v>99.1</c:v>
                </c:pt>
                <c:pt idx="4">
                  <c:v>82.5</c:v>
                </c:pt>
                <c:pt idx="5">
                  <c:v>94.6</c:v>
                </c:pt>
                <c:pt idx="6">
                  <c:v>36.299999999999997</c:v>
                </c:pt>
                <c:pt idx="7">
                  <c:v>6.8</c:v>
                </c:pt>
              </c:numCache>
            </c:numRef>
          </c:val>
          <c:extLst>
            <c:ext xmlns:c16="http://schemas.microsoft.com/office/drawing/2014/chart" uri="{C3380CC4-5D6E-409C-BE32-E72D297353CC}">
              <c16:uniqueId val="{0000000C-9DD7-4938-8818-CE891BA84F11}"/>
            </c:ext>
          </c:extLst>
        </c:ser>
        <c:dLbls>
          <c:dLblPos val="outEnd"/>
          <c:showLegendKey val="0"/>
          <c:showVal val="1"/>
          <c:showCatName val="0"/>
          <c:showSerName val="0"/>
          <c:showPercent val="0"/>
          <c:showBubbleSize val="0"/>
        </c:dLbls>
        <c:gapWidth val="219"/>
        <c:overlap val="-27"/>
        <c:axId val="2042126463"/>
        <c:axId val="2042127903"/>
      </c:barChart>
      <c:catAx>
        <c:axId val="2042126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lang="ja-JP" sz="800" b="0" i="0" u="none" strike="noStrike" kern="1200" baseline="0">
                <a:solidFill>
                  <a:schemeClr val="tx1"/>
                </a:solidFill>
                <a:latin typeface="+mn-lt"/>
                <a:ea typeface="+mn-ea"/>
                <a:cs typeface="+mn-cs"/>
              </a:defRPr>
            </a:pPr>
            <a:endParaRPr lang="ja-JP"/>
          </a:p>
        </c:txPr>
        <c:crossAx val="2042127903"/>
        <c:crosses val="autoZero"/>
        <c:auto val="1"/>
        <c:lblAlgn val="ctr"/>
        <c:lblOffset val="100"/>
        <c:noMultiLvlLbl val="0"/>
      </c:catAx>
      <c:valAx>
        <c:axId val="2042127903"/>
        <c:scaling>
          <c:orientation val="minMax"/>
        </c:scaling>
        <c:delete val="1"/>
        <c:axPos val="l"/>
        <c:numFmt formatCode="0.0" sourceLinked="1"/>
        <c:majorTickMark val="none"/>
        <c:minorTickMark val="none"/>
        <c:tickLblPos val="nextTo"/>
        <c:crossAx val="2042126463"/>
        <c:crosses val="autoZero"/>
        <c:crossBetween val="between"/>
      </c:valAx>
      <c:spPr>
        <a:noFill/>
        <a:ln>
          <a:noFill/>
        </a:ln>
        <a:effectLst/>
      </c:spPr>
    </c:plotArea>
    <c:legend>
      <c:legendPos val="b"/>
      <c:layout>
        <c:manualLayout>
          <c:xMode val="edge"/>
          <c:yMode val="edge"/>
          <c:x val="0.30875966023497098"/>
          <c:y val="0.93576301235319836"/>
          <c:w val="0.38524179489456722"/>
          <c:h val="5.7584592440899668E-2"/>
        </c:manualLayout>
      </c:layout>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08328088944829E-2"/>
          <c:y val="4.622222222222222E-2"/>
          <c:w val="0.97818334382211036"/>
          <c:h val="0.90755555555555556"/>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89.22114726000001</c:v>
                </c:pt>
                <c:pt idx="1">
                  <c:v>192.41054366000003</c:v>
                </c:pt>
                <c:pt idx="2">
                  <c:v>234.78631801999995</c:v>
                </c:pt>
                <c:pt idx="3">
                  <c:v>315.54661174</c:v>
                </c:pt>
                <c:pt idx="4">
                  <c:v>281.92751725000005</c:v>
                </c:pt>
                <c:pt idx="5">
                  <c:v>299.63879926999994</c:v>
                </c:pt>
                <c:pt idx="6">
                  <c:v>335.72350367999996</c:v>
                </c:pt>
                <c:pt idx="7">
                  <c:v>374.09262158000013</c:v>
                </c:pt>
                <c:pt idx="8">
                  <c:v>480.09934181999989</c:v>
                </c:pt>
                <c:pt idx="9">
                  <c:v>463.20852852999997</c:v>
                </c:pt>
                <c:pt idx="10">
                  <c:v>542.76913953999997</c:v>
                </c:pt>
                <c:pt idx="11">
                  <c:v>631.86286927000003</c:v>
                </c:pt>
                <c:pt idx="12">
                  <c:v>729.11246043000017</c:v>
                </c:pt>
                <c:pt idx="13">
                  <c:v>877.77773310000009</c:v>
                </c:pt>
                <c:pt idx="14">
                  <c:v>1005.9004120900001</c:v>
                </c:pt>
                <c:pt idx="15">
                  <c:v>1097.1103926599999</c:v>
                </c:pt>
                <c:pt idx="16">
                  <c:v>1189.2586583699999</c:v>
                </c:pt>
                <c:pt idx="17">
                  <c:v>1293.1532842899999</c:v>
                </c:pt>
                <c:pt idx="18">
                  <c:v>1366.2755402</c:v>
                </c:pt>
                <c:pt idx="19">
                  <c:v>1515.88985009</c:v>
                </c:pt>
                <c:pt idx="20">
                  <c:v>2121.9041719100001</c:v>
                </c:pt>
                <c:pt idx="21">
                  <c:v>2465.0572768400007</c:v>
                </c:pt>
                <c:pt idx="22">
                  <c:v>2345.7797908799994</c:v>
                </c:pt>
                <c:pt idx="23">
                  <c:v>2292.59106053</c:v>
                </c:pt>
              </c:numCache>
            </c:numRef>
          </c:val>
          <c:extLst>
            <c:ext xmlns:c16="http://schemas.microsoft.com/office/drawing/2014/chart" uri="{C3380CC4-5D6E-409C-BE32-E72D297353CC}">
              <c16:uniqueId val="{00000000-0632-4E39-861D-F0D3353006B1}"/>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506.80984419999999</c:v>
                </c:pt>
                <c:pt idx="1">
                  <c:v>497.60273729999994</c:v>
                </c:pt>
                <c:pt idx="2">
                  <c:v>514.65812428999993</c:v>
                </c:pt>
                <c:pt idx="3">
                  <c:v>535.56299806999994</c:v>
                </c:pt>
                <c:pt idx="4">
                  <c:v>586.50936093999985</c:v>
                </c:pt>
                <c:pt idx="5">
                  <c:v>608.73721802</c:v>
                </c:pt>
                <c:pt idx="6">
                  <c:v>654.01540550000004</c:v>
                </c:pt>
                <c:pt idx="7">
                  <c:v>742.88668234000022</c:v>
                </c:pt>
                <c:pt idx="8">
                  <c:v>806.81404933000022</c:v>
                </c:pt>
                <c:pt idx="9">
                  <c:v>862.90830662999974</c:v>
                </c:pt>
                <c:pt idx="10">
                  <c:v>967.89864781999972</c:v>
                </c:pt>
                <c:pt idx="11">
                  <c:v>1068.3056380100002</c:v>
                </c:pt>
                <c:pt idx="12">
                  <c:v>1123.9117690400003</c:v>
                </c:pt>
                <c:pt idx="13">
                  <c:v>1225.1924211700002</c:v>
                </c:pt>
                <c:pt idx="14">
                  <c:v>1227.4490705699998</c:v>
                </c:pt>
                <c:pt idx="15">
                  <c:v>1233.2855044400003</c:v>
                </c:pt>
                <c:pt idx="16">
                  <c:v>1320.6630964800001</c:v>
                </c:pt>
                <c:pt idx="17">
                  <c:v>1380.5087790200002</c:v>
                </c:pt>
                <c:pt idx="18">
                  <c:v>1359.7311514899995</c:v>
                </c:pt>
                <c:pt idx="19">
                  <c:v>1408.3573113400003</c:v>
                </c:pt>
                <c:pt idx="20">
                  <c:v>1419.4602662099996</c:v>
                </c:pt>
                <c:pt idx="21">
                  <c:v>1585.75330919</c:v>
                </c:pt>
                <c:pt idx="22">
                  <c:v>1556.3642953600001</c:v>
                </c:pt>
                <c:pt idx="23">
                  <c:v>1629.0113704500004</c:v>
                </c:pt>
              </c:numCache>
            </c:numRef>
          </c:val>
          <c:extLst>
            <c:ext xmlns:c16="http://schemas.microsoft.com/office/drawing/2014/chart" uri="{C3380CC4-5D6E-409C-BE32-E72D297353CC}">
              <c16:uniqueId val="{00000001-0632-4E39-861D-F0D3353006B1}"/>
            </c:ext>
          </c:extLst>
        </c:ser>
        <c:dLbls>
          <c:showLegendKey val="0"/>
          <c:showVal val="0"/>
          <c:showCatName val="0"/>
          <c:showSerName val="0"/>
          <c:showPercent val="0"/>
          <c:showBubbleSize val="0"/>
        </c:dLbls>
        <c:gapWidth val="60"/>
        <c:overlap val="100"/>
        <c:axId val="822961231"/>
        <c:axId val="1"/>
      </c:barChart>
      <c:catAx>
        <c:axId val="8229612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822961231"/>
        <c:crosses val="min"/>
        <c:crossBetween val="between"/>
        <c:majorUnit val="1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3756777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3661410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1717856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2148871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ctr" latinLnBrk="0" hangingPunct="1">
              <a:lnSpc>
                <a:spcPct val="105000"/>
              </a:lnSpc>
              <a:spcBef>
                <a:spcPts val="0"/>
              </a:spcBef>
              <a:spcAft>
                <a:spcPts val="200"/>
              </a:spcAft>
            </a:pPr>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13172199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1215392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313002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569733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3024027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1035607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795414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27408118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470285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097837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714583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863915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50681703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chart" Target="../charts/chart8.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41.xml"/><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542.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43.xml"/><Relationship Id="rId5" Type="http://schemas.openxmlformats.org/officeDocument/2006/relationships/image" Target="../media/image2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544.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6.xml"/><Relationship Id="rId1" Type="http://schemas.openxmlformats.org/officeDocument/2006/relationships/tags" Target="../tags/tag545.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47.xml"/><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48.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17" Type="http://schemas.openxmlformats.org/officeDocument/2006/relationships/tags" Target="../tags/tag665.xml"/><Relationship Id="rId21" Type="http://schemas.openxmlformats.org/officeDocument/2006/relationships/tags" Target="../tags/tag569.xml"/><Relationship Id="rId42" Type="http://schemas.openxmlformats.org/officeDocument/2006/relationships/tags" Target="../tags/tag590.xml"/><Relationship Id="rId63" Type="http://schemas.openxmlformats.org/officeDocument/2006/relationships/tags" Target="../tags/tag611.xml"/><Relationship Id="rId84" Type="http://schemas.openxmlformats.org/officeDocument/2006/relationships/tags" Target="../tags/tag632.xml"/><Relationship Id="rId138" Type="http://schemas.openxmlformats.org/officeDocument/2006/relationships/tags" Target="../tags/tag686.xml"/><Relationship Id="rId159" Type="http://schemas.openxmlformats.org/officeDocument/2006/relationships/tags" Target="../tags/tag707.xml"/><Relationship Id="rId170" Type="http://schemas.openxmlformats.org/officeDocument/2006/relationships/tags" Target="../tags/tag718.xml"/><Relationship Id="rId191" Type="http://schemas.openxmlformats.org/officeDocument/2006/relationships/tags" Target="../tags/tag739.xml"/><Relationship Id="rId205" Type="http://schemas.openxmlformats.org/officeDocument/2006/relationships/tags" Target="../tags/tag753.xml"/><Relationship Id="rId226" Type="http://schemas.openxmlformats.org/officeDocument/2006/relationships/chart" Target="../charts/chart10.xml"/><Relationship Id="rId107" Type="http://schemas.openxmlformats.org/officeDocument/2006/relationships/tags" Target="../tags/tag655.xml"/><Relationship Id="rId11" Type="http://schemas.openxmlformats.org/officeDocument/2006/relationships/tags" Target="../tags/tag559.xml"/><Relationship Id="rId32" Type="http://schemas.openxmlformats.org/officeDocument/2006/relationships/tags" Target="../tags/tag580.xml"/><Relationship Id="rId53" Type="http://schemas.openxmlformats.org/officeDocument/2006/relationships/tags" Target="../tags/tag601.xml"/><Relationship Id="rId74" Type="http://schemas.openxmlformats.org/officeDocument/2006/relationships/tags" Target="../tags/tag622.xml"/><Relationship Id="rId128" Type="http://schemas.openxmlformats.org/officeDocument/2006/relationships/tags" Target="../tags/tag676.xml"/><Relationship Id="rId149" Type="http://schemas.openxmlformats.org/officeDocument/2006/relationships/tags" Target="../tags/tag697.xml"/><Relationship Id="rId5" Type="http://schemas.openxmlformats.org/officeDocument/2006/relationships/tags" Target="../tags/tag553.xml"/><Relationship Id="rId95" Type="http://schemas.openxmlformats.org/officeDocument/2006/relationships/tags" Target="../tags/tag643.xml"/><Relationship Id="rId160" Type="http://schemas.openxmlformats.org/officeDocument/2006/relationships/tags" Target="../tags/tag708.xml"/><Relationship Id="rId181" Type="http://schemas.openxmlformats.org/officeDocument/2006/relationships/tags" Target="../tags/tag729.xml"/><Relationship Id="rId216" Type="http://schemas.openxmlformats.org/officeDocument/2006/relationships/tags" Target="../tags/tag764.xml"/><Relationship Id="rId22" Type="http://schemas.openxmlformats.org/officeDocument/2006/relationships/tags" Target="../tags/tag570.xml"/><Relationship Id="rId43" Type="http://schemas.openxmlformats.org/officeDocument/2006/relationships/tags" Target="../tags/tag591.xml"/><Relationship Id="rId64" Type="http://schemas.openxmlformats.org/officeDocument/2006/relationships/tags" Target="../tags/tag612.xml"/><Relationship Id="rId118" Type="http://schemas.openxmlformats.org/officeDocument/2006/relationships/tags" Target="../tags/tag666.xml"/><Relationship Id="rId139" Type="http://schemas.openxmlformats.org/officeDocument/2006/relationships/tags" Target="../tags/tag687.xml"/><Relationship Id="rId85" Type="http://schemas.openxmlformats.org/officeDocument/2006/relationships/tags" Target="../tags/tag633.xml"/><Relationship Id="rId150" Type="http://schemas.openxmlformats.org/officeDocument/2006/relationships/tags" Target="../tags/tag698.xml"/><Relationship Id="rId171" Type="http://schemas.openxmlformats.org/officeDocument/2006/relationships/tags" Target="../tags/tag719.xml"/><Relationship Id="rId192" Type="http://schemas.openxmlformats.org/officeDocument/2006/relationships/tags" Target="../tags/tag740.xml"/><Relationship Id="rId206" Type="http://schemas.openxmlformats.org/officeDocument/2006/relationships/tags" Target="../tags/tag754.xml"/><Relationship Id="rId227" Type="http://schemas.openxmlformats.org/officeDocument/2006/relationships/chart" Target="../charts/chart11.xml"/><Relationship Id="rId12" Type="http://schemas.openxmlformats.org/officeDocument/2006/relationships/tags" Target="../tags/tag560.xml"/><Relationship Id="rId33" Type="http://schemas.openxmlformats.org/officeDocument/2006/relationships/tags" Target="../tags/tag581.xml"/><Relationship Id="rId108" Type="http://schemas.openxmlformats.org/officeDocument/2006/relationships/tags" Target="../tags/tag656.xml"/><Relationship Id="rId129" Type="http://schemas.openxmlformats.org/officeDocument/2006/relationships/tags" Target="../tags/tag677.xml"/><Relationship Id="rId54" Type="http://schemas.openxmlformats.org/officeDocument/2006/relationships/tags" Target="../tags/tag602.xml"/><Relationship Id="rId75" Type="http://schemas.openxmlformats.org/officeDocument/2006/relationships/tags" Target="../tags/tag623.xml"/><Relationship Id="rId96" Type="http://schemas.openxmlformats.org/officeDocument/2006/relationships/tags" Target="../tags/tag644.xml"/><Relationship Id="rId140" Type="http://schemas.openxmlformats.org/officeDocument/2006/relationships/tags" Target="../tags/tag688.xml"/><Relationship Id="rId161" Type="http://schemas.openxmlformats.org/officeDocument/2006/relationships/tags" Target="../tags/tag709.xml"/><Relationship Id="rId182" Type="http://schemas.openxmlformats.org/officeDocument/2006/relationships/tags" Target="../tags/tag730.xml"/><Relationship Id="rId217" Type="http://schemas.openxmlformats.org/officeDocument/2006/relationships/tags" Target="../tags/tag765.xml"/><Relationship Id="rId6" Type="http://schemas.openxmlformats.org/officeDocument/2006/relationships/tags" Target="../tags/tag554.xml"/><Relationship Id="rId23" Type="http://schemas.openxmlformats.org/officeDocument/2006/relationships/tags" Target="../tags/tag571.xml"/><Relationship Id="rId119" Type="http://schemas.openxmlformats.org/officeDocument/2006/relationships/tags" Target="../tags/tag667.xml"/><Relationship Id="rId44" Type="http://schemas.openxmlformats.org/officeDocument/2006/relationships/tags" Target="../tags/tag592.xml"/><Relationship Id="rId65" Type="http://schemas.openxmlformats.org/officeDocument/2006/relationships/tags" Target="../tags/tag613.xml"/><Relationship Id="rId86" Type="http://schemas.openxmlformats.org/officeDocument/2006/relationships/tags" Target="../tags/tag634.xml"/><Relationship Id="rId130" Type="http://schemas.openxmlformats.org/officeDocument/2006/relationships/tags" Target="../tags/tag678.xml"/><Relationship Id="rId151" Type="http://schemas.openxmlformats.org/officeDocument/2006/relationships/tags" Target="../tags/tag699.xml"/><Relationship Id="rId172" Type="http://schemas.openxmlformats.org/officeDocument/2006/relationships/tags" Target="../tags/tag720.xml"/><Relationship Id="rId193" Type="http://schemas.openxmlformats.org/officeDocument/2006/relationships/tags" Target="../tags/tag741.xml"/><Relationship Id="rId207" Type="http://schemas.openxmlformats.org/officeDocument/2006/relationships/tags" Target="../tags/tag755.xml"/><Relationship Id="rId13" Type="http://schemas.openxmlformats.org/officeDocument/2006/relationships/tags" Target="../tags/tag561.xml"/><Relationship Id="rId109" Type="http://schemas.openxmlformats.org/officeDocument/2006/relationships/tags" Target="../tags/tag657.xml"/><Relationship Id="rId34" Type="http://schemas.openxmlformats.org/officeDocument/2006/relationships/tags" Target="../tags/tag582.xml"/><Relationship Id="rId55" Type="http://schemas.openxmlformats.org/officeDocument/2006/relationships/tags" Target="../tags/tag603.xml"/><Relationship Id="rId76" Type="http://schemas.openxmlformats.org/officeDocument/2006/relationships/tags" Target="../tags/tag624.xml"/><Relationship Id="rId97" Type="http://schemas.openxmlformats.org/officeDocument/2006/relationships/tags" Target="../tags/tag645.xml"/><Relationship Id="rId120" Type="http://schemas.openxmlformats.org/officeDocument/2006/relationships/tags" Target="../tags/tag668.xml"/><Relationship Id="rId141" Type="http://schemas.openxmlformats.org/officeDocument/2006/relationships/tags" Target="../tags/tag689.xml"/><Relationship Id="rId7" Type="http://schemas.openxmlformats.org/officeDocument/2006/relationships/tags" Target="../tags/tag555.xml"/><Relationship Id="rId162" Type="http://schemas.openxmlformats.org/officeDocument/2006/relationships/tags" Target="../tags/tag710.xml"/><Relationship Id="rId183" Type="http://schemas.openxmlformats.org/officeDocument/2006/relationships/tags" Target="../tags/tag731.xml"/><Relationship Id="rId218" Type="http://schemas.openxmlformats.org/officeDocument/2006/relationships/tags" Target="../tags/tag766.xml"/><Relationship Id="rId24" Type="http://schemas.openxmlformats.org/officeDocument/2006/relationships/tags" Target="../tags/tag572.xml"/><Relationship Id="rId45" Type="http://schemas.openxmlformats.org/officeDocument/2006/relationships/tags" Target="../tags/tag593.xml"/><Relationship Id="rId66" Type="http://schemas.openxmlformats.org/officeDocument/2006/relationships/tags" Target="../tags/tag614.xml"/><Relationship Id="rId87" Type="http://schemas.openxmlformats.org/officeDocument/2006/relationships/tags" Target="../tags/tag635.xml"/><Relationship Id="rId110" Type="http://schemas.openxmlformats.org/officeDocument/2006/relationships/tags" Target="../tags/tag658.xml"/><Relationship Id="rId131" Type="http://schemas.openxmlformats.org/officeDocument/2006/relationships/tags" Target="../tags/tag679.xml"/><Relationship Id="rId152" Type="http://schemas.openxmlformats.org/officeDocument/2006/relationships/tags" Target="../tags/tag700.xml"/><Relationship Id="rId173" Type="http://schemas.openxmlformats.org/officeDocument/2006/relationships/tags" Target="../tags/tag721.xml"/><Relationship Id="rId194" Type="http://schemas.openxmlformats.org/officeDocument/2006/relationships/tags" Target="../tags/tag742.xml"/><Relationship Id="rId208" Type="http://schemas.openxmlformats.org/officeDocument/2006/relationships/tags" Target="../tags/tag756.xml"/><Relationship Id="rId14" Type="http://schemas.openxmlformats.org/officeDocument/2006/relationships/tags" Target="../tags/tag562.xml"/><Relationship Id="rId35" Type="http://schemas.openxmlformats.org/officeDocument/2006/relationships/tags" Target="../tags/tag583.xml"/><Relationship Id="rId56" Type="http://schemas.openxmlformats.org/officeDocument/2006/relationships/tags" Target="../tags/tag604.xml"/><Relationship Id="rId77" Type="http://schemas.openxmlformats.org/officeDocument/2006/relationships/tags" Target="../tags/tag625.xml"/><Relationship Id="rId100" Type="http://schemas.openxmlformats.org/officeDocument/2006/relationships/tags" Target="../tags/tag648.xml"/><Relationship Id="rId8" Type="http://schemas.openxmlformats.org/officeDocument/2006/relationships/tags" Target="../tags/tag556.xml"/><Relationship Id="rId98" Type="http://schemas.openxmlformats.org/officeDocument/2006/relationships/tags" Target="../tags/tag646.xml"/><Relationship Id="rId121" Type="http://schemas.openxmlformats.org/officeDocument/2006/relationships/tags" Target="../tags/tag669.xml"/><Relationship Id="rId142" Type="http://schemas.openxmlformats.org/officeDocument/2006/relationships/tags" Target="../tags/tag690.xml"/><Relationship Id="rId163" Type="http://schemas.openxmlformats.org/officeDocument/2006/relationships/tags" Target="../tags/tag711.xml"/><Relationship Id="rId184" Type="http://schemas.openxmlformats.org/officeDocument/2006/relationships/tags" Target="../tags/tag732.xml"/><Relationship Id="rId219" Type="http://schemas.openxmlformats.org/officeDocument/2006/relationships/tags" Target="../tags/tag767.xml"/><Relationship Id="rId3" Type="http://schemas.openxmlformats.org/officeDocument/2006/relationships/tags" Target="../tags/tag551.xml"/><Relationship Id="rId214" Type="http://schemas.openxmlformats.org/officeDocument/2006/relationships/tags" Target="../tags/tag762.xml"/><Relationship Id="rId25" Type="http://schemas.openxmlformats.org/officeDocument/2006/relationships/tags" Target="../tags/tag573.xml"/><Relationship Id="rId46" Type="http://schemas.openxmlformats.org/officeDocument/2006/relationships/tags" Target="../tags/tag594.xml"/><Relationship Id="rId67" Type="http://schemas.openxmlformats.org/officeDocument/2006/relationships/tags" Target="../tags/tag615.xml"/><Relationship Id="rId116" Type="http://schemas.openxmlformats.org/officeDocument/2006/relationships/tags" Target="../tags/tag664.xml"/><Relationship Id="rId137" Type="http://schemas.openxmlformats.org/officeDocument/2006/relationships/tags" Target="../tags/tag685.xml"/><Relationship Id="rId158" Type="http://schemas.openxmlformats.org/officeDocument/2006/relationships/tags" Target="../tags/tag706.xml"/><Relationship Id="rId20" Type="http://schemas.openxmlformats.org/officeDocument/2006/relationships/tags" Target="../tags/tag568.xml"/><Relationship Id="rId41" Type="http://schemas.openxmlformats.org/officeDocument/2006/relationships/tags" Target="../tags/tag589.xml"/><Relationship Id="rId62" Type="http://schemas.openxmlformats.org/officeDocument/2006/relationships/tags" Target="../tags/tag610.xml"/><Relationship Id="rId83" Type="http://schemas.openxmlformats.org/officeDocument/2006/relationships/tags" Target="../tags/tag631.xml"/><Relationship Id="rId88" Type="http://schemas.openxmlformats.org/officeDocument/2006/relationships/tags" Target="../tags/tag636.xml"/><Relationship Id="rId111" Type="http://schemas.openxmlformats.org/officeDocument/2006/relationships/tags" Target="../tags/tag659.xml"/><Relationship Id="rId132" Type="http://schemas.openxmlformats.org/officeDocument/2006/relationships/tags" Target="../tags/tag680.xml"/><Relationship Id="rId153" Type="http://schemas.openxmlformats.org/officeDocument/2006/relationships/tags" Target="../tags/tag701.xml"/><Relationship Id="rId174" Type="http://schemas.openxmlformats.org/officeDocument/2006/relationships/tags" Target="../tags/tag722.xml"/><Relationship Id="rId179" Type="http://schemas.openxmlformats.org/officeDocument/2006/relationships/tags" Target="../tags/tag727.xml"/><Relationship Id="rId195" Type="http://schemas.openxmlformats.org/officeDocument/2006/relationships/tags" Target="../tags/tag743.xml"/><Relationship Id="rId209" Type="http://schemas.openxmlformats.org/officeDocument/2006/relationships/tags" Target="../tags/tag757.xml"/><Relationship Id="rId190" Type="http://schemas.openxmlformats.org/officeDocument/2006/relationships/tags" Target="../tags/tag738.xml"/><Relationship Id="rId204" Type="http://schemas.openxmlformats.org/officeDocument/2006/relationships/tags" Target="../tags/tag752.xml"/><Relationship Id="rId220" Type="http://schemas.openxmlformats.org/officeDocument/2006/relationships/tags" Target="../tags/tag768.xml"/><Relationship Id="rId225" Type="http://schemas.openxmlformats.org/officeDocument/2006/relationships/chart" Target="../charts/chart9.xml"/><Relationship Id="rId15" Type="http://schemas.openxmlformats.org/officeDocument/2006/relationships/tags" Target="../tags/tag563.xml"/><Relationship Id="rId36" Type="http://schemas.openxmlformats.org/officeDocument/2006/relationships/tags" Target="../tags/tag584.xml"/><Relationship Id="rId57" Type="http://schemas.openxmlformats.org/officeDocument/2006/relationships/tags" Target="../tags/tag605.xml"/><Relationship Id="rId106" Type="http://schemas.openxmlformats.org/officeDocument/2006/relationships/tags" Target="../tags/tag654.xml"/><Relationship Id="rId127" Type="http://schemas.openxmlformats.org/officeDocument/2006/relationships/tags" Target="../tags/tag675.xml"/><Relationship Id="rId10" Type="http://schemas.openxmlformats.org/officeDocument/2006/relationships/tags" Target="../tags/tag558.xml"/><Relationship Id="rId31" Type="http://schemas.openxmlformats.org/officeDocument/2006/relationships/tags" Target="../tags/tag579.xml"/><Relationship Id="rId52" Type="http://schemas.openxmlformats.org/officeDocument/2006/relationships/tags" Target="../tags/tag600.xml"/><Relationship Id="rId73" Type="http://schemas.openxmlformats.org/officeDocument/2006/relationships/tags" Target="../tags/tag621.xml"/><Relationship Id="rId78" Type="http://schemas.openxmlformats.org/officeDocument/2006/relationships/tags" Target="../tags/tag626.xml"/><Relationship Id="rId94" Type="http://schemas.openxmlformats.org/officeDocument/2006/relationships/tags" Target="../tags/tag642.xml"/><Relationship Id="rId99" Type="http://schemas.openxmlformats.org/officeDocument/2006/relationships/tags" Target="../tags/tag647.xml"/><Relationship Id="rId101" Type="http://schemas.openxmlformats.org/officeDocument/2006/relationships/tags" Target="../tags/tag649.xml"/><Relationship Id="rId122" Type="http://schemas.openxmlformats.org/officeDocument/2006/relationships/tags" Target="../tags/tag670.xml"/><Relationship Id="rId143" Type="http://schemas.openxmlformats.org/officeDocument/2006/relationships/tags" Target="../tags/tag691.xml"/><Relationship Id="rId148" Type="http://schemas.openxmlformats.org/officeDocument/2006/relationships/tags" Target="../tags/tag696.xml"/><Relationship Id="rId164" Type="http://schemas.openxmlformats.org/officeDocument/2006/relationships/tags" Target="../tags/tag712.xml"/><Relationship Id="rId169" Type="http://schemas.openxmlformats.org/officeDocument/2006/relationships/tags" Target="../tags/tag717.xml"/><Relationship Id="rId185" Type="http://schemas.openxmlformats.org/officeDocument/2006/relationships/tags" Target="../tags/tag733.xml"/><Relationship Id="rId4" Type="http://schemas.openxmlformats.org/officeDocument/2006/relationships/tags" Target="../tags/tag552.xml"/><Relationship Id="rId9" Type="http://schemas.openxmlformats.org/officeDocument/2006/relationships/tags" Target="../tags/tag557.xml"/><Relationship Id="rId180" Type="http://schemas.openxmlformats.org/officeDocument/2006/relationships/tags" Target="../tags/tag728.xml"/><Relationship Id="rId210" Type="http://schemas.openxmlformats.org/officeDocument/2006/relationships/tags" Target="../tags/tag758.xml"/><Relationship Id="rId215" Type="http://schemas.openxmlformats.org/officeDocument/2006/relationships/tags" Target="../tags/tag763.xml"/><Relationship Id="rId26" Type="http://schemas.openxmlformats.org/officeDocument/2006/relationships/tags" Target="../tags/tag574.xml"/><Relationship Id="rId47" Type="http://schemas.openxmlformats.org/officeDocument/2006/relationships/tags" Target="../tags/tag595.xml"/><Relationship Id="rId68" Type="http://schemas.openxmlformats.org/officeDocument/2006/relationships/tags" Target="../tags/tag616.xml"/><Relationship Id="rId89" Type="http://schemas.openxmlformats.org/officeDocument/2006/relationships/tags" Target="../tags/tag637.xml"/><Relationship Id="rId112" Type="http://schemas.openxmlformats.org/officeDocument/2006/relationships/tags" Target="../tags/tag660.xml"/><Relationship Id="rId133" Type="http://schemas.openxmlformats.org/officeDocument/2006/relationships/tags" Target="../tags/tag681.xml"/><Relationship Id="rId154" Type="http://schemas.openxmlformats.org/officeDocument/2006/relationships/tags" Target="../tags/tag702.xml"/><Relationship Id="rId175" Type="http://schemas.openxmlformats.org/officeDocument/2006/relationships/tags" Target="../tags/tag723.xml"/><Relationship Id="rId196" Type="http://schemas.openxmlformats.org/officeDocument/2006/relationships/tags" Target="../tags/tag744.xml"/><Relationship Id="rId200" Type="http://schemas.openxmlformats.org/officeDocument/2006/relationships/tags" Target="../tags/tag748.xml"/><Relationship Id="rId16" Type="http://schemas.openxmlformats.org/officeDocument/2006/relationships/tags" Target="../tags/tag564.xml"/><Relationship Id="rId221" Type="http://schemas.openxmlformats.org/officeDocument/2006/relationships/slideLayout" Target="../slideLayouts/slideLayout3.xml"/><Relationship Id="rId37" Type="http://schemas.openxmlformats.org/officeDocument/2006/relationships/tags" Target="../tags/tag585.xml"/><Relationship Id="rId58" Type="http://schemas.openxmlformats.org/officeDocument/2006/relationships/tags" Target="../tags/tag606.xml"/><Relationship Id="rId79" Type="http://schemas.openxmlformats.org/officeDocument/2006/relationships/tags" Target="../tags/tag627.xml"/><Relationship Id="rId102" Type="http://schemas.openxmlformats.org/officeDocument/2006/relationships/tags" Target="../tags/tag650.xml"/><Relationship Id="rId123" Type="http://schemas.openxmlformats.org/officeDocument/2006/relationships/tags" Target="../tags/tag671.xml"/><Relationship Id="rId144" Type="http://schemas.openxmlformats.org/officeDocument/2006/relationships/tags" Target="../tags/tag692.xml"/><Relationship Id="rId90" Type="http://schemas.openxmlformats.org/officeDocument/2006/relationships/tags" Target="../tags/tag638.xml"/><Relationship Id="rId165" Type="http://schemas.openxmlformats.org/officeDocument/2006/relationships/tags" Target="../tags/tag713.xml"/><Relationship Id="rId186" Type="http://schemas.openxmlformats.org/officeDocument/2006/relationships/tags" Target="../tags/tag734.xml"/><Relationship Id="rId211" Type="http://schemas.openxmlformats.org/officeDocument/2006/relationships/tags" Target="../tags/tag759.xml"/><Relationship Id="rId27" Type="http://schemas.openxmlformats.org/officeDocument/2006/relationships/tags" Target="../tags/tag575.xml"/><Relationship Id="rId48" Type="http://schemas.openxmlformats.org/officeDocument/2006/relationships/tags" Target="../tags/tag596.xml"/><Relationship Id="rId69" Type="http://schemas.openxmlformats.org/officeDocument/2006/relationships/tags" Target="../tags/tag617.xml"/><Relationship Id="rId113" Type="http://schemas.openxmlformats.org/officeDocument/2006/relationships/tags" Target="../tags/tag661.xml"/><Relationship Id="rId134" Type="http://schemas.openxmlformats.org/officeDocument/2006/relationships/tags" Target="../tags/tag682.xml"/><Relationship Id="rId80" Type="http://schemas.openxmlformats.org/officeDocument/2006/relationships/tags" Target="../tags/tag628.xml"/><Relationship Id="rId155" Type="http://schemas.openxmlformats.org/officeDocument/2006/relationships/tags" Target="../tags/tag703.xml"/><Relationship Id="rId176" Type="http://schemas.openxmlformats.org/officeDocument/2006/relationships/tags" Target="../tags/tag724.xml"/><Relationship Id="rId197" Type="http://schemas.openxmlformats.org/officeDocument/2006/relationships/tags" Target="../tags/tag745.xml"/><Relationship Id="rId201" Type="http://schemas.openxmlformats.org/officeDocument/2006/relationships/tags" Target="../tags/tag749.xml"/><Relationship Id="rId222" Type="http://schemas.openxmlformats.org/officeDocument/2006/relationships/notesSlide" Target="../notesSlides/notesSlide7.xml"/><Relationship Id="rId17" Type="http://schemas.openxmlformats.org/officeDocument/2006/relationships/tags" Target="../tags/tag565.xml"/><Relationship Id="rId38" Type="http://schemas.openxmlformats.org/officeDocument/2006/relationships/tags" Target="../tags/tag586.xml"/><Relationship Id="rId59" Type="http://schemas.openxmlformats.org/officeDocument/2006/relationships/tags" Target="../tags/tag607.xml"/><Relationship Id="rId103" Type="http://schemas.openxmlformats.org/officeDocument/2006/relationships/tags" Target="../tags/tag651.xml"/><Relationship Id="rId124" Type="http://schemas.openxmlformats.org/officeDocument/2006/relationships/tags" Target="../tags/tag672.xml"/><Relationship Id="rId70" Type="http://schemas.openxmlformats.org/officeDocument/2006/relationships/tags" Target="../tags/tag618.xml"/><Relationship Id="rId91" Type="http://schemas.openxmlformats.org/officeDocument/2006/relationships/tags" Target="../tags/tag639.xml"/><Relationship Id="rId145" Type="http://schemas.openxmlformats.org/officeDocument/2006/relationships/tags" Target="../tags/tag693.xml"/><Relationship Id="rId166" Type="http://schemas.openxmlformats.org/officeDocument/2006/relationships/tags" Target="../tags/tag714.xml"/><Relationship Id="rId187" Type="http://schemas.openxmlformats.org/officeDocument/2006/relationships/tags" Target="../tags/tag735.xml"/><Relationship Id="rId1" Type="http://schemas.openxmlformats.org/officeDocument/2006/relationships/tags" Target="../tags/tag549.xml"/><Relationship Id="rId212" Type="http://schemas.openxmlformats.org/officeDocument/2006/relationships/tags" Target="../tags/tag760.xml"/><Relationship Id="rId28" Type="http://schemas.openxmlformats.org/officeDocument/2006/relationships/tags" Target="../tags/tag576.xml"/><Relationship Id="rId49" Type="http://schemas.openxmlformats.org/officeDocument/2006/relationships/tags" Target="../tags/tag597.xml"/><Relationship Id="rId114" Type="http://schemas.openxmlformats.org/officeDocument/2006/relationships/tags" Target="../tags/tag662.xml"/><Relationship Id="rId60" Type="http://schemas.openxmlformats.org/officeDocument/2006/relationships/tags" Target="../tags/tag608.xml"/><Relationship Id="rId81" Type="http://schemas.openxmlformats.org/officeDocument/2006/relationships/tags" Target="../tags/tag629.xml"/><Relationship Id="rId135" Type="http://schemas.openxmlformats.org/officeDocument/2006/relationships/tags" Target="../tags/tag683.xml"/><Relationship Id="rId156" Type="http://schemas.openxmlformats.org/officeDocument/2006/relationships/tags" Target="../tags/tag704.xml"/><Relationship Id="rId177" Type="http://schemas.openxmlformats.org/officeDocument/2006/relationships/tags" Target="../tags/tag725.xml"/><Relationship Id="rId198" Type="http://schemas.openxmlformats.org/officeDocument/2006/relationships/tags" Target="../tags/tag746.xml"/><Relationship Id="rId202" Type="http://schemas.openxmlformats.org/officeDocument/2006/relationships/tags" Target="../tags/tag750.xml"/><Relationship Id="rId223" Type="http://schemas.openxmlformats.org/officeDocument/2006/relationships/oleObject" Target="../embeddings/oleObject18.bin"/><Relationship Id="rId18" Type="http://schemas.openxmlformats.org/officeDocument/2006/relationships/tags" Target="../tags/tag566.xml"/><Relationship Id="rId39" Type="http://schemas.openxmlformats.org/officeDocument/2006/relationships/tags" Target="../tags/tag587.xml"/><Relationship Id="rId50" Type="http://schemas.openxmlformats.org/officeDocument/2006/relationships/tags" Target="../tags/tag598.xml"/><Relationship Id="rId104" Type="http://schemas.openxmlformats.org/officeDocument/2006/relationships/tags" Target="../tags/tag652.xml"/><Relationship Id="rId125" Type="http://schemas.openxmlformats.org/officeDocument/2006/relationships/tags" Target="../tags/tag673.xml"/><Relationship Id="rId146" Type="http://schemas.openxmlformats.org/officeDocument/2006/relationships/tags" Target="../tags/tag694.xml"/><Relationship Id="rId167" Type="http://schemas.openxmlformats.org/officeDocument/2006/relationships/tags" Target="../tags/tag715.xml"/><Relationship Id="rId188" Type="http://schemas.openxmlformats.org/officeDocument/2006/relationships/tags" Target="../tags/tag736.xml"/><Relationship Id="rId71" Type="http://schemas.openxmlformats.org/officeDocument/2006/relationships/tags" Target="../tags/tag619.xml"/><Relationship Id="rId92" Type="http://schemas.openxmlformats.org/officeDocument/2006/relationships/tags" Target="../tags/tag640.xml"/><Relationship Id="rId213" Type="http://schemas.openxmlformats.org/officeDocument/2006/relationships/tags" Target="../tags/tag761.xml"/><Relationship Id="rId2" Type="http://schemas.openxmlformats.org/officeDocument/2006/relationships/tags" Target="../tags/tag550.xml"/><Relationship Id="rId29" Type="http://schemas.openxmlformats.org/officeDocument/2006/relationships/tags" Target="../tags/tag577.xml"/><Relationship Id="rId40" Type="http://schemas.openxmlformats.org/officeDocument/2006/relationships/tags" Target="../tags/tag588.xml"/><Relationship Id="rId115" Type="http://schemas.openxmlformats.org/officeDocument/2006/relationships/tags" Target="../tags/tag663.xml"/><Relationship Id="rId136" Type="http://schemas.openxmlformats.org/officeDocument/2006/relationships/tags" Target="../tags/tag684.xml"/><Relationship Id="rId157" Type="http://schemas.openxmlformats.org/officeDocument/2006/relationships/tags" Target="../tags/tag705.xml"/><Relationship Id="rId178" Type="http://schemas.openxmlformats.org/officeDocument/2006/relationships/tags" Target="../tags/tag726.xml"/><Relationship Id="rId61" Type="http://schemas.openxmlformats.org/officeDocument/2006/relationships/tags" Target="../tags/tag609.xml"/><Relationship Id="rId82" Type="http://schemas.openxmlformats.org/officeDocument/2006/relationships/tags" Target="../tags/tag630.xml"/><Relationship Id="rId199" Type="http://schemas.openxmlformats.org/officeDocument/2006/relationships/tags" Target="../tags/tag747.xml"/><Relationship Id="rId203" Type="http://schemas.openxmlformats.org/officeDocument/2006/relationships/tags" Target="../tags/tag751.xml"/><Relationship Id="rId19" Type="http://schemas.openxmlformats.org/officeDocument/2006/relationships/tags" Target="../tags/tag567.xml"/><Relationship Id="rId224" Type="http://schemas.openxmlformats.org/officeDocument/2006/relationships/image" Target="../media/image1.emf"/><Relationship Id="rId30" Type="http://schemas.openxmlformats.org/officeDocument/2006/relationships/tags" Target="../tags/tag578.xml"/><Relationship Id="rId105" Type="http://schemas.openxmlformats.org/officeDocument/2006/relationships/tags" Target="../tags/tag653.xml"/><Relationship Id="rId126" Type="http://schemas.openxmlformats.org/officeDocument/2006/relationships/tags" Target="../tags/tag674.xml"/><Relationship Id="rId147" Type="http://schemas.openxmlformats.org/officeDocument/2006/relationships/tags" Target="../tags/tag695.xml"/><Relationship Id="rId168" Type="http://schemas.openxmlformats.org/officeDocument/2006/relationships/tags" Target="../tags/tag716.xml"/><Relationship Id="rId51" Type="http://schemas.openxmlformats.org/officeDocument/2006/relationships/tags" Target="../tags/tag599.xml"/><Relationship Id="rId72" Type="http://schemas.openxmlformats.org/officeDocument/2006/relationships/tags" Target="../tags/tag620.xml"/><Relationship Id="rId93" Type="http://schemas.openxmlformats.org/officeDocument/2006/relationships/tags" Target="../tags/tag641.xml"/><Relationship Id="rId189" Type="http://schemas.openxmlformats.org/officeDocument/2006/relationships/tags" Target="../tags/tag73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chart" Target="../charts/chart12.xml"/><Relationship Id="rId3" Type="http://schemas.openxmlformats.org/officeDocument/2006/relationships/tags" Target="../tags/tag771.xml"/><Relationship Id="rId21" Type="http://schemas.openxmlformats.org/officeDocument/2006/relationships/tags" Target="../tags/tag789.xml"/><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image" Target="../media/image18.emf"/><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oleObject" Target="../embeddings/oleObject19.bin"/><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slideLayout" Target="../slideLayouts/slideLayout3.xml"/><Relationship Id="rId10" Type="http://schemas.openxmlformats.org/officeDocument/2006/relationships/tags" Target="../tags/tag778.xml"/><Relationship Id="rId19" Type="http://schemas.openxmlformats.org/officeDocument/2006/relationships/tags" Target="../tags/tag787.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18.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793.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4.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5.xm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6.xml"/><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7.xml"/><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798.xml"/><Relationship Id="rId6" Type="http://schemas.openxmlformats.org/officeDocument/2006/relationships/chart" Target="../charts/chart14.xml"/><Relationship Id="rId5" Type="http://schemas.openxmlformats.org/officeDocument/2006/relationships/image" Target="../media/image2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0.xml"/><Relationship Id="rId1" Type="http://schemas.openxmlformats.org/officeDocument/2006/relationships/tags" Target="../tags/tag799.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26" Type="http://schemas.openxmlformats.org/officeDocument/2006/relationships/tags" Target="../tags/tag826.xml"/><Relationship Id="rId21" Type="http://schemas.openxmlformats.org/officeDocument/2006/relationships/tags" Target="../tags/tag821.xml"/><Relationship Id="rId42" Type="http://schemas.openxmlformats.org/officeDocument/2006/relationships/tags" Target="../tags/tag842.xml"/><Relationship Id="rId47" Type="http://schemas.openxmlformats.org/officeDocument/2006/relationships/tags" Target="../tags/tag847.xml"/><Relationship Id="rId63" Type="http://schemas.openxmlformats.org/officeDocument/2006/relationships/tags" Target="../tags/tag863.xml"/><Relationship Id="rId68" Type="http://schemas.openxmlformats.org/officeDocument/2006/relationships/oleObject" Target="../embeddings/oleObject25.bin"/><Relationship Id="rId7" Type="http://schemas.openxmlformats.org/officeDocument/2006/relationships/tags" Target="../tags/tag807.xml"/><Relationship Id="rId71" Type="http://schemas.openxmlformats.org/officeDocument/2006/relationships/chart" Target="../charts/chart17.xml"/><Relationship Id="rId2" Type="http://schemas.openxmlformats.org/officeDocument/2006/relationships/tags" Target="../tags/tag802.xml"/><Relationship Id="rId16" Type="http://schemas.openxmlformats.org/officeDocument/2006/relationships/tags" Target="../tags/tag816.xml"/><Relationship Id="rId29" Type="http://schemas.openxmlformats.org/officeDocument/2006/relationships/tags" Target="../tags/tag829.xml"/><Relationship Id="rId11" Type="http://schemas.openxmlformats.org/officeDocument/2006/relationships/tags" Target="../tags/tag811.xml"/><Relationship Id="rId24" Type="http://schemas.openxmlformats.org/officeDocument/2006/relationships/tags" Target="../tags/tag824.xml"/><Relationship Id="rId32" Type="http://schemas.openxmlformats.org/officeDocument/2006/relationships/tags" Target="../tags/tag832.xml"/><Relationship Id="rId37" Type="http://schemas.openxmlformats.org/officeDocument/2006/relationships/tags" Target="../tags/tag837.xml"/><Relationship Id="rId40" Type="http://schemas.openxmlformats.org/officeDocument/2006/relationships/tags" Target="../tags/tag840.xml"/><Relationship Id="rId45" Type="http://schemas.openxmlformats.org/officeDocument/2006/relationships/tags" Target="../tags/tag845.xml"/><Relationship Id="rId53" Type="http://schemas.openxmlformats.org/officeDocument/2006/relationships/tags" Target="../tags/tag853.xml"/><Relationship Id="rId58" Type="http://schemas.openxmlformats.org/officeDocument/2006/relationships/tags" Target="../tags/tag858.xml"/><Relationship Id="rId66" Type="http://schemas.openxmlformats.org/officeDocument/2006/relationships/slideLayout" Target="../slideLayouts/slideLayout3.xml"/><Relationship Id="rId5" Type="http://schemas.openxmlformats.org/officeDocument/2006/relationships/tags" Target="../tags/tag805.xml"/><Relationship Id="rId61" Type="http://schemas.openxmlformats.org/officeDocument/2006/relationships/tags" Target="../tags/tag861.xml"/><Relationship Id="rId19" Type="http://schemas.openxmlformats.org/officeDocument/2006/relationships/tags" Target="../tags/tag81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tags" Target="../tags/tag827.xml"/><Relationship Id="rId30" Type="http://schemas.openxmlformats.org/officeDocument/2006/relationships/tags" Target="../tags/tag830.xml"/><Relationship Id="rId35" Type="http://schemas.openxmlformats.org/officeDocument/2006/relationships/tags" Target="../tags/tag835.xml"/><Relationship Id="rId43" Type="http://schemas.openxmlformats.org/officeDocument/2006/relationships/tags" Target="../tags/tag843.xml"/><Relationship Id="rId48" Type="http://schemas.openxmlformats.org/officeDocument/2006/relationships/tags" Target="../tags/tag848.xml"/><Relationship Id="rId56" Type="http://schemas.openxmlformats.org/officeDocument/2006/relationships/tags" Target="../tags/tag856.xml"/><Relationship Id="rId64" Type="http://schemas.openxmlformats.org/officeDocument/2006/relationships/tags" Target="../tags/tag864.xml"/><Relationship Id="rId69" Type="http://schemas.openxmlformats.org/officeDocument/2006/relationships/image" Target="../media/image18.emf"/><Relationship Id="rId8" Type="http://schemas.openxmlformats.org/officeDocument/2006/relationships/tags" Target="../tags/tag808.xml"/><Relationship Id="rId51" Type="http://schemas.openxmlformats.org/officeDocument/2006/relationships/tags" Target="../tags/tag851.xml"/><Relationship Id="rId3" Type="http://schemas.openxmlformats.org/officeDocument/2006/relationships/tags" Target="../tags/tag803.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tags" Target="../tags/tag825.xml"/><Relationship Id="rId33" Type="http://schemas.openxmlformats.org/officeDocument/2006/relationships/tags" Target="../tags/tag833.xml"/><Relationship Id="rId38" Type="http://schemas.openxmlformats.org/officeDocument/2006/relationships/tags" Target="../tags/tag838.xml"/><Relationship Id="rId46" Type="http://schemas.openxmlformats.org/officeDocument/2006/relationships/tags" Target="../tags/tag846.xml"/><Relationship Id="rId59" Type="http://schemas.openxmlformats.org/officeDocument/2006/relationships/tags" Target="../tags/tag859.xml"/><Relationship Id="rId67" Type="http://schemas.openxmlformats.org/officeDocument/2006/relationships/notesSlide" Target="../notesSlides/notesSlide9.xml"/><Relationship Id="rId20" Type="http://schemas.openxmlformats.org/officeDocument/2006/relationships/tags" Target="../tags/tag820.xml"/><Relationship Id="rId41" Type="http://schemas.openxmlformats.org/officeDocument/2006/relationships/tags" Target="../tags/tag841.xml"/><Relationship Id="rId54" Type="http://schemas.openxmlformats.org/officeDocument/2006/relationships/tags" Target="../tags/tag854.xml"/><Relationship Id="rId62" Type="http://schemas.openxmlformats.org/officeDocument/2006/relationships/tags" Target="../tags/tag862.xml"/><Relationship Id="rId70" Type="http://schemas.openxmlformats.org/officeDocument/2006/relationships/chart" Target="../charts/chart16.xml"/><Relationship Id="rId1" Type="http://schemas.openxmlformats.org/officeDocument/2006/relationships/tags" Target="../tags/tag801.xml"/><Relationship Id="rId6" Type="http://schemas.openxmlformats.org/officeDocument/2006/relationships/tags" Target="../tags/tag806.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tags" Target="../tags/tag828.xml"/><Relationship Id="rId36" Type="http://schemas.openxmlformats.org/officeDocument/2006/relationships/tags" Target="../tags/tag836.xml"/><Relationship Id="rId49" Type="http://schemas.openxmlformats.org/officeDocument/2006/relationships/tags" Target="../tags/tag849.xml"/><Relationship Id="rId57" Type="http://schemas.openxmlformats.org/officeDocument/2006/relationships/tags" Target="../tags/tag857.xml"/><Relationship Id="rId10" Type="http://schemas.openxmlformats.org/officeDocument/2006/relationships/tags" Target="../tags/tag810.xml"/><Relationship Id="rId31" Type="http://schemas.openxmlformats.org/officeDocument/2006/relationships/tags" Target="../tags/tag831.xml"/><Relationship Id="rId44" Type="http://schemas.openxmlformats.org/officeDocument/2006/relationships/tags" Target="../tags/tag844.xml"/><Relationship Id="rId52" Type="http://schemas.openxmlformats.org/officeDocument/2006/relationships/tags" Target="../tags/tag852.xml"/><Relationship Id="rId60" Type="http://schemas.openxmlformats.org/officeDocument/2006/relationships/tags" Target="../tags/tag860.xml"/><Relationship Id="rId65" Type="http://schemas.openxmlformats.org/officeDocument/2006/relationships/tags" Target="../tags/tag865.xml"/><Relationship Id="rId4" Type="http://schemas.openxmlformats.org/officeDocument/2006/relationships/tags" Target="../tags/tag804.xml"/><Relationship Id="rId9" Type="http://schemas.openxmlformats.org/officeDocument/2006/relationships/tags" Target="../tags/tag809.xml"/><Relationship Id="rId13" Type="http://schemas.openxmlformats.org/officeDocument/2006/relationships/tags" Target="../tags/tag813.xml"/><Relationship Id="rId18" Type="http://schemas.openxmlformats.org/officeDocument/2006/relationships/tags" Target="../tags/tag818.xml"/><Relationship Id="rId39" Type="http://schemas.openxmlformats.org/officeDocument/2006/relationships/tags" Target="../tags/tag839.xml"/><Relationship Id="rId34" Type="http://schemas.openxmlformats.org/officeDocument/2006/relationships/tags" Target="../tags/tag834.xml"/><Relationship Id="rId50" Type="http://schemas.openxmlformats.org/officeDocument/2006/relationships/tags" Target="../tags/tag850.xml"/><Relationship Id="rId55" Type="http://schemas.openxmlformats.org/officeDocument/2006/relationships/tags" Target="../tags/tag85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tags" Target="../tags/tag873.xml"/><Relationship Id="rId13" Type="http://schemas.openxmlformats.org/officeDocument/2006/relationships/tags" Target="../tags/tag878.xml"/><Relationship Id="rId18" Type="http://schemas.openxmlformats.org/officeDocument/2006/relationships/oleObject" Target="../embeddings/oleObject26.bin"/><Relationship Id="rId3" Type="http://schemas.openxmlformats.org/officeDocument/2006/relationships/tags" Target="../tags/tag868.xml"/><Relationship Id="rId7" Type="http://schemas.openxmlformats.org/officeDocument/2006/relationships/tags" Target="../tags/tag872.xml"/><Relationship Id="rId12" Type="http://schemas.openxmlformats.org/officeDocument/2006/relationships/tags" Target="../tags/tag877.xml"/><Relationship Id="rId17" Type="http://schemas.openxmlformats.org/officeDocument/2006/relationships/notesSlide" Target="../notesSlides/notesSlide10.xml"/><Relationship Id="rId2" Type="http://schemas.openxmlformats.org/officeDocument/2006/relationships/tags" Target="../tags/tag867.xml"/><Relationship Id="rId16" Type="http://schemas.openxmlformats.org/officeDocument/2006/relationships/slideLayout" Target="../slideLayouts/slideLayout3.xml"/><Relationship Id="rId20" Type="http://schemas.openxmlformats.org/officeDocument/2006/relationships/chart" Target="../charts/chart18.xml"/><Relationship Id="rId1" Type="http://schemas.openxmlformats.org/officeDocument/2006/relationships/tags" Target="../tags/tag866.xml"/><Relationship Id="rId6" Type="http://schemas.openxmlformats.org/officeDocument/2006/relationships/tags" Target="../tags/tag871.xml"/><Relationship Id="rId11" Type="http://schemas.openxmlformats.org/officeDocument/2006/relationships/tags" Target="../tags/tag876.xml"/><Relationship Id="rId5" Type="http://schemas.openxmlformats.org/officeDocument/2006/relationships/tags" Target="../tags/tag870.xml"/><Relationship Id="rId15" Type="http://schemas.openxmlformats.org/officeDocument/2006/relationships/tags" Target="../tags/tag880.xml"/><Relationship Id="rId10" Type="http://schemas.openxmlformats.org/officeDocument/2006/relationships/tags" Target="../tags/tag875.xml"/><Relationship Id="rId19" Type="http://schemas.openxmlformats.org/officeDocument/2006/relationships/image" Target="../media/image21.emf"/><Relationship Id="rId4" Type="http://schemas.openxmlformats.org/officeDocument/2006/relationships/tags" Target="../tags/tag869.xml"/><Relationship Id="rId9" Type="http://schemas.openxmlformats.org/officeDocument/2006/relationships/tags" Target="../tags/tag874.xml"/><Relationship Id="rId14" Type="http://schemas.openxmlformats.org/officeDocument/2006/relationships/tags" Target="../tags/tag879.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881.xml"/><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8" Type="http://schemas.openxmlformats.org/officeDocument/2006/relationships/tags" Target="../tags/tag889.xml"/><Relationship Id="rId13" Type="http://schemas.openxmlformats.org/officeDocument/2006/relationships/tags" Target="../tags/tag894.xml"/><Relationship Id="rId18" Type="http://schemas.openxmlformats.org/officeDocument/2006/relationships/tags" Target="../tags/tag899.xml"/><Relationship Id="rId26" Type="http://schemas.openxmlformats.org/officeDocument/2006/relationships/tags" Target="../tags/tag907.xml"/><Relationship Id="rId3" Type="http://schemas.openxmlformats.org/officeDocument/2006/relationships/tags" Target="../tags/tag884.xml"/><Relationship Id="rId21" Type="http://schemas.openxmlformats.org/officeDocument/2006/relationships/tags" Target="../tags/tag902.xml"/><Relationship Id="rId7" Type="http://schemas.openxmlformats.org/officeDocument/2006/relationships/tags" Target="../tags/tag888.xml"/><Relationship Id="rId12" Type="http://schemas.openxmlformats.org/officeDocument/2006/relationships/tags" Target="../tags/tag893.xml"/><Relationship Id="rId17" Type="http://schemas.openxmlformats.org/officeDocument/2006/relationships/tags" Target="../tags/tag898.xml"/><Relationship Id="rId25" Type="http://schemas.openxmlformats.org/officeDocument/2006/relationships/tags" Target="../tags/tag906.xml"/><Relationship Id="rId2" Type="http://schemas.openxmlformats.org/officeDocument/2006/relationships/tags" Target="../tags/tag883.xml"/><Relationship Id="rId16" Type="http://schemas.openxmlformats.org/officeDocument/2006/relationships/tags" Target="../tags/tag897.xml"/><Relationship Id="rId20" Type="http://schemas.openxmlformats.org/officeDocument/2006/relationships/tags" Target="../tags/tag901.xml"/><Relationship Id="rId29" Type="http://schemas.openxmlformats.org/officeDocument/2006/relationships/oleObject" Target="../embeddings/oleObject28.bin"/><Relationship Id="rId1" Type="http://schemas.openxmlformats.org/officeDocument/2006/relationships/tags" Target="../tags/tag882.xml"/><Relationship Id="rId6" Type="http://schemas.openxmlformats.org/officeDocument/2006/relationships/tags" Target="../tags/tag887.xml"/><Relationship Id="rId11" Type="http://schemas.openxmlformats.org/officeDocument/2006/relationships/tags" Target="../tags/tag892.xml"/><Relationship Id="rId24" Type="http://schemas.openxmlformats.org/officeDocument/2006/relationships/tags" Target="../tags/tag905.xml"/><Relationship Id="rId5" Type="http://schemas.openxmlformats.org/officeDocument/2006/relationships/tags" Target="../tags/tag886.xml"/><Relationship Id="rId15" Type="http://schemas.openxmlformats.org/officeDocument/2006/relationships/tags" Target="../tags/tag896.xml"/><Relationship Id="rId23" Type="http://schemas.openxmlformats.org/officeDocument/2006/relationships/tags" Target="../tags/tag904.xml"/><Relationship Id="rId28" Type="http://schemas.openxmlformats.org/officeDocument/2006/relationships/slideLayout" Target="../slideLayouts/slideLayout3.xml"/><Relationship Id="rId10" Type="http://schemas.openxmlformats.org/officeDocument/2006/relationships/tags" Target="../tags/tag891.xml"/><Relationship Id="rId19" Type="http://schemas.openxmlformats.org/officeDocument/2006/relationships/tags" Target="../tags/tag900.xml"/><Relationship Id="rId31" Type="http://schemas.openxmlformats.org/officeDocument/2006/relationships/chart" Target="../charts/chart19.xml"/><Relationship Id="rId4" Type="http://schemas.openxmlformats.org/officeDocument/2006/relationships/tags" Target="../tags/tag885.xml"/><Relationship Id="rId9" Type="http://schemas.openxmlformats.org/officeDocument/2006/relationships/tags" Target="../tags/tag890.xml"/><Relationship Id="rId14" Type="http://schemas.openxmlformats.org/officeDocument/2006/relationships/tags" Target="../tags/tag895.xml"/><Relationship Id="rId22" Type="http://schemas.openxmlformats.org/officeDocument/2006/relationships/tags" Target="../tags/tag903.xml"/><Relationship Id="rId27" Type="http://schemas.openxmlformats.org/officeDocument/2006/relationships/tags" Target="../tags/tag908.xml"/><Relationship Id="rId30"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910.xml"/><Relationship Id="rId5" Type="http://schemas.openxmlformats.org/officeDocument/2006/relationships/image" Target="../media/image21.emf"/><Relationship Id="rId4" Type="http://schemas.openxmlformats.org/officeDocument/2006/relationships/oleObject" Target="../embeddings/oleObject29.bin"/></Relationships>
</file>

<file path=ppt/slides/_rels/slide35.xml.rels><?xml version="1.0" encoding="UTF-8" standalone="yes"?>
<Relationships xmlns="http://schemas.openxmlformats.org/package/2006/relationships"><Relationship Id="rId8" Type="http://schemas.openxmlformats.org/officeDocument/2006/relationships/hyperlink" Target="https://www.hsa.gov.sg/medical-devices/fees" TargetMode="External"/><Relationship Id="rId3" Type="http://schemas.openxmlformats.org/officeDocument/2006/relationships/oleObject" Target="../embeddings/oleObject30.bin"/><Relationship Id="rId7" Type="http://schemas.openxmlformats.org/officeDocument/2006/relationships/hyperlink" Target="https://www.hsa.gov.sg/medical-devices/registration/risk-classification" TargetMode="External"/><Relationship Id="rId2" Type="http://schemas.openxmlformats.org/officeDocument/2006/relationships/slideLayout" Target="../slideLayouts/slideLayout3.xml"/><Relationship Id="rId1" Type="http://schemas.openxmlformats.org/officeDocument/2006/relationships/tags" Target="../tags/tag911.xml"/><Relationship Id="rId6" Type="http://schemas.openxmlformats.org/officeDocument/2006/relationships/hyperlink" Target="https://eservice.hsa.gov.sg/osc/portal/jsp/AA/choose.jsp" TargetMode="External"/><Relationship Id="rId5" Type="http://schemas.openxmlformats.org/officeDocument/2006/relationships/hyperlink" Target="https://www.hsa.gov.sg/medical-devices" TargetMode="External"/><Relationship Id="rId4" Type="http://schemas.openxmlformats.org/officeDocument/2006/relationships/image" Target="../media/image2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12.xml"/><Relationship Id="rId4" Type="http://schemas.openxmlformats.org/officeDocument/2006/relationships/image" Target="../media/image2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913.xml"/><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914.xml"/><Relationship Id="rId4" Type="http://schemas.openxmlformats.org/officeDocument/2006/relationships/image" Target="../media/image2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915.xml"/><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916.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2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21.emf"/></Relationships>
</file>

<file path=ppt/slides/_rels/slide4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36.bin"/><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91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1.emf"/><Relationship Id="rId9" Type="http://schemas.openxmlformats.org/officeDocument/2006/relationships/image" Target="../media/image27.jpe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2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2.xml"/><Relationship Id="rId4" Type="http://schemas.openxmlformats.org/officeDocument/2006/relationships/image" Target="../media/image2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3.xml"/><Relationship Id="rId4" Type="http://schemas.openxmlformats.org/officeDocument/2006/relationships/image" Target="../media/image2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4.xml"/><Relationship Id="rId4" Type="http://schemas.openxmlformats.org/officeDocument/2006/relationships/image" Target="../media/image21.emf"/></Relationships>
</file>

<file path=ppt/slides/_rels/slide49.xml.rels><?xml version="1.0" encoding="UTF-8" standalone="yes"?>
<Relationships xmlns="http://schemas.openxmlformats.org/package/2006/relationships"><Relationship Id="rId13" Type="http://schemas.openxmlformats.org/officeDocument/2006/relationships/tags" Target="../tags/tag937.xml"/><Relationship Id="rId18" Type="http://schemas.openxmlformats.org/officeDocument/2006/relationships/tags" Target="../tags/tag942.xml"/><Relationship Id="rId26" Type="http://schemas.openxmlformats.org/officeDocument/2006/relationships/tags" Target="../tags/tag950.xml"/><Relationship Id="rId39" Type="http://schemas.openxmlformats.org/officeDocument/2006/relationships/tags" Target="../tags/tag963.xml"/><Relationship Id="rId21" Type="http://schemas.openxmlformats.org/officeDocument/2006/relationships/tags" Target="../tags/tag945.xml"/><Relationship Id="rId34" Type="http://schemas.openxmlformats.org/officeDocument/2006/relationships/tags" Target="../tags/tag958.xml"/><Relationship Id="rId42" Type="http://schemas.openxmlformats.org/officeDocument/2006/relationships/tags" Target="../tags/tag966.xml"/><Relationship Id="rId47" Type="http://schemas.openxmlformats.org/officeDocument/2006/relationships/tags" Target="../tags/tag971.xml"/><Relationship Id="rId50" Type="http://schemas.openxmlformats.org/officeDocument/2006/relationships/tags" Target="../tags/tag974.xml"/><Relationship Id="rId55" Type="http://schemas.openxmlformats.org/officeDocument/2006/relationships/tags" Target="../tags/tag979.xml"/><Relationship Id="rId7" Type="http://schemas.openxmlformats.org/officeDocument/2006/relationships/tags" Target="../tags/tag931.xml"/><Relationship Id="rId2" Type="http://schemas.openxmlformats.org/officeDocument/2006/relationships/tags" Target="../tags/tag926.xml"/><Relationship Id="rId16" Type="http://schemas.openxmlformats.org/officeDocument/2006/relationships/tags" Target="../tags/tag940.xml"/><Relationship Id="rId29" Type="http://schemas.openxmlformats.org/officeDocument/2006/relationships/tags" Target="../tags/tag953.xml"/><Relationship Id="rId11" Type="http://schemas.openxmlformats.org/officeDocument/2006/relationships/tags" Target="../tags/tag935.xml"/><Relationship Id="rId24" Type="http://schemas.openxmlformats.org/officeDocument/2006/relationships/tags" Target="../tags/tag948.xml"/><Relationship Id="rId32" Type="http://schemas.openxmlformats.org/officeDocument/2006/relationships/tags" Target="../tags/tag956.xml"/><Relationship Id="rId37" Type="http://schemas.openxmlformats.org/officeDocument/2006/relationships/tags" Target="../tags/tag961.xml"/><Relationship Id="rId40" Type="http://schemas.openxmlformats.org/officeDocument/2006/relationships/tags" Target="../tags/tag964.xml"/><Relationship Id="rId45" Type="http://schemas.openxmlformats.org/officeDocument/2006/relationships/tags" Target="../tags/tag969.xml"/><Relationship Id="rId53" Type="http://schemas.openxmlformats.org/officeDocument/2006/relationships/tags" Target="../tags/tag977.xml"/><Relationship Id="rId58" Type="http://schemas.openxmlformats.org/officeDocument/2006/relationships/slideLayout" Target="../slideLayouts/slideLayout3.xml"/><Relationship Id="rId5" Type="http://schemas.openxmlformats.org/officeDocument/2006/relationships/tags" Target="../tags/tag929.xml"/><Relationship Id="rId61" Type="http://schemas.openxmlformats.org/officeDocument/2006/relationships/chart" Target="../charts/chart20.xml"/><Relationship Id="rId19" Type="http://schemas.openxmlformats.org/officeDocument/2006/relationships/tags" Target="../tags/tag943.xml"/><Relationship Id="rId14" Type="http://schemas.openxmlformats.org/officeDocument/2006/relationships/tags" Target="../tags/tag938.xml"/><Relationship Id="rId22" Type="http://schemas.openxmlformats.org/officeDocument/2006/relationships/tags" Target="../tags/tag946.xml"/><Relationship Id="rId27" Type="http://schemas.openxmlformats.org/officeDocument/2006/relationships/tags" Target="../tags/tag951.xml"/><Relationship Id="rId30" Type="http://schemas.openxmlformats.org/officeDocument/2006/relationships/tags" Target="../tags/tag954.xml"/><Relationship Id="rId35" Type="http://schemas.openxmlformats.org/officeDocument/2006/relationships/tags" Target="../tags/tag959.xml"/><Relationship Id="rId43" Type="http://schemas.openxmlformats.org/officeDocument/2006/relationships/tags" Target="../tags/tag967.xml"/><Relationship Id="rId48" Type="http://schemas.openxmlformats.org/officeDocument/2006/relationships/tags" Target="../tags/tag972.xml"/><Relationship Id="rId56" Type="http://schemas.openxmlformats.org/officeDocument/2006/relationships/tags" Target="../tags/tag980.xml"/><Relationship Id="rId8" Type="http://schemas.openxmlformats.org/officeDocument/2006/relationships/tags" Target="../tags/tag932.xml"/><Relationship Id="rId51" Type="http://schemas.openxmlformats.org/officeDocument/2006/relationships/tags" Target="../tags/tag975.xml"/><Relationship Id="rId3" Type="http://schemas.openxmlformats.org/officeDocument/2006/relationships/tags" Target="../tags/tag927.xml"/><Relationship Id="rId12" Type="http://schemas.openxmlformats.org/officeDocument/2006/relationships/tags" Target="../tags/tag936.xml"/><Relationship Id="rId17" Type="http://schemas.openxmlformats.org/officeDocument/2006/relationships/tags" Target="../tags/tag941.xml"/><Relationship Id="rId25" Type="http://schemas.openxmlformats.org/officeDocument/2006/relationships/tags" Target="../tags/tag949.xml"/><Relationship Id="rId33" Type="http://schemas.openxmlformats.org/officeDocument/2006/relationships/tags" Target="../tags/tag957.xml"/><Relationship Id="rId38" Type="http://schemas.openxmlformats.org/officeDocument/2006/relationships/tags" Target="../tags/tag962.xml"/><Relationship Id="rId46" Type="http://schemas.openxmlformats.org/officeDocument/2006/relationships/tags" Target="../tags/tag970.xml"/><Relationship Id="rId59" Type="http://schemas.openxmlformats.org/officeDocument/2006/relationships/oleObject" Target="../embeddings/oleObject38.bin"/><Relationship Id="rId20" Type="http://schemas.openxmlformats.org/officeDocument/2006/relationships/tags" Target="../tags/tag944.xml"/><Relationship Id="rId41" Type="http://schemas.openxmlformats.org/officeDocument/2006/relationships/tags" Target="../tags/tag965.xml"/><Relationship Id="rId54" Type="http://schemas.openxmlformats.org/officeDocument/2006/relationships/tags" Target="../tags/tag978.xml"/><Relationship Id="rId1" Type="http://schemas.openxmlformats.org/officeDocument/2006/relationships/tags" Target="../tags/tag925.xml"/><Relationship Id="rId6" Type="http://schemas.openxmlformats.org/officeDocument/2006/relationships/tags" Target="../tags/tag930.xml"/><Relationship Id="rId15" Type="http://schemas.openxmlformats.org/officeDocument/2006/relationships/tags" Target="../tags/tag939.xml"/><Relationship Id="rId23" Type="http://schemas.openxmlformats.org/officeDocument/2006/relationships/tags" Target="../tags/tag947.xml"/><Relationship Id="rId28" Type="http://schemas.openxmlformats.org/officeDocument/2006/relationships/tags" Target="../tags/tag952.xml"/><Relationship Id="rId36" Type="http://schemas.openxmlformats.org/officeDocument/2006/relationships/tags" Target="../tags/tag960.xml"/><Relationship Id="rId49" Type="http://schemas.openxmlformats.org/officeDocument/2006/relationships/tags" Target="../tags/tag973.xml"/><Relationship Id="rId57" Type="http://schemas.openxmlformats.org/officeDocument/2006/relationships/tags" Target="../tags/tag981.xml"/><Relationship Id="rId10" Type="http://schemas.openxmlformats.org/officeDocument/2006/relationships/tags" Target="../tags/tag934.xml"/><Relationship Id="rId31" Type="http://schemas.openxmlformats.org/officeDocument/2006/relationships/tags" Target="../tags/tag955.xml"/><Relationship Id="rId44" Type="http://schemas.openxmlformats.org/officeDocument/2006/relationships/tags" Target="../tags/tag968.xml"/><Relationship Id="rId52" Type="http://schemas.openxmlformats.org/officeDocument/2006/relationships/tags" Target="../tags/tag976.xml"/><Relationship Id="rId60" Type="http://schemas.openxmlformats.org/officeDocument/2006/relationships/image" Target="../media/image18.emf"/><Relationship Id="rId4" Type="http://schemas.openxmlformats.org/officeDocument/2006/relationships/tags" Target="../tags/tag928.xml"/><Relationship Id="rId9" Type="http://schemas.openxmlformats.org/officeDocument/2006/relationships/tags" Target="../tags/tag9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2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84.xml"/><Relationship Id="rId7" Type="http://schemas.openxmlformats.org/officeDocument/2006/relationships/tags" Target="../tags/tag988.xml"/><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chart" Target="../charts/chart21.xml"/><Relationship Id="rId5" Type="http://schemas.openxmlformats.org/officeDocument/2006/relationships/tags" Target="../tags/tag986.xml"/><Relationship Id="rId10" Type="http://schemas.openxmlformats.org/officeDocument/2006/relationships/image" Target="../media/image1.emf"/><Relationship Id="rId4" Type="http://schemas.openxmlformats.org/officeDocument/2006/relationships/tags" Target="../tags/tag985.xml"/><Relationship Id="rId9" Type="http://schemas.openxmlformats.org/officeDocument/2006/relationships/oleObject" Target="../embeddings/oleObject39.bin"/></Relationships>
</file>

<file path=ppt/slides/_rels/slide51.xml.rels><?xml version="1.0" encoding="UTF-8" standalone="yes"?>
<Relationships xmlns="http://schemas.openxmlformats.org/package/2006/relationships"><Relationship Id="rId13" Type="http://schemas.openxmlformats.org/officeDocument/2006/relationships/tags" Target="../tags/tag1001.xml"/><Relationship Id="rId18" Type="http://schemas.openxmlformats.org/officeDocument/2006/relationships/tags" Target="../tags/tag1006.xml"/><Relationship Id="rId26" Type="http://schemas.openxmlformats.org/officeDocument/2006/relationships/tags" Target="../tags/tag1014.xml"/><Relationship Id="rId39" Type="http://schemas.openxmlformats.org/officeDocument/2006/relationships/tags" Target="../tags/tag1027.xml"/><Relationship Id="rId21" Type="http://schemas.openxmlformats.org/officeDocument/2006/relationships/tags" Target="../tags/tag1009.xml"/><Relationship Id="rId34" Type="http://schemas.openxmlformats.org/officeDocument/2006/relationships/tags" Target="../tags/tag1022.xml"/><Relationship Id="rId42" Type="http://schemas.openxmlformats.org/officeDocument/2006/relationships/tags" Target="../tags/tag1030.xml"/><Relationship Id="rId47" Type="http://schemas.openxmlformats.org/officeDocument/2006/relationships/tags" Target="../tags/tag1035.xml"/><Relationship Id="rId50" Type="http://schemas.openxmlformats.org/officeDocument/2006/relationships/tags" Target="../tags/tag1038.xml"/><Relationship Id="rId55" Type="http://schemas.openxmlformats.org/officeDocument/2006/relationships/chart" Target="../charts/chart23.xml"/><Relationship Id="rId7" Type="http://schemas.openxmlformats.org/officeDocument/2006/relationships/tags" Target="../tags/tag995.xml"/><Relationship Id="rId2" Type="http://schemas.openxmlformats.org/officeDocument/2006/relationships/tags" Target="../tags/tag990.xml"/><Relationship Id="rId16" Type="http://schemas.openxmlformats.org/officeDocument/2006/relationships/tags" Target="../tags/tag1004.xml"/><Relationship Id="rId29" Type="http://schemas.openxmlformats.org/officeDocument/2006/relationships/tags" Target="../tags/tag1017.xml"/><Relationship Id="rId11" Type="http://schemas.openxmlformats.org/officeDocument/2006/relationships/tags" Target="../tags/tag999.xml"/><Relationship Id="rId24" Type="http://schemas.openxmlformats.org/officeDocument/2006/relationships/tags" Target="../tags/tag1012.xml"/><Relationship Id="rId32" Type="http://schemas.openxmlformats.org/officeDocument/2006/relationships/tags" Target="../tags/tag1020.xml"/><Relationship Id="rId37" Type="http://schemas.openxmlformats.org/officeDocument/2006/relationships/tags" Target="../tags/tag1025.xml"/><Relationship Id="rId40" Type="http://schemas.openxmlformats.org/officeDocument/2006/relationships/tags" Target="../tags/tag1028.xml"/><Relationship Id="rId45" Type="http://schemas.openxmlformats.org/officeDocument/2006/relationships/tags" Target="../tags/tag1033.xml"/><Relationship Id="rId53" Type="http://schemas.openxmlformats.org/officeDocument/2006/relationships/image" Target="../media/image18.emf"/><Relationship Id="rId5" Type="http://schemas.openxmlformats.org/officeDocument/2006/relationships/tags" Target="../tags/tag993.xml"/><Relationship Id="rId10" Type="http://schemas.openxmlformats.org/officeDocument/2006/relationships/tags" Target="../tags/tag998.xml"/><Relationship Id="rId19" Type="http://schemas.openxmlformats.org/officeDocument/2006/relationships/tags" Target="../tags/tag1007.xml"/><Relationship Id="rId31" Type="http://schemas.openxmlformats.org/officeDocument/2006/relationships/tags" Target="../tags/tag1019.xml"/><Relationship Id="rId44" Type="http://schemas.openxmlformats.org/officeDocument/2006/relationships/tags" Target="../tags/tag1032.xml"/><Relationship Id="rId52" Type="http://schemas.openxmlformats.org/officeDocument/2006/relationships/oleObject" Target="../embeddings/oleObject40.bin"/><Relationship Id="rId4" Type="http://schemas.openxmlformats.org/officeDocument/2006/relationships/tags" Target="../tags/tag992.xml"/><Relationship Id="rId9" Type="http://schemas.openxmlformats.org/officeDocument/2006/relationships/tags" Target="../tags/tag997.xml"/><Relationship Id="rId14" Type="http://schemas.openxmlformats.org/officeDocument/2006/relationships/tags" Target="../tags/tag1002.xml"/><Relationship Id="rId22" Type="http://schemas.openxmlformats.org/officeDocument/2006/relationships/tags" Target="../tags/tag1010.xml"/><Relationship Id="rId27" Type="http://schemas.openxmlformats.org/officeDocument/2006/relationships/tags" Target="../tags/tag1015.xml"/><Relationship Id="rId30" Type="http://schemas.openxmlformats.org/officeDocument/2006/relationships/tags" Target="../tags/tag1018.xml"/><Relationship Id="rId35" Type="http://schemas.openxmlformats.org/officeDocument/2006/relationships/tags" Target="../tags/tag1023.xml"/><Relationship Id="rId43" Type="http://schemas.openxmlformats.org/officeDocument/2006/relationships/tags" Target="../tags/tag1031.xml"/><Relationship Id="rId48" Type="http://schemas.openxmlformats.org/officeDocument/2006/relationships/tags" Target="../tags/tag1036.xml"/><Relationship Id="rId8" Type="http://schemas.openxmlformats.org/officeDocument/2006/relationships/tags" Target="../tags/tag996.xml"/><Relationship Id="rId51" Type="http://schemas.openxmlformats.org/officeDocument/2006/relationships/slideLayout" Target="../slideLayouts/slideLayout3.xml"/><Relationship Id="rId3" Type="http://schemas.openxmlformats.org/officeDocument/2006/relationships/tags" Target="../tags/tag991.xml"/><Relationship Id="rId12" Type="http://schemas.openxmlformats.org/officeDocument/2006/relationships/tags" Target="../tags/tag1000.xml"/><Relationship Id="rId17" Type="http://schemas.openxmlformats.org/officeDocument/2006/relationships/tags" Target="../tags/tag1005.xml"/><Relationship Id="rId25" Type="http://schemas.openxmlformats.org/officeDocument/2006/relationships/tags" Target="../tags/tag1013.xml"/><Relationship Id="rId33" Type="http://schemas.openxmlformats.org/officeDocument/2006/relationships/tags" Target="../tags/tag1021.xml"/><Relationship Id="rId38" Type="http://schemas.openxmlformats.org/officeDocument/2006/relationships/tags" Target="../tags/tag1026.xml"/><Relationship Id="rId46" Type="http://schemas.openxmlformats.org/officeDocument/2006/relationships/tags" Target="../tags/tag1034.xml"/><Relationship Id="rId20" Type="http://schemas.openxmlformats.org/officeDocument/2006/relationships/tags" Target="../tags/tag1008.xml"/><Relationship Id="rId41" Type="http://schemas.openxmlformats.org/officeDocument/2006/relationships/tags" Target="../tags/tag1029.xml"/><Relationship Id="rId54" Type="http://schemas.openxmlformats.org/officeDocument/2006/relationships/chart" Target="../charts/chart22.xml"/><Relationship Id="rId1" Type="http://schemas.openxmlformats.org/officeDocument/2006/relationships/tags" Target="../tags/tag989.xml"/><Relationship Id="rId6" Type="http://schemas.openxmlformats.org/officeDocument/2006/relationships/tags" Target="../tags/tag994.xml"/><Relationship Id="rId15" Type="http://schemas.openxmlformats.org/officeDocument/2006/relationships/tags" Target="../tags/tag1003.xml"/><Relationship Id="rId23" Type="http://schemas.openxmlformats.org/officeDocument/2006/relationships/tags" Target="../tags/tag1011.xml"/><Relationship Id="rId28" Type="http://schemas.openxmlformats.org/officeDocument/2006/relationships/tags" Target="../tags/tag1016.xml"/><Relationship Id="rId36" Type="http://schemas.openxmlformats.org/officeDocument/2006/relationships/tags" Target="../tags/tag1024.xml"/><Relationship Id="rId49" Type="http://schemas.openxmlformats.org/officeDocument/2006/relationships/tags" Target="../tags/tag1037.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1039.xml"/><Relationship Id="rId4" Type="http://schemas.openxmlformats.org/officeDocument/2006/relationships/image" Target="../media/image2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040.xml"/><Relationship Id="rId5" Type="http://schemas.openxmlformats.org/officeDocument/2006/relationships/image" Target="../media/image21.emf"/><Relationship Id="rId4" Type="http://schemas.openxmlformats.org/officeDocument/2006/relationships/oleObject" Target="../embeddings/oleObject41.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1041.xml"/><Relationship Id="rId4" Type="http://schemas.openxmlformats.org/officeDocument/2006/relationships/image" Target="../media/image2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042.xml"/><Relationship Id="rId5" Type="http://schemas.openxmlformats.org/officeDocument/2006/relationships/image" Target="../media/image21.emf"/><Relationship Id="rId4" Type="http://schemas.openxmlformats.org/officeDocument/2006/relationships/oleObject" Target="../embeddings/oleObject42.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1043.xml"/><Relationship Id="rId4" Type="http://schemas.openxmlformats.org/officeDocument/2006/relationships/image" Target="../media/image2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1044.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1045.xml"/><Relationship Id="rId4" Type="http://schemas.openxmlformats.org/officeDocument/2006/relationships/image" Target="../media/image21.emf"/></Relationships>
</file>

<file path=ppt/slides/_rels/slide59.xml.rels><?xml version="1.0" encoding="UTF-8" standalone="yes"?>
<Relationships xmlns="http://schemas.openxmlformats.org/package/2006/relationships"><Relationship Id="rId13" Type="http://schemas.openxmlformats.org/officeDocument/2006/relationships/tags" Target="../tags/tag1058.xml"/><Relationship Id="rId18" Type="http://schemas.openxmlformats.org/officeDocument/2006/relationships/tags" Target="../tags/tag1063.xml"/><Relationship Id="rId26" Type="http://schemas.openxmlformats.org/officeDocument/2006/relationships/tags" Target="../tags/tag1071.xml"/><Relationship Id="rId39" Type="http://schemas.openxmlformats.org/officeDocument/2006/relationships/tags" Target="../tags/tag1084.xml"/><Relationship Id="rId21" Type="http://schemas.openxmlformats.org/officeDocument/2006/relationships/tags" Target="../tags/tag1066.xml"/><Relationship Id="rId34" Type="http://schemas.openxmlformats.org/officeDocument/2006/relationships/tags" Target="../tags/tag1079.xml"/><Relationship Id="rId42" Type="http://schemas.openxmlformats.org/officeDocument/2006/relationships/tags" Target="../tags/tag1087.xml"/><Relationship Id="rId47" Type="http://schemas.openxmlformats.org/officeDocument/2006/relationships/tags" Target="../tags/tag1092.xml"/><Relationship Id="rId50" Type="http://schemas.openxmlformats.org/officeDocument/2006/relationships/tags" Target="../tags/tag1095.xml"/><Relationship Id="rId55" Type="http://schemas.openxmlformats.org/officeDocument/2006/relationships/slideLayout" Target="../slideLayouts/slideLayout3.xml"/><Relationship Id="rId7" Type="http://schemas.openxmlformats.org/officeDocument/2006/relationships/tags" Target="../tags/tag1052.xml"/><Relationship Id="rId2" Type="http://schemas.openxmlformats.org/officeDocument/2006/relationships/tags" Target="../tags/tag1047.xml"/><Relationship Id="rId16" Type="http://schemas.openxmlformats.org/officeDocument/2006/relationships/tags" Target="../tags/tag1061.xml"/><Relationship Id="rId29" Type="http://schemas.openxmlformats.org/officeDocument/2006/relationships/tags" Target="../tags/tag1074.xml"/><Relationship Id="rId11" Type="http://schemas.openxmlformats.org/officeDocument/2006/relationships/tags" Target="../tags/tag1056.xml"/><Relationship Id="rId24" Type="http://schemas.openxmlformats.org/officeDocument/2006/relationships/tags" Target="../tags/tag1069.xml"/><Relationship Id="rId32" Type="http://schemas.openxmlformats.org/officeDocument/2006/relationships/tags" Target="../tags/tag1077.xml"/><Relationship Id="rId37" Type="http://schemas.openxmlformats.org/officeDocument/2006/relationships/tags" Target="../tags/tag1082.xml"/><Relationship Id="rId40" Type="http://schemas.openxmlformats.org/officeDocument/2006/relationships/tags" Target="../tags/tag1085.xml"/><Relationship Id="rId45" Type="http://schemas.openxmlformats.org/officeDocument/2006/relationships/tags" Target="../tags/tag1090.xml"/><Relationship Id="rId53" Type="http://schemas.openxmlformats.org/officeDocument/2006/relationships/tags" Target="../tags/tag1098.xml"/><Relationship Id="rId58" Type="http://schemas.openxmlformats.org/officeDocument/2006/relationships/chart" Target="../charts/chart24.xml"/><Relationship Id="rId5" Type="http://schemas.openxmlformats.org/officeDocument/2006/relationships/tags" Target="../tags/tag1050.xml"/><Relationship Id="rId19" Type="http://schemas.openxmlformats.org/officeDocument/2006/relationships/tags" Target="../tags/tag1064.xml"/><Relationship Id="rId4" Type="http://schemas.openxmlformats.org/officeDocument/2006/relationships/tags" Target="../tags/tag1049.xml"/><Relationship Id="rId9" Type="http://schemas.openxmlformats.org/officeDocument/2006/relationships/tags" Target="../tags/tag1054.xml"/><Relationship Id="rId14" Type="http://schemas.openxmlformats.org/officeDocument/2006/relationships/tags" Target="../tags/tag1059.xml"/><Relationship Id="rId22" Type="http://schemas.openxmlformats.org/officeDocument/2006/relationships/tags" Target="../tags/tag1067.xml"/><Relationship Id="rId27" Type="http://schemas.openxmlformats.org/officeDocument/2006/relationships/tags" Target="../tags/tag1072.xml"/><Relationship Id="rId30" Type="http://schemas.openxmlformats.org/officeDocument/2006/relationships/tags" Target="../tags/tag1075.xml"/><Relationship Id="rId35" Type="http://schemas.openxmlformats.org/officeDocument/2006/relationships/tags" Target="../tags/tag1080.xml"/><Relationship Id="rId43" Type="http://schemas.openxmlformats.org/officeDocument/2006/relationships/tags" Target="../tags/tag1088.xml"/><Relationship Id="rId48" Type="http://schemas.openxmlformats.org/officeDocument/2006/relationships/tags" Target="../tags/tag1093.xml"/><Relationship Id="rId56" Type="http://schemas.openxmlformats.org/officeDocument/2006/relationships/oleObject" Target="../embeddings/oleObject46.bin"/><Relationship Id="rId8" Type="http://schemas.openxmlformats.org/officeDocument/2006/relationships/tags" Target="../tags/tag1053.xml"/><Relationship Id="rId51" Type="http://schemas.openxmlformats.org/officeDocument/2006/relationships/tags" Target="../tags/tag1096.xml"/><Relationship Id="rId3" Type="http://schemas.openxmlformats.org/officeDocument/2006/relationships/tags" Target="../tags/tag1048.xml"/><Relationship Id="rId12" Type="http://schemas.openxmlformats.org/officeDocument/2006/relationships/tags" Target="../tags/tag1057.xml"/><Relationship Id="rId17" Type="http://schemas.openxmlformats.org/officeDocument/2006/relationships/tags" Target="../tags/tag1062.xml"/><Relationship Id="rId25" Type="http://schemas.openxmlformats.org/officeDocument/2006/relationships/tags" Target="../tags/tag1070.xml"/><Relationship Id="rId33" Type="http://schemas.openxmlformats.org/officeDocument/2006/relationships/tags" Target="../tags/tag1078.xml"/><Relationship Id="rId38" Type="http://schemas.openxmlformats.org/officeDocument/2006/relationships/tags" Target="../tags/tag1083.xml"/><Relationship Id="rId46" Type="http://schemas.openxmlformats.org/officeDocument/2006/relationships/tags" Target="../tags/tag1091.xml"/><Relationship Id="rId59" Type="http://schemas.openxmlformats.org/officeDocument/2006/relationships/chart" Target="../charts/chart25.xml"/><Relationship Id="rId20" Type="http://schemas.openxmlformats.org/officeDocument/2006/relationships/tags" Target="../tags/tag1065.xml"/><Relationship Id="rId41" Type="http://schemas.openxmlformats.org/officeDocument/2006/relationships/tags" Target="../tags/tag1086.xml"/><Relationship Id="rId54" Type="http://schemas.openxmlformats.org/officeDocument/2006/relationships/tags" Target="../tags/tag1099.xml"/><Relationship Id="rId1" Type="http://schemas.openxmlformats.org/officeDocument/2006/relationships/tags" Target="../tags/tag1046.xml"/><Relationship Id="rId6" Type="http://schemas.openxmlformats.org/officeDocument/2006/relationships/tags" Target="../tags/tag1051.xml"/><Relationship Id="rId15" Type="http://schemas.openxmlformats.org/officeDocument/2006/relationships/tags" Target="../tags/tag1060.xml"/><Relationship Id="rId23" Type="http://schemas.openxmlformats.org/officeDocument/2006/relationships/tags" Target="../tags/tag1068.xml"/><Relationship Id="rId28" Type="http://schemas.openxmlformats.org/officeDocument/2006/relationships/tags" Target="../tags/tag1073.xml"/><Relationship Id="rId36" Type="http://schemas.openxmlformats.org/officeDocument/2006/relationships/tags" Target="../tags/tag1081.xml"/><Relationship Id="rId49" Type="http://schemas.openxmlformats.org/officeDocument/2006/relationships/tags" Target="../tags/tag1094.xml"/><Relationship Id="rId57" Type="http://schemas.openxmlformats.org/officeDocument/2006/relationships/image" Target="../media/image18.emf"/><Relationship Id="rId10" Type="http://schemas.openxmlformats.org/officeDocument/2006/relationships/tags" Target="../tags/tag1055.xml"/><Relationship Id="rId31" Type="http://schemas.openxmlformats.org/officeDocument/2006/relationships/tags" Target="../tags/tag1076.xml"/><Relationship Id="rId44" Type="http://schemas.openxmlformats.org/officeDocument/2006/relationships/tags" Target="../tags/tag1089.xml"/><Relationship Id="rId52" Type="http://schemas.openxmlformats.org/officeDocument/2006/relationships/tags" Target="../tags/tag1097.xml"/></Relationships>
</file>

<file path=ppt/slides/_rels/slide6.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tags" Target="../tags/tag289.xml"/><Relationship Id="rId43" Type="http://schemas.openxmlformats.org/officeDocument/2006/relationships/tags" Target="../tags/tag53.xml"/><Relationship Id="rId139" Type="http://schemas.openxmlformats.org/officeDocument/2006/relationships/tags" Target="../tags/tag149.xml"/><Relationship Id="rId85" Type="http://schemas.openxmlformats.org/officeDocument/2006/relationships/tags" Target="../tags/tag95.xml"/><Relationship Id="rId150" Type="http://schemas.openxmlformats.org/officeDocument/2006/relationships/tags" Target="../tags/tag160.xml"/><Relationship Id="rId171" Type="http://schemas.openxmlformats.org/officeDocument/2006/relationships/tags" Target="../tags/tag181.xml"/><Relationship Id="rId192" Type="http://schemas.openxmlformats.org/officeDocument/2006/relationships/tags" Target="../tags/tag202.xml"/><Relationship Id="rId206" Type="http://schemas.openxmlformats.org/officeDocument/2006/relationships/tags" Target="../tags/tag216.xml"/><Relationship Id="rId227" Type="http://schemas.openxmlformats.org/officeDocument/2006/relationships/tags" Target="../tags/tag237.xml"/><Relationship Id="rId248" Type="http://schemas.openxmlformats.org/officeDocument/2006/relationships/tags" Target="../tags/tag258.xml"/><Relationship Id="rId269" Type="http://schemas.openxmlformats.org/officeDocument/2006/relationships/tags" Target="../tags/tag279.xml"/><Relationship Id="rId12" Type="http://schemas.openxmlformats.org/officeDocument/2006/relationships/tags" Target="../tags/tag22.xml"/><Relationship Id="rId33" Type="http://schemas.openxmlformats.org/officeDocument/2006/relationships/tags" Target="../tags/tag43.xml"/><Relationship Id="rId108" Type="http://schemas.openxmlformats.org/officeDocument/2006/relationships/tags" Target="../tags/tag118.xml"/><Relationship Id="rId129" Type="http://schemas.openxmlformats.org/officeDocument/2006/relationships/tags" Target="../tags/tag139.xml"/><Relationship Id="rId280" Type="http://schemas.openxmlformats.org/officeDocument/2006/relationships/tags" Target="../tags/tag290.xml"/><Relationship Id="rId54" Type="http://schemas.openxmlformats.org/officeDocument/2006/relationships/tags" Target="../tags/tag64.xml"/><Relationship Id="rId75" Type="http://schemas.openxmlformats.org/officeDocument/2006/relationships/tags" Target="../tags/tag85.xml"/><Relationship Id="rId96" Type="http://schemas.openxmlformats.org/officeDocument/2006/relationships/tags" Target="../tags/tag106.xml"/><Relationship Id="rId140" Type="http://schemas.openxmlformats.org/officeDocument/2006/relationships/tags" Target="../tags/tag150.xml"/><Relationship Id="rId161" Type="http://schemas.openxmlformats.org/officeDocument/2006/relationships/tags" Target="../tags/tag171.xml"/><Relationship Id="rId182" Type="http://schemas.openxmlformats.org/officeDocument/2006/relationships/tags" Target="../tags/tag192.xml"/><Relationship Id="rId217" Type="http://schemas.openxmlformats.org/officeDocument/2006/relationships/tags" Target="../tags/tag227.xml"/><Relationship Id="rId6" Type="http://schemas.openxmlformats.org/officeDocument/2006/relationships/tags" Target="../tags/tag16.xml"/><Relationship Id="rId238" Type="http://schemas.openxmlformats.org/officeDocument/2006/relationships/tags" Target="../tags/tag248.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44" Type="http://schemas.openxmlformats.org/officeDocument/2006/relationships/tags" Target="../tags/tag54.xml"/><Relationship Id="rId65" Type="http://schemas.openxmlformats.org/officeDocument/2006/relationships/tags" Target="../tags/tag75.xml"/><Relationship Id="rId86" Type="http://schemas.openxmlformats.org/officeDocument/2006/relationships/tags" Target="../tags/tag96.xml"/><Relationship Id="rId130" Type="http://schemas.openxmlformats.org/officeDocument/2006/relationships/tags" Target="../tags/tag140.xml"/><Relationship Id="rId151" Type="http://schemas.openxmlformats.org/officeDocument/2006/relationships/tags" Target="../tags/tag161.xml"/><Relationship Id="rId172" Type="http://schemas.openxmlformats.org/officeDocument/2006/relationships/tags" Target="../tags/tag182.xml"/><Relationship Id="rId193" Type="http://schemas.openxmlformats.org/officeDocument/2006/relationships/tags" Target="../tags/tag203.xml"/><Relationship Id="rId207" Type="http://schemas.openxmlformats.org/officeDocument/2006/relationships/tags" Target="../tags/tag217.xml"/><Relationship Id="rId228" Type="http://schemas.openxmlformats.org/officeDocument/2006/relationships/tags" Target="../tags/tag238.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281" Type="http://schemas.openxmlformats.org/officeDocument/2006/relationships/tags" Target="../tags/tag291.xml"/><Relationship Id="rId34" Type="http://schemas.openxmlformats.org/officeDocument/2006/relationships/tags" Target="../tags/tag44.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20" Type="http://schemas.openxmlformats.org/officeDocument/2006/relationships/tags" Target="../tags/tag130.xml"/><Relationship Id="rId141" Type="http://schemas.openxmlformats.org/officeDocument/2006/relationships/tags" Target="../tags/tag151.xml"/><Relationship Id="rId7" Type="http://schemas.openxmlformats.org/officeDocument/2006/relationships/tags" Target="../tags/tag17.xml"/><Relationship Id="rId162" Type="http://schemas.openxmlformats.org/officeDocument/2006/relationships/tags" Target="../tags/tag172.xml"/><Relationship Id="rId183" Type="http://schemas.openxmlformats.org/officeDocument/2006/relationships/tags" Target="../tags/tag193.xml"/><Relationship Id="rId218" Type="http://schemas.openxmlformats.org/officeDocument/2006/relationships/tags" Target="../tags/tag228.xml"/><Relationship Id="rId239" Type="http://schemas.openxmlformats.org/officeDocument/2006/relationships/tags" Target="../tags/tag249.xml"/><Relationship Id="rId250" Type="http://schemas.openxmlformats.org/officeDocument/2006/relationships/tags" Target="../tags/tag260.xml"/><Relationship Id="rId271" Type="http://schemas.openxmlformats.org/officeDocument/2006/relationships/tags" Target="../tags/tag281.xml"/><Relationship Id="rId24" Type="http://schemas.openxmlformats.org/officeDocument/2006/relationships/tags" Target="../tags/tag34.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31" Type="http://schemas.openxmlformats.org/officeDocument/2006/relationships/tags" Target="../tags/tag141.xml"/><Relationship Id="rId152" Type="http://schemas.openxmlformats.org/officeDocument/2006/relationships/tags" Target="../tags/tag162.xml"/><Relationship Id="rId173" Type="http://schemas.openxmlformats.org/officeDocument/2006/relationships/tags" Target="../tags/tag183.xml"/><Relationship Id="rId194" Type="http://schemas.openxmlformats.org/officeDocument/2006/relationships/tags" Target="../tags/tag204.xml"/><Relationship Id="rId208" Type="http://schemas.openxmlformats.org/officeDocument/2006/relationships/tags" Target="../tags/tag218.xml"/><Relationship Id="rId229" Type="http://schemas.openxmlformats.org/officeDocument/2006/relationships/tags" Target="../tags/tag239.xml"/><Relationship Id="rId240" Type="http://schemas.openxmlformats.org/officeDocument/2006/relationships/tags" Target="../tags/tag250.xml"/><Relationship Id="rId261" Type="http://schemas.openxmlformats.org/officeDocument/2006/relationships/tags" Target="../tags/tag271.xml"/><Relationship Id="rId14" Type="http://schemas.openxmlformats.org/officeDocument/2006/relationships/tags" Target="../tags/tag24.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tags" Target="../tags/tag292.xml"/><Relationship Id="rId8" Type="http://schemas.openxmlformats.org/officeDocument/2006/relationships/tags" Target="../tags/tag18.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tags" Target="../tags/tag173.xml"/><Relationship Id="rId184" Type="http://schemas.openxmlformats.org/officeDocument/2006/relationships/tags" Target="../tags/tag194.xml"/><Relationship Id="rId219" Type="http://schemas.openxmlformats.org/officeDocument/2006/relationships/tags" Target="../tags/tag229.xml"/><Relationship Id="rId230" Type="http://schemas.openxmlformats.org/officeDocument/2006/relationships/tags" Target="../tags/tag240.xml"/><Relationship Id="rId251" Type="http://schemas.openxmlformats.org/officeDocument/2006/relationships/tags" Target="../tags/tag261.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272" Type="http://schemas.openxmlformats.org/officeDocument/2006/relationships/tags" Target="../tags/tag282.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 Id="rId174" Type="http://schemas.openxmlformats.org/officeDocument/2006/relationships/tags" Target="../tags/tag184.xml"/><Relationship Id="rId195" Type="http://schemas.openxmlformats.org/officeDocument/2006/relationships/tags" Target="../tags/tag205.xml"/><Relationship Id="rId209" Type="http://schemas.openxmlformats.org/officeDocument/2006/relationships/tags" Target="../tags/tag219.xml"/><Relationship Id="rId220" Type="http://schemas.openxmlformats.org/officeDocument/2006/relationships/tags" Target="../tags/tag230.xml"/><Relationship Id="rId241" Type="http://schemas.openxmlformats.org/officeDocument/2006/relationships/tags" Target="../tags/tag251.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262" Type="http://schemas.openxmlformats.org/officeDocument/2006/relationships/tags" Target="../tags/tag272.xml"/><Relationship Id="rId283" Type="http://schemas.openxmlformats.org/officeDocument/2006/relationships/slideLayout" Target="../slideLayouts/slideLayout3.xml"/><Relationship Id="rId78" Type="http://schemas.openxmlformats.org/officeDocument/2006/relationships/tags" Target="../tags/tag88.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tags" Target="../tags/tag153.xml"/><Relationship Id="rId164" Type="http://schemas.openxmlformats.org/officeDocument/2006/relationships/tags" Target="../tags/tag174.xml"/><Relationship Id="rId185" Type="http://schemas.openxmlformats.org/officeDocument/2006/relationships/tags" Target="../tags/tag195.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196" Type="http://schemas.openxmlformats.org/officeDocument/2006/relationships/tags" Target="../tags/tag206.xml"/><Relationship Id="rId200" Type="http://schemas.openxmlformats.org/officeDocument/2006/relationships/tags" Target="../tags/tag210.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284" Type="http://schemas.openxmlformats.org/officeDocument/2006/relationships/notesSlide" Target="../notesSlides/notesSlide4.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285" Type="http://schemas.openxmlformats.org/officeDocument/2006/relationships/oleObject" Target="../embeddings/oleObject7.bin"/><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286" Type="http://schemas.openxmlformats.org/officeDocument/2006/relationships/image" Target="../media/image1.emf"/><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287" Type="http://schemas.openxmlformats.org/officeDocument/2006/relationships/chart" Target="../charts/chart1.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288" Type="http://schemas.openxmlformats.org/officeDocument/2006/relationships/chart" Target="../charts/chart2.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tags" Target="../tags/tag288.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 Id="rId22" Type="http://schemas.openxmlformats.org/officeDocument/2006/relationships/tags" Target="../tags/tag32.xml"/><Relationship Id="rId64" Type="http://schemas.openxmlformats.org/officeDocument/2006/relationships/tags" Target="../tags/tag74.xml"/><Relationship Id="rId118" Type="http://schemas.openxmlformats.org/officeDocument/2006/relationships/tags" Target="../tags/tag12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image" Target="../media/image21.emf"/><Relationship Id="rId5" Type="http://schemas.openxmlformats.org/officeDocument/2006/relationships/oleObject" Target="../embeddings/oleObject47.bin"/><Relationship Id="rId4" Type="http://schemas.openxmlformats.org/officeDocument/2006/relationships/notesSlide" Target="../notesSlides/notesSlide14.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02.xml"/><Relationship Id="rId4" Type="http://schemas.openxmlformats.org/officeDocument/2006/relationships/image" Target="../media/image21.emf"/></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105.xml"/><Relationship Id="rId7" Type="http://schemas.openxmlformats.org/officeDocument/2006/relationships/tags" Target="../tags/tag1109.xml"/><Relationship Id="rId2" Type="http://schemas.openxmlformats.org/officeDocument/2006/relationships/tags" Target="../tags/tag1104.xml"/><Relationship Id="rId1" Type="http://schemas.openxmlformats.org/officeDocument/2006/relationships/tags" Target="../tags/tag1103.xml"/><Relationship Id="rId6" Type="http://schemas.openxmlformats.org/officeDocument/2006/relationships/tags" Target="../tags/tag1108.xml"/><Relationship Id="rId11" Type="http://schemas.openxmlformats.org/officeDocument/2006/relationships/chart" Target="../charts/chart26.xml"/><Relationship Id="rId5" Type="http://schemas.openxmlformats.org/officeDocument/2006/relationships/tags" Target="../tags/tag1107.xml"/><Relationship Id="rId10" Type="http://schemas.openxmlformats.org/officeDocument/2006/relationships/image" Target="../media/image28.emf"/><Relationship Id="rId4" Type="http://schemas.openxmlformats.org/officeDocument/2006/relationships/tags" Target="../tags/tag1106.xml"/><Relationship Id="rId9" Type="http://schemas.openxmlformats.org/officeDocument/2006/relationships/oleObject" Target="../embeddings/oleObject49.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1.xml"/><Relationship Id="rId1" Type="http://schemas.openxmlformats.org/officeDocument/2006/relationships/tags" Target="../tags/tag1110.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1112.xml"/><Relationship Id="rId4" Type="http://schemas.openxmlformats.org/officeDocument/2006/relationships/image" Target="../media/image29.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113.xml"/><Relationship Id="rId4" Type="http://schemas.openxmlformats.org/officeDocument/2006/relationships/image" Target="../media/image2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114.xml"/><Relationship Id="rId4" Type="http://schemas.openxmlformats.org/officeDocument/2006/relationships/image" Target="../media/image2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115.xml"/><Relationship Id="rId4" Type="http://schemas.openxmlformats.org/officeDocument/2006/relationships/image" Target="../media/image21.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chart" Target="../charts/chart3.xml"/><Relationship Id="rId2" Type="http://schemas.openxmlformats.org/officeDocument/2006/relationships/tags" Target="../tags/tag294.xml"/><Relationship Id="rId16" Type="http://schemas.openxmlformats.org/officeDocument/2006/relationships/image" Target="../media/image18.emf"/><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oleObject" Target="../embeddings/oleObject8.bin"/><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tags" Target="../tags/tag1120.xml"/><Relationship Id="rId7" Type="http://schemas.openxmlformats.org/officeDocument/2006/relationships/chart" Target="../charts/chart27.xml"/><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image" Target="../media/image21.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1.xml"/><Relationship Id="rId4" Type="http://schemas.openxmlformats.org/officeDocument/2006/relationships/image" Target="../media/image2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2.xml"/><Relationship Id="rId4" Type="http://schemas.openxmlformats.org/officeDocument/2006/relationships/image" Target="../media/image21.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3.xml"/><Relationship Id="rId4" Type="http://schemas.openxmlformats.org/officeDocument/2006/relationships/image" Target="../media/image21.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4.xml"/><Relationship Id="rId4" Type="http://schemas.openxmlformats.org/officeDocument/2006/relationships/image" Target="../media/image21.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5.xml"/><Relationship Id="rId4" Type="http://schemas.openxmlformats.org/officeDocument/2006/relationships/image" Target="../media/image21.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26.xml"/><Relationship Id="rId4" Type="http://schemas.openxmlformats.org/officeDocument/2006/relationships/image" Target="../media/image21.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27.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117" Type="http://schemas.openxmlformats.org/officeDocument/2006/relationships/tags" Target="../tags/tag422.xml"/><Relationship Id="rId21" Type="http://schemas.openxmlformats.org/officeDocument/2006/relationships/tags" Target="../tags/tag326.xml"/><Relationship Id="rId42" Type="http://schemas.openxmlformats.org/officeDocument/2006/relationships/tags" Target="../tags/tag347.xml"/><Relationship Id="rId63" Type="http://schemas.openxmlformats.org/officeDocument/2006/relationships/tags" Target="../tags/tag368.xml"/><Relationship Id="rId84" Type="http://schemas.openxmlformats.org/officeDocument/2006/relationships/tags" Target="../tags/tag389.xml"/><Relationship Id="rId138" Type="http://schemas.openxmlformats.org/officeDocument/2006/relationships/tags" Target="../tags/tag443.xml"/><Relationship Id="rId159" Type="http://schemas.openxmlformats.org/officeDocument/2006/relationships/tags" Target="../tags/tag464.xml"/><Relationship Id="rId107" Type="http://schemas.openxmlformats.org/officeDocument/2006/relationships/tags" Target="../tags/tag412.xml"/><Relationship Id="rId11" Type="http://schemas.openxmlformats.org/officeDocument/2006/relationships/tags" Target="../tags/tag316.xml"/><Relationship Id="rId32" Type="http://schemas.openxmlformats.org/officeDocument/2006/relationships/tags" Target="../tags/tag337.xml"/><Relationship Id="rId53" Type="http://schemas.openxmlformats.org/officeDocument/2006/relationships/tags" Target="../tags/tag358.xml"/><Relationship Id="rId74" Type="http://schemas.openxmlformats.org/officeDocument/2006/relationships/tags" Target="../tags/tag379.xml"/><Relationship Id="rId128" Type="http://schemas.openxmlformats.org/officeDocument/2006/relationships/tags" Target="../tags/tag433.xml"/><Relationship Id="rId149" Type="http://schemas.openxmlformats.org/officeDocument/2006/relationships/tags" Target="../tags/tag454.xml"/><Relationship Id="rId5" Type="http://schemas.openxmlformats.org/officeDocument/2006/relationships/tags" Target="../tags/tag310.xml"/><Relationship Id="rId95" Type="http://schemas.openxmlformats.org/officeDocument/2006/relationships/tags" Target="../tags/tag400.xml"/><Relationship Id="rId160" Type="http://schemas.openxmlformats.org/officeDocument/2006/relationships/slideLayout" Target="../slideLayouts/slideLayout3.xml"/><Relationship Id="rId22" Type="http://schemas.openxmlformats.org/officeDocument/2006/relationships/tags" Target="../tags/tag327.xml"/><Relationship Id="rId43" Type="http://schemas.openxmlformats.org/officeDocument/2006/relationships/tags" Target="../tags/tag348.xml"/><Relationship Id="rId64" Type="http://schemas.openxmlformats.org/officeDocument/2006/relationships/tags" Target="../tags/tag369.xml"/><Relationship Id="rId118" Type="http://schemas.openxmlformats.org/officeDocument/2006/relationships/tags" Target="../tags/tag423.xml"/><Relationship Id="rId139" Type="http://schemas.openxmlformats.org/officeDocument/2006/relationships/tags" Target="../tags/tag444.xml"/><Relationship Id="rId85" Type="http://schemas.openxmlformats.org/officeDocument/2006/relationships/tags" Target="../tags/tag390.xml"/><Relationship Id="rId150" Type="http://schemas.openxmlformats.org/officeDocument/2006/relationships/tags" Target="../tags/tag455.xml"/><Relationship Id="rId12" Type="http://schemas.openxmlformats.org/officeDocument/2006/relationships/tags" Target="../tags/tag317.xml"/><Relationship Id="rId17" Type="http://schemas.openxmlformats.org/officeDocument/2006/relationships/tags" Target="../tags/tag322.xml"/><Relationship Id="rId33" Type="http://schemas.openxmlformats.org/officeDocument/2006/relationships/tags" Target="../tags/tag338.xml"/><Relationship Id="rId38" Type="http://schemas.openxmlformats.org/officeDocument/2006/relationships/tags" Target="../tags/tag343.xml"/><Relationship Id="rId59" Type="http://schemas.openxmlformats.org/officeDocument/2006/relationships/tags" Target="../tags/tag364.xml"/><Relationship Id="rId103" Type="http://schemas.openxmlformats.org/officeDocument/2006/relationships/tags" Target="../tags/tag408.xml"/><Relationship Id="rId108" Type="http://schemas.openxmlformats.org/officeDocument/2006/relationships/tags" Target="../tags/tag413.xml"/><Relationship Id="rId124" Type="http://schemas.openxmlformats.org/officeDocument/2006/relationships/tags" Target="../tags/tag429.xml"/><Relationship Id="rId129" Type="http://schemas.openxmlformats.org/officeDocument/2006/relationships/tags" Target="../tags/tag434.xml"/><Relationship Id="rId54" Type="http://schemas.openxmlformats.org/officeDocument/2006/relationships/tags" Target="../tags/tag359.xml"/><Relationship Id="rId70" Type="http://schemas.openxmlformats.org/officeDocument/2006/relationships/tags" Target="../tags/tag375.xml"/><Relationship Id="rId75" Type="http://schemas.openxmlformats.org/officeDocument/2006/relationships/tags" Target="../tags/tag380.xml"/><Relationship Id="rId91" Type="http://schemas.openxmlformats.org/officeDocument/2006/relationships/tags" Target="../tags/tag396.xml"/><Relationship Id="rId96" Type="http://schemas.openxmlformats.org/officeDocument/2006/relationships/tags" Target="../tags/tag401.xml"/><Relationship Id="rId140" Type="http://schemas.openxmlformats.org/officeDocument/2006/relationships/tags" Target="../tags/tag445.xml"/><Relationship Id="rId145" Type="http://schemas.openxmlformats.org/officeDocument/2006/relationships/tags" Target="../tags/tag450.xml"/><Relationship Id="rId161" Type="http://schemas.openxmlformats.org/officeDocument/2006/relationships/notesSlide" Target="../notesSlides/notesSlide5.xml"/><Relationship Id="rId1" Type="http://schemas.openxmlformats.org/officeDocument/2006/relationships/tags" Target="../tags/tag306.xml"/><Relationship Id="rId6" Type="http://schemas.openxmlformats.org/officeDocument/2006/relationships/tags" Target="../tags/tag311.xml"/><Relationship Id="rId23" Type="http://schemas.openxmlformats.org/officeDocument/2006/relationships/tags" Target="../tags/tag328.xml"/><Relationship Id="rId28" Type="http://schemas.openxmlformats.org/officeDocument/2006/relationships/tags" Target="../tags/tag333.xml"/><Relationship Id="rId49" Type="http://schemas.openxmlformats.org/officeDocument/2006/relationships/tags" Target="../tags/tag354.xml"/><Relationship Id="rId114" Type="http://schemas.openxmlformats.org/officeDocument/2006/relationships/tags" Target="../tags/tag419.xml"/><Relationship Id="rId119" Type="http://schemas.openxmlformats.org/officeDocument/2006/relationships/tags" Target="../tags/tag424.xml"/><Relationship Id="rId44" Type="http://schemas.openxmlformats.org/officeDocument/2006/relationships/tags" Target="../tags/tag349.xml"/><Relationship Id="rId60" Type="http://schemas.openxmlformats.org/officeDocument/2006/relationships/tags" Target="../tags/tag365.xml"/><Relationship Id="rId65" Type="http://schemas.openxmlformats.org/officeDocument/2006/relationships/tags" Target="../tags/tag370.xml"/><Relationship Id="rId81" Type="http://schemas.openxmlformats.org/officeDocument/2006/relationships/tags" Target="../tags/tag386.xml"/><Relationship Id="rId86" Type="http://schemas.openxmlformats.org/officeDocument/2006/relationships/tags" Target="../tags/tag391.xml"/><Relationship Id="rId130" Type="http://schemas.openxmlformats.org/officeDocument/2006/relationships/tags" Target="../tags/tag435.xml"/><Relationship Id="rId135" Type="http://schemas.openxmlformats.org/officeDocument/2006/relationships/tags" Target="../tags/tag440.xml"/><Relationship Id="rId151" Type="http://schemas.openxmlformats.org/officeDocument/2006/relationships/tags" Target="../tags/tag456.xml"/><Relationship Id="rId156" Type="http://schemas.openxmlformats.org/officeDocument/2006/relationships/tags" Target="../tags/tag461.xml"/><Relationship Id="rId13" Type="http://schemas.openxmlformats.org/officeDocument/2006/relationships/tags" Target="../tags/tag318.xml"/><Relationship Id="rId18" Type="http://schemas.openxmlformats.org/officeDocument/2006/relationships/tags" Target="../tags/tag323.xml"/><Relationship Id="rId39" Type="http://schemas.openxmlformats.org/officeDocument/2006/relationships/tags" Target="../tags/tag344.xml"/><Relationship Id="rId109" Type="http://schemas.openxmlformats.org/officeDocument/2006/relationships/tags" Target="../tags/tag414.xml"/><Relationship Id="rId34" Type="http://schemas.openxmlformats.org/officeDocument/2006/relationships/tags" Target="../tags/tag339.xml"/><Relationship Id="rId50" Type="http://schemas.openxmlformats.org/officeDocument/2006/relationships/tags" Target="../tags/tag355.xml"/><Relationship Id="rId55" Type="http://schemas.openxmlformats.org/officeDocument/2006/relationships/tags" Target="../tags/tag360.xml"/><Relationship Id="rId76" Type="http://schemas.openxmlformats.org/officeDocument/2006/relationships/tags" Target="../tags/tag381.xml"/><Relationship Id="rId97" Type="http://schemas.openxmlformats.org/officeDocument/2006/relationships/tags" Target="../tags/tag402.xml"/><Relationship Id="rId104" Type="http://schemas.openxmlformats.org/officeDocument/2006/relationships/tags" Target="../tags/tag409.xml"/><Relationship Id="rId120" Type="http://schemas.openxmlformats.org/officeDocument/2006/relationships/tags" Target="../tags/tag425.xml"/><Relationship Id="rId125" Type="http://schemas.openxmlformats.org/officeDocument/2006/relationships/tags" Target="../tags/tag430.xml"/><Relationship Id="rId141" Type="http://schemas.openxmlformats.org/officeDocument/2006/relationships/tags" Target="../tags/tag446.xml"/><Relationship Id="rId146" Type="http://schemas.openxmlformats.org/officeDocument/2006/relationships/tags" Target="../tags/tag451.xml"/><Relationship Id="rId7" Type="http://schemas.openxmlformats.org/officeDocument/2006/relationships/tags" Target="../tags/tag312.xml"/><Relationship Id="rId71" Type="http://schemas.openxmlformats.org/officeDocument/2006/relationships/tags" Target="../tags/tag376.xml"/><Relationship Id="rId92" Type="http://schemas.openxmlformats.org/officeDocument/2006/relationships/tags" Target="../tags/tag397.xml"/><Relationship Id="rId162" Type="http://schemas.openxmlformats.org/officeDocument/2006/relationships/oleObject" Target="../embeddings/oleObject9.bin"/><Relationship Id="rId2" Type="http://schemas.openxmlformats.org/officeDocument/2006/relationships/tags" Target="../tags/tag307.xml"/><Relationship Id="rId29" Type="http://schemas.openxmlformats.org/officeDocument/2006/relationships/tags" Target="../tags/tag334.xml"/><Relationship Id="rId24" Type="http://schemas.openxmlformats.org/officeDocument/2006/relationships/tags" Target="../tags/tag329.xml"/><Relationship Id="rId40" Type="http://schemas.openxmlformats.org/officeDocument/2006/relationships/tags" Target="../tags/tag345.xml"/><Relationship Id="rId45" Type="http://schemas.openxmlformats.org/officeDocument/2006/relationships/tags" Target="../tags/tag350.xml"/><Relationship Id="rId66" Type="http://schemas.openxmlformats.org/officeDocument/2006/relationships/tags" Target="../tags/tag371.xml"/><Relationship Id="rId87" Type="http://schemas.openxmlformats.org/officeDocument/2006/relationships/tags" Target="../tags/tag392.xml"/><Relationship Id="rId110" Type="http://schemas.openxmlformats.org/officeDocument/2006/relationships/tags" Target="../tags/tag415.xml"/><Relationship Id="rId115" Type="http://schemas.openxmlformats.org/officeDocument/2006/relationships/tags" Target="../tags/tag420.xml"/><Relationship Id="rId131" Type="http://schemas.openxmlformats.org/officeDocument/2006/relationships/tags" Target="../tags/tag436.xml"/><Relationship Id="rId136" Type="http://schemas.openxmlformats.org/officeDocument/2006/relationships/tags" Target="../tags/tag441.xml"/><Relationship Id="rId157" Type="http://schemas.openxmlformats.org/officeDocument/2006/relationships/tags" Target="../tags/tag462.xml"/><Relationship Id="rId61" Type="http://schemas.openxmlformats.org/officeDocument/2006/relationships/tags" Target="../tags/tag366.xml"/><Relationship Id="rId82" Type="http://schemas.openxmlformats.org/officeDocument/2006/relationships/tags" Target="../tags/tag387.xml"/><Relationship Id="rId152" Type="http://schemas.openxmlformats.org/officeDocument/2006/relationships/tags" Target="../tags/tag457.xml"/><Relationship Id="rId19" Type="http://schemas.openxmlformats.org/officeDocument/2006/relationships/tags" Target="../tags/tag324.xml"/><Relationship Id="rId14" Type="http://schemas.openxmlformats.org/officeDocument/2006/relationships/tags" Target="../tags/tag319.xml"/><Relationship Id="rId30" Type="http://schemas.openxmlformats.org/officeDocument/2006/relationships/tags" Target="../tags/tag335.xml"/><Relationship Id="rId35" Type="http://schemas.openxmlformats.org/officeDocument/2006/relationships/tags" Target="../tags/tag340.xml"/><Relationship Id="rId56" Type="http://schemas.openxmlformats.org/officeDocument/2006/relationships/tags" Target="../tags/tag361.xml"/><Relationship Id="rId77" Type="http://schemas.openxmlformats.org/officeDocument/2006/relationships/tags" Target="../tags/tag382.xml"/><Relationship Id="rId100" Type="http://schemas.openxmlformats.org/officeDocument/2006/relationships/tags" Target="../tags/tag405.xml"/><Relationship Id="rId105" Type="http://schemas.openxmlformats.org/officeDocument/2006/relationships/tags" Target="../tags/tag410.xml"/><Relationship Id="rId126" Type="http://schemas.openxmlformats.org/officeDocument/2006/relationships/tags" Target="../tags/tag431.xml"/><Relationship Id="rId147" Type="http://schemas.openxmlformats.org/officeDocument/2006/relationships/tags" Target="../tags/tag452.xml"/><Relationship Id="rId8" Type="http://schemas.openxmlformats.org/officeDocument/2006/relationships/tags" Target="../tags/tag313.xml"/><Relationship Id="rId51" Type="http://schemas.openxmlformats.org/officeDocument/2006/relationships/tags" Target="../tags/tag356.xml"/><Relationship Id="rId72" Type="http://schemas.openxmlformats.org/officeDocument/2006/relationships/tags" Target="../tags/tag377.xml"/><Relationship Id="rId93" Type="http://schemas.openxmlformats.org/officeDocument/2006/relationships/tags" Target="../tags/tag398.xml"/><Relationship Id="rId98" Type="http://schemas.openxmlformats.org/officeDocument/2006/relationships/tags" Target="../tags/tag403.xml"/><Relationship Id="rId121" Type="http://schemas.openxmlformats.org/officeDocument/2006/relationships/tags" Target="../tags/tag426.xml"/><Relationship Id="rId142" Type="http://schemas.openxmlformats.org/officeDocument/2006/relationships/tags" Target="../tags/tag447.xml"/><Relationship Id="rId163" Type="http://schemas.openxmlformats.org/officeDocument/2006/relationships/image" Target="../media/image18.emf"/><Relationship Id="rId3" Type="http://schemas.openxmlformats.org/officeDocument/2006/relationships/tags" Target="../tags/tag308.xml"/><Relationship Id="rId25" Type="http://schemas.openxmlformats.org/officeDocument/2006/relationships/tags" Target="../tags/tag330.xml"/><Relationship Id="rId46" Type="http://schemas.openxmlformats.org/officeDocument/2006/relationships/tags" Target="../tags/tag351.xml"/><Relationship Id="rId67" Type="http://schemas.openxmlformats.org/officeDocument/2006/relationships/tags" Target="../tags/tag372.xml"/><Relationship Id="rId116" Type="http://schemas.openxmlformats.org/officeDocument/2006/relationships/tags" Target="../tags/tag421.xml"/><Relationship Id="rId137" Type="http://schemas.openxmlformats.org/officeDocument/2006/relationships/tags" Target="../tags/tag442.xml"/><Relationship Id="rId158" Type="http://schemas.openxmlformats.org/officeDocument/2006/relationships/tags" Target="../tags/tag463.xml"/><Relationship Id="rId20" Type="http://schemas.openxmlformats.org/officeDocument/2006/relationships/tags" Target="../tags/tag325.xml"/><Relationship Id="rId41" Type="http://schemas.openxmlformats.org/officeDocument/2006/relationships/tags" Target="../tags/tag346.xml"/><Relationship Id="rId62" Type="http://schemas.openxmlformats.org/officeDocument/2006/relationships/tags" Target="../tags/tag367.xml"/><Relationship Id="rId83" Type="http://schemas.openxmlformats.org/officeDocument/2006/relationships/tags" Target="../tags/tag388.xml"/><Relationship Id="rId88" Type="http://schemas.openxmlformats.org/officeDocument/2006/relationships/tags" Target="../tags/tag393.xml"/><Relationship Id="rId111" Type="http://schemas.openxmlformats.org/officeDocument/2006/relationships/tags" Target="../tags/tag416.xml"/><Relationship Id="rId132" Type="http://schemas.openxmlformats.org/officeDocument/2006/relationships/tags" Target="../tags/tag437.xml"/><Relationship Id="rId153" Type="http://schemas.openxmlformats.org/officeDocument/2006/relationships/tags" Target="../tags/tag458.xml"/><Relationship Id="rId15" Type="http://schemas.openxmlformats.org/officeDocument/2006/relationships/tags" Target="../tags/tag320.xml"/><Relationship Id="rId36" Type="http://schemas.openxmlformats.org/officeDocument/2006/relationships/tags" Target="../tags/tag341.xml"/><Relationship Id="rId57" Type="http://schemas.openxmlformats.org/officeDocument/2006/relationships/tags" Target="../tags/tag362.xml"/><Relationship Id="rId106" Type="http://schemas.openxmlformats.org/officeDocument/2006/relationships/tags" Target="../tags/tag411.xml"/><Relationship Id="rId127" Type="http://schemas.openxmlformats.org/officeDocument/2006/relationships/tags" Target="../tags/tag432.xml"/><Relationship Id="rId10" Type="http://schemas.openxmlformats.org/officeDocument/2006/relationships/tags" Target="../tags/tag315.xml"/><Relationship Id="rId31" Type="http://schemas.openxmlformats.org/officeDocument/2006/relationships/tags" Target="../tags/tag336.xml"/><Relationship Id="rId52" Type="http://schemas.openxmlformats.org/officeDocument/2006/relationships/tags" Target="../tags/tag357.xml"/><Relationship Id="rId73" Type="http://schemas.openxmlformats.org/officeDocument/2006/relationships/tags" Target="../tags/tag378.xml"/><Relationship Id="rId78" Type="http://schemas.openxmlformats.org/officeDocument/2006/relationships/tags" Target="../tags/tag383.xml"/><Relationship Id="rId94" Type="http://schemas.openxmlformats.org/officeDocument/2006/relationships/tags" Target="../tags/tag399.xml"/><Relationship Id="rId99" Type="http://schemas.openxmlformats.org/officeDocument/2006/relationships/tags" Target="../tags/tag404.xml"/><Relationship Id="rId101" Type="http://schemas.openxmlformats.org/officeDocument/2006/relationships/tags" Target="../tags/tag406.xml"/><Relationship Id="rId122" Type="http://schemas.openxmlformats.org/officeDocument/2006/relationships/tags" Target="../tags/tag427.xml"/><Relationship Id="rId143" Type="http://schemas.openxmlformats.org/officeDocument/2006/relationships/tags" Target="../tags/tag448.xml"/><Relationship Id="rId148" Type="http://schemas.openxmlformats.org/officeDocument/2006/relationships/tags" Target="../tags/tag453.xml"/><Relationship Id="rId164" Type="http://schemas.openxmlformats.org/officeDocument/2006/relationships/chart" Target="../charts/chart4.xml"/><Relationship Id="rId4" Type="http://schemas.openxmlformats.org/officeDocument/2006/relationships/tags" Target="../tags/tag309.xml"/><Relationship Id="rId9" Type="http://schemas.openxmlformats.org/officeDocument/2006/relationships/tags" Target="../tags/tag314.xml"/><Relationship Id="rId26" Type="http://schemas.openxmlformats.org/officeDocument/2006/relationships/tags" Target="../tags/tag331.xml"/><Relationship Id="rId47" Type="http://schemas.openxmlformats.org/officeDocument/2006/relationships/tags" Target="../tags/tag352.xml"/><Relationship Id="rId68" Type="http://schemas.openxmlformats.org/officeDocument/2006/relationships/tags" Target="../tags/tag373.xml"/><Relationship Id="rId89" Type="http://schemas.openxmlformats.org/officeDocument/2006/relationships/tags" Target="../tags/tag394.xml"/><Relationship Id="rId112" Type="http://schemas.openxmlformats.org/officeDocument/2006/relationships/tags" Target="../tags/tag417.xml"/><Relationship Id="rId133" Type="http://schemas.openxmlformats.org/officeDocument/2006/relationships/tags" Target="../tags/tag438.xml"/><Relationship Id="rId154" Type="http://schemas.openxmlformats.org/officeDocument/2006/relationships/tags" Target="../tags/tag459.xml"/><Relationship Id="rId16" Type="http://schemas.openxmlformats.org/officeDocument/2006/relationships/tags" Target="../tags/tag321.xml"/><Relationship Id="rId37" Type="http://schemas.openxmlformats.org/officeDocument/2006/relationships/tags" Target="../tags/tag342.xml"/><Relationship Id="rId58" Type="http://schemas.openxmlformats.org/officeDocument/2006/relationships/tags" Target="../tags/tag363.xml"/><Relationship Id="rId79" Type="http://schemas.openxmlformats.org/officeDocument/2006/relationships/tags" Target="../tags/tag384.xml"/><Relationship Id="rId102" Type="http://schemas.openxmlformats.org/officeDocument/2006/relationships/tags" Target="../tags/tag407.xml"/><Relationship Id="rId123" Type="http://schemas.openxmlformats.org/officeDocument/2006/relationships/tags" Target="../tags/tag428.xml"/><Relationship Id="rId144" Type="http://schemas.openxmlformats.org/officeDocument/2006/relationships/tags" Target="../tags/tag449.xml"/><Relationship Id="rId90" Type="http://schemas.openxmlformats.org/officeDocument/2006/relationships/tags" Target="../tags/tag395.xml"/><Relationship Id="rId165" Type="http://schemas.openxmlformats.org/officeDocument/2006/relationships/chart" Target="../charts/chart5.xml"/><Relationship Id="rId27" Type="http://schemas.openxmlformats.org/officeDocument/2006/relationships/tags" Target="../tags/tag332.xml"/><Relationship Id="rId48" Type="http://schemas.openxmlformats.org/officeDocument/2006/relationships/tags" Target="../tags/tag353.xml"/><Relationship Id="rId69" Type="http://schemas.openxmlformats.org/officeDocument/2006/relationships/tags" Target="../tags/tag374.xml"/><Relationship Id="rId113" Type="http://schemas.openxmlformats.org/officeDocument/2006/relationships/tags" Target="../tags/tag418.xml"/><Relationship Id="rId134" Type="http://schemas.openxmlformats.org/officeDocument/2006/relationships/tags" Target="../tags/tag439.xml"/><Relationship Id="rId80" Type="http://schemas.openxmlformats.org/officeDocument/2006/relationships/tags" Target="../tags/tag385.xml"/><Relationship Id="rId155" Type="http://schemas.openxmlformats.org/officeDocument/2006/relationships/tags" Target="../tags/tag460.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1128.xml"/><Relationship Id="rId4" Type="http://schemas.openxmlformats.org/officeDocument/2006/relationships/image" Target="../media/image2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129.xml"/><Relationship Id="rId4" Type="http://schemas.openxmlformats.org/officeDocument/2006/relationships/image" Target="../media/image2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30.xml"/><Relationship Id="rId4" Type="http://schemas.openxmlformats.org/officeDocument/2006/relationships/image" Target="../media/image21.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21.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1132.xml"/><Relationship Id="rId4" Type="http://schemas.openxmlformats.org/officeDocument/2006/relationships/image" Target="../media/image21.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33.xml"/><Relationship Id="rId4" Type="http://schemas.openxmlformats.org/officeDocument/2006/relationships/image" Target="../media/image2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34.xml"/><Relationship Id="rId4" Type="http://schemas.openxmlformats.org/officeDocument/2006/relationships/image" Target="../media/image21.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135.xml"/><Relationship Id="rId5" Type="http://schemas.openxmlformats.org/officeDocument/2006/relationships/image" Target="../media/image30.emf"/><Relationship Id="rId4" Type="http://schemas.openxmlformats.org/officeDocument/2006/relationships/oleObject" Target="../embeddings/oleObject65.bin"/></Relationships>
</file>

<file path=ppt/slides/_rels/slide88.xml.rels><?xml version="1.0" encoding="UTF-8" standalone="yes"?>
<Relationships xmlns="http://schemas.openxmlformats.org/package/2006/relationships"><Relationship Id="rId8" Type="http://schemas.openxmlformats.org/officeDocument/2006/relationships/hyperlink" Target="https://www.jetro.go.jp/ext_images/_Reports/02/2022/ec6a11427b1b71bf/202203.pdf" TargetMode="External"/><Relationship Id="rId3" Type="http://schemas.openxmlformats.org/officeDocument/2006/relationships/notesSlide" Target="../notesSlides/notesSlide16.xml"/><Relationship Id="rId7" Type="http://schemas.openxmlformats.org/officeDocument/2006/relationships/hyperlink" Target="https://www.jetro.go.jp/world/reports/2022/02/ab7026b72051af9f.html" TargetMode="External"/><Relationship Id="rId2" Type="http://schemas.openxmlformats.org/officeDocument/2006/relationships/slideLayout" Target="../slideLayouts/slideLayout3.xml"/><Relationship Id="rId1" Type="http://schemas.openxmlformats.org/officeDocument/2006/relationships/tags" Target="../tags/tag1136.xml"/><Relationship Id="rId6" Type="http://schemas.openxmlformats.org/officeDocument/2006/relationships/hyperlink" Target="https://www.jetro.go.jp/ext_images/_Reports/02/2023/74dc32d015494f4b/pf_spr_01.pdf" TargetMode="External"/><Relationship Id="rId11" Type="http://schemas.openxmlformats.org/officeDocument/2006/relationships/hyperlink" Target="https://www.jetro.go.jp/ext_images/_Reports/02/2018/e999e1cbfd5a7b1f/report.pdf" TargetMode="External"/><Relationship Id="rId5" Type="http://schemas.openxmlformats.org/officeDocument/2006/relationships/image" Target="../media/image21.emf"/><Relationship Id="rId10" Type="http://schemas.openxmlformats.org/officeDocument/2006/relationships/hyperlink" Target="https://www.jetro.go.jp/ext_images/_Reports/02/2021/3b50f6dc3800fc5d/rpasia_202104all.pdf" TargetMode="External"/><Relationship Id="rId4" Type="http://schemas.openxmlformats.org/officeDocument/2006/relationships/oleObject" Target="../embeddings/oleObject66.bin"/><Relationship Id="rId9" Type="http://schemas.openxmlformats.org/officeDocument/2006/relationships/hyperlink" Target="https://www.jetro.go.jp/ext_images/_Reports/01/40ae8bbf70797fe9/20210040.pdf"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90.xml"/><Relationship Id="rId21" Type="http://schemas.openxmlformats.org/officeDocument/2006/relationships/tags" Target="../tags/tag485.xml"/><Relationship Id="rId42" Type="http://schemas.openxmlformats.org/officeDocument/2006/relationships/tags" Target="../tags/tag506.xml"/><Relationship Id="rId47" Type="http://schemas.openxmlformats.org/officeDocument/2006/relationships/tags" Target="../tags/tag511.xml"/><Relationship Id="rId63" Type="http://schemas.openxmlformats.org/officeDocument/2006/relationships/tags" Target="../tags/tag527.xml"/><Relationship Id="rId68" Type="http://schemas.openxmlformats.org/officeDocument/2006/relationships/tags" Target="../tags/tag532.xml"/><Relationship Id="rId16" Type="http://schemas.openxmlformats.org/officeDocument/2006/relationships/tags" Target="../tags/tag480.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tags" Target="../tags/tag496.xml"/><Relationship Id="rId37" Type="http://schemas.openxmlformats.org/officeDocument/2006/relationships/tags" Target="../tags/tag501.xml"/><Relationship Id="rId40" Type="http://schemas.openxmlformats.org/officeDocument/2006/relationships/tags" Target="../tags/tag504.xml"/><Relationship Id="rId45" Type="http://schemas.openxmlformats.org/officeDocument/2006/relationships/tags" Target="../tags/tag509.xml"/><Relationship Id="rId53" Type="http://schemas.openxmlformats.org/officeDocument/2006/relationships/tags" Target="../tags/tag517.xml"/><Relationship Id="rId58" Type="http://schemas.openxmlformats.org/officeDocument/2006/relationships/tags" Target="../tags/tag522.xml"/><Relationship Id="rId66" Type="http://schemas.openxmlformats.org/officeDocument/2006/relationships/tags" Target="../tags/tag530.xml"/><Relationship Id="rId74" Type="http://schemas.openxmlformats.org/officeDocument/2006/relationships/tags" Target="../tags/tag538.xml"/><Relationship Id="rId79" Type="http://schemas.openxmlformats.org/officeDocument/2006/relationships/chart" Target="../charts/chart7.xml"/><Relationship Id="rId5" Type="http://schemas.openxmlformats.org/officeDocument/2006/relationships/tags" Target="../tags/tag469.xml"/><Relationship Id="rId61" Type="http://schemas.openxmlformats.org/officeDocument/2006/relationships/tags" Target="../tags/tag525.xml"/><Relationship Id="rId19" Type="http://schemas.openxmlformats.org/officeDocument/2006/relationships/tags" Target="../tags/tag48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tags" Target="../tags/tag499.xml"/><Relationship Id="rId43" Type="http://schemas.openxmlformats.org/officeDocument/2006/relationships/tags" Target="../tags/tag507.xml"/><Relationship Id="rId48" Type="http://schemas.openxmlformats.org/officeDocument/2006/relationships/tags" Target="../tags/tag512.xml"/><Relationship Id="rId56" Type="http://schemas.openxmlformats.org/officeDocument/2006/relationships/tags" Target="../tags/tag520.xml"/><Relationship Id="rId64" Type="http://schemas.openxmlformats.org/officeDocument/2006/relationships/tags" Target="../tags/tag528.xml"/><Relationship Id="rId69" Type="http://schemas.openxmlformats.org/officeDocument/2006/relationships/tags" Target="../tags/tag533.xml"/><Relationship Id="rId77" Type="http://schemas.openxmlformats.org/officeDocument/2006/relationships/image" Target="../media/image18.emf"/><Relationship Id="rId8" Type="http://schemas.openxmlformats.org/officeDocument/2006/relationships/tags" Target="../tags/tag472.xml"/><Relationship Id="rId51" Type="http://schemas.openxmlformats.org/officeDocument/2006/relationships/tags" Target="../tags/tag515.xml"/><Relationship Id="rId72" Type="http://schemas.openxmlformats.org/officeDocument/2006/relationships/tags" Target="../tags/tag536.xml"/><Relationship Id="rId3" Type="http://schemas.openxmlformats.org/officeDocument/2006/relationships/tags" Target="../tags/tag467.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33" Type="http://schemas.openxmlformats.org/officeDocument/2006/relationships/tags" Target="../tags/tag497.xml"/><Relationship Id="rId38" Type="http://schemas.openxmlformats.org/officeDocument/2006/relationships/tags" Target="../tags/tag502.xml"/><Relationship Id="rId46" Type="http://schemas.openxmlformats.org/officeDocument/2006/relationships/tags" Target="../tags/tag510.xml"/><Relationship Id="rId59" Type="http://schemas.openxmlformats.org/officeDocument/2006/relationships/tags" Target="../tags/tag523.xml"/><Relationship Id="rId67" Type="http://schemas.openxmlformats.org/officeDocument/2006/relationships/tags" Target="../tags/tag531.xml"/><Relationship Id="rId20" Type="http://schemas.openxmlformats.org/officeDocument/2006/relationships/tags" Target="../tags/tag484.xml"/><Relationship Id="rId41" Type="http://schemas.openxmlformats.org/officeDocument/2006/relationships/tags" Target="../tags/tag505.xml"/><Relationship Id="rId54" Type="http://schemas.openxmlformats.org/officeDocument/2006/relationships/tags" Target="../tags/tag518.xml"/><Relationship Id="rId62" Type="http://schemas.openxmlformats.org/officeDocument/2006/relationships/tags" Target="../tags/tag526.xml"/><Relationship Id="rId70" Type="http://schemas.openxmlformats.org/officeDocument/2006/relationships/tags" Target="../tags/tag534.xml"/><Relationship Id="rId75" Type="http://schemas.openxmlformats.org/officeDocument/2006/relationships/slideLayout" Target="../slideLayouts/slideLayout3.xml"/><Relationship Id="rId1" Type="http://schemas.openxmlformats.org/officeDocument/2006/relationships/tags" Target="../tags/tag465.xml"/><Relationship Id="rId6" Type="http://schemas.openxmlformats.org/officeDocument/2006/relationships/tags" Target="../tags/tag470.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36" Type="http://schemas.openxmlformats.org/officeDocument/2006/relationships/tags" Target="../tags/tag500.xml"/><Relationship Id="rId49" Type="http://schemas.openxmlformats.org/officeDocument/2006/relationships/tags" Target="../tags/tag513.xml"/><Relationship Id="rId57" Type="http://schemas.openxmlformats.org/officeDocument/2006/relationships/tags" Target="../tags/tag521.xml"/><Relationship Id="rId10" Type="http://schemas.openxmlformats.org/officeDocument/2006/relationships/tags" Target="../tags/tag474.xml"/><Relationship Id="rId31" Type="http://schemas.openxmlformats.org/officeDocument/2006/relationships/tags" Target="../tags/tag495.xml"/><Relationship Id="rId44" Type="http://schemas.openxmlformats.org/officeDocument/2006/relationships/tags" Target="../tags/tag508.xml"/><Relationship Id="rId52" Type="http://schemas.openxmlformats.org/officeDocument/2006/relationships/tags" Target="../tags/tag516.xml"/><Relationship Id="rId60" Type="http://schemas.openxmlformats.org/officeDocument/2006/relationships/tags" Target="../tags/tag524.xml"/><Relationship Id="rId65" Type="http://schemas.openxmlformats.org/officeDocument/2006/relationships/tags" Target="../tags/tag529.xml"/><Relationship Id="rId73" Type="http://schemas.openxmlformats.org/officeDocument/2006/relationships/tags" Target="../tags/tag537.xml"/><Relationship Id="rId78" Type="http://schemas.openxmlformats.org/officeDocument/2006/relationships/chart" Target="../charts/chart6.xml"/><Relationship Id="rId4" Type="http://schemas.openxmlformats.org/officeDocument/2006/relationships/tags" Target="../tags/tag468.xml"/><Relationship Id="rId9" Type="http://schemas.openxmlformats.org/officeDocument/2006/relationships/tags" Target="../tags/tag473.xml"/><Relationship Id="rId13" Type="http://schemas.openxmlformats.org/officeDocument/2006/relationships/tags" Target="../tags/tag477.xml"/><Relationship Id="rId18" Type="http://schemas.openxmlformats.org/officeDocument/2006/relationships/tags" Target="../tags/tag482.xml"/><Relationship Id="rId39" Type="http://schemas.openxmlformats.org/officeDocument/2006/relationships/tags" Target="../tags/tag503.xml"/><Relationship Id="rId34" Type="http://schemas.openxmlformats.org/officeDocument/2006/relationships/tags" Target="../tags/tag498.xml"/><Relationship Id="rId50" Type="http://schemas.openxmlformats.org/officeDocument/2006/relationships/tags" Target="../tags/tag514.xml"/><Relationship Id="rId55" Type="http://schemas.openxmlformats.org/officeDocument/2006/relationships/tags" Target="../tags/tag519.xml"/><Relationship Id="rId76" Type="http://schemas.openxmlformats.org/officeDocument/2006/relationships/oleObject" Target="../embeddings/oleObject10.bin"/><Relationship Id="rId7" Type="http://schemas.openxmlformats.org/officeDocument/2006/relationships/tags" Target="../tags/tag471.xml"/><Relationship Id="rId71" Type="http://schemas.openxmlformats.org/officeDocument/2006/relationships/tags" Target="../tags/tag535.xml"/><Relationship Id="rId2" Type="http://schemas.openxmlformats.org/officeDocument/2006/relationships/tags" Target="../tags/tag466.xml"/><Relationship Id="rId29" Type="http://schemas.openxmlformats.org/officeDocument/2006/relationships/tags" Target="../tags/tag4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シンガポール</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耐久消費財</a:t>
            </a:r>
            <a:r>
              <a:rPr lang="en-US" altLang="ja-JP" sz="2000" noProof="1"/>
              <a:t>購入指数</a:t>
            </a:r>
            <a:endParaRPr lang="ja-JP" altLang="en-US" dirty="0"/>
          </a:p>
        </p:txBody>
      </p:sp>
      <p:sp>
        <p:nvSpPr>
          <p:cNvPr id="25" name="テキスト ボックス 24"/>
          <p:cNvSpPr txBox="1"/>
          <p:nvPr/>
        </p:nvSpPr>
        <p:spPr>
          <a:xfrm>
            <a:off x="18764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ingapore Report on the Household Expenditure Survey 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0" name="Chart 11">
            <a:extLst>
              <a:ext uri="{FF2B5EF4-FFF2-40B4-BE49-F238E27FC236}">
                <a16:creationId xmlns:a16="http://schemas.microsoft.com/office/drawing/2014/main" id="{C8892AE7-EF79-C746-BA51-9C3B73D03A25}"/>
              </a:ext>
            </a:extLst>
          </p:cNvPr>
          <p:cNvGraphicFramePr/>
          <p:nvPr>
            <p:extLst>
              <p:ext uri="{D42A27DB-BD31-4B8C-83A1-F6EECF244321}">
                <p14:modId xmlns:p14="http://schemas.microsoft.com/office/powerpoint/2010/main" val="2222890205"/>
              </p:ext>
            </p:extLst>
          </p:nvPr>
        </p:nvGraphicFramePr>
        <p:xfrm>
          <a:off x="333702" y="1556098"/>
          <a:ext cx="9199181" cy="4492116"/>
        </p:xfrm>
        <a:graphic>
          <a:graphicData uri="http://schemas.openxmlformats.org/drawingml/2006/chart">
            <c:chart xmlns:c="http://schemas.openxmlformats.org/drawingml/2006/chart" xmlns:r="http://schemas.openxmlformats.org/officeDocument/2006/relationships" r:id="rId6"/>
          </a:graphicData>
        </a:graphic>
      </p:graphicFrame>
      <p:grpSp>
        <p:nvGrpSpPr>
          <p:cNvPr id="41" name="グループ化 7">
            <a:extLst>
              <a:ext uri="{FF2B5EF4-FFF2-40B4-BE49-F238E27FC236}">
                <a16:creationId xmlns:a16="http://schemas.microsoft.com/office/drawing/2014/main" id="{4D4577A6-9486-60A3-1D7E-9B1D348A3163}"/>
              </a:ext>
            </a:extLst>
          </p:cNvPr>
          <p:cNvGrpSpPr/>
          <p:nvPr/>
        </p:nvGrpSpPr>
        <p:grpSpPr>
          <a:xfrm>
            <a:off x="333702" y="1268760"/>
            <a:ext cx="8867769" cy="287338"/>
            <a:chOff x="4803500" y="2113806"/>
            <a:chExt cx="2954133" cy="288032"/>
          </a:xfrm>
        </p:grpSpPr>
        <p:cxnSp>
          <p:nvCxnSpPr>
            <p:cNvPr id="42" name="直線コネクタ 38">
              <a:extLst>
                <a:ext uri="{FF2B5EF4-FFF2-40B4-BE49-F238E27FC236}">
                  <a16:creationId xmlns:a16="http://schemas.microsoft.com/office/drawing/2014/main" id="{CE441EDE-8095-744E-D40A-E467619F3B8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9" name="Rectangle 6">
              <a:extLst>
                <a:ext uri="{FF2B5EF4-FFF2-40B4-BE49-F238E27FC236}">
                  <a16:creationId xmlns:a16="http://schemas.microsoft.com/office/drawing/2014/main" id="{9C810A61-EA9C-0B5A-52A9-1D552635E1F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耐久消費財購入指数（</a:t>
              </a:r>
              <a:r>
                <a:rPr lang="en-US" altLang="ja-JP" sz="1200" noProof="1">
                  <a:solidFill>
                    <a:srgbClr val="000000"/>
                  </a:solidFill>
                  <a:latin typeface="Arial Black" pitchFamily="34" charset="0"/>
                  <a:ea typeface="HGP創英角ｺﾞｼｯｸUB" pitchFamily="50" charset="-128"/>
                </a:rPr>
                <a:t>%</a:t>
              </a:r>
              <a:r>
                <a:rPr lang="ja-JP" altLang="en-US" sz="1200" noProof="1">
                  <a:solidFill>
                    <a:srgbClr val="000000"/>
                  </a:solidFill>
                  <a:latin typeface="Arial Black" pitchFamily="34" charset="0"/>
                  <a:ea typeface="HGP創英角ｺﾞｼｯｸUB" pitchFamily="50" charset="-128"/>
                </a:rPr>
                <a:t>）</a:t>
              </a:r>
            </a:p>
          </p:txBody>
        </p:sp>
      </p:grpSp>
      <p:sp>
        <p:nvSpPr>
          <p:cNvPr id="2" name="テキスト ボックス 24">
            <a:extLst>
              <a:ext uri="{FF2B5EF4-FFF2-40B4-BE49-F238E27FC236}">
                <a16:creationId xmlns:a16="http://schemas.microsoft.com/office/drawing/2014/main" id="{7D058F1B-EA41-98E5-2F3E-EF5A519E3D57}"/>
              </a:ext>
            </a:extLst>
          </p:cNvPr>
          <p:cNvSpPr txBox="1"/>
          <p:nvPr/>
        </p:nvSpPr>
        <p:spPr>
          <a:xfrm>
            <a:off x="187642" y="6255514"/>
            <a:ext cx="6421541" cy="144016"/>
          </a:xfrm>
          <a:prstGeom prst="rect">
            <a:avLst/>
          </a:prstGeom>
          <a:noFill/>
        </p:spPr>
        <p:txBody>
          <a:bodyPr wrap="square" lIns="0" tIns="0" rIns="0" bIns="0" rtlCol="0">
            <a:noAutofit/>
          </a:bodyPr>
          <a:lstStyle/>
          <a:p>
            <a:pPr>
              <a:spcAft>
                <a:spcPts val="1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耐久消費財は、所有形態（レンタルまたは所有、その他長期的なリース、企業によって提供をされている）は問わない。</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1285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1B8D16D-48CA-4EEA-B953-45AD4AB5899D}"/>
              </a:ext>
            </a:extLst>
          </p:cNvPr>
          <p:cNvGraphicFramePr>
            <a:graphicFrameLocks/>
          </p:cNvGraphicFramePr>
          <p:nvPr>
            <p:custDataLst>
              <p:tags r:id="rId1"/>
            </p:custDataLst>
            <p:extLst>
              <p:ext uri="{D42A27DB-BD31-4B8C-83A1-F6EECF244321}">
                <p14:modId xmlns:p14="http://schemas.microsoft.com/office/powerpoint/2010/main" val="6960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1" name="Object 10" hidden="1">
                        <a:extLst>
                          <a:ext uri="{FF2B5EF4-FFF2-40B4-BE49-F238E27FC236}">
                            <a16:creationId xmlns:a16="http://schemas.microsoft.com/office/drawing/2014/main" id="{71B8D16D-48CA-4EEA-B953-45AD4AB589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1904245269"/>
              </p:ext>
            </p:extLst>
          </p:nvPr>
        </p:nvGraphicFramePr>
        <p:xfrm>
          <a:off x="200473" y="3555507"/>
          <a:ext cx="9505056" cy="2773672"/>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75564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資本による事業所有に関しても、国家の安全保障にかかわる公益事業、メディア関係等の一定の分野を除いて制限はない。</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規制を管轄する官庁はない。ライセンスを管轄する官庁は業種によって異な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内外資を問わず、事前に一定のライセンスを取得することが必要な事業がある。ヘルスケアに関連する代表的な業種は以下の通り。</a:t>
                      </a: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Licensing Of Retail Pharmacies</a:t>
                      </a:r>
                      <a:r>
                        <a:rPr kumimoji="1" lang="ja-JP" altLang="en-US" sz="1000" b="0" kern="1200" dirty="0">
                          <a:solidFill>
                            <a:srgbClr val="000000"/>
                          </a:solidFill>
                          <a:latin typeface="+mn-lt"/>
                          <a:ea typeface="ＭＳ Ｐゴシック" charset="-128"/>
                          <a:cs typeface="Arial" pitchFamily="34" charset="0"/>
                        </a:rPr>
                        <a:t>（薬局）：保健科学庁 </a:t>
                      </a:r>
                      <a:r>
                        <a:rPr kumimoji="1" lang="en-US" altLang="ja-JP" sz="1000" b="0" kern="1200" dirty="0">
                          <a:solidFill>
                            <a:srgbClr val="000000"/>
                          </a:solidFill>
                          <a:latin typeface="+mn-lt"/>
                          <a:ea typeface="ＭＳ Ｐゴシック" charset="-128"/>
                          <a:cs typeface="Arial" pitchFamily="34" charset="0"/>
                        </a:rPr>
                        <a:t>HS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Health Science Authority</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Hospital License, Medical Clinic License</a:t>
                      </a:r>
                      <a:r>
                        <a:rPr kumimoji="1" lang="ja-JP" altLang="en-US" sz="1000" b="0" kern="1200" dirty="0">
                          <a:solidFill>
                            <a:srgbClr val="000000"/>
                          </a:solidFill>
                          <a:latin typeface="+mn-lt"/>
                          <a:ea typeface="ＭＳ Ｐゴシック" charset="-128"/>
                          <a:cs typeface="Arial" pitchFamily="34" charset="0"/>
                        </a:rPr>
                        <a:t>（民間病院、診療所）：保健省 </a:t>
                      </a:r>
                      <a:r>
                        <a:rPr kumimoji="1" lang="en-US" altLang="ja-JP" sz="1000" b="0" kern="1200" dirty="0">
                          <a:solidFill>
                            <a:srgbClr val="000000"/>
                          </a:solidFill>
                          <a:latin typeface="+mn-lt"/>
                          <a:ea typeface="ＭＳ Ｐゴシック" charset="-128"/>
                          <a:cs typeface="Arial" pitchFamily="34" charset="0"/>
                        </a:rPr>
                        <a:t>MOH</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inistry of Health</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5344">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国家の安全にかかわる特定の部門を除き、外国資本による全額出資が原則認められてい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48">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特定の業種に関する出資比率制限以外には、外国資本による資本金に関するその他の規制はない。シンガポールで設立された企業の最低授権資本に関する法定要件もない。</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居住用不動産法に基づき、国土庁（</a:t>
                      </a:r>
                      <a:r>
                        <a:rPr lang="en-US" altLang="ja-JP" sz="1000" dirty="0"/>
                        <a:t>SLA</a:t>
                      </a:r>
                      <a:r>
                        <a:rPr lang="ja-JP" altLang="en-US" sz="1000" dirty="0"/>
                        <a:t>）による一定の制限が設けられているが、工業用・商業用不動産については法務大臣の許可なく所有が認められてい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国家開発省（</a:t>
                      </a:r>
                      <a:r>
                        <a:rPr lang="en-US" altLang="ja-JP" sz="1000" dirty="0"/>
                        <a:t>MND</a:t>
                      </a:r>
                      <a:r>
                        <a:rPr lang="ja-JP" altLang="en-US" sz="1000" dirty="0"/>
                        <a:t>）は年</a:t>
                      </a:r>
                      <a:r>
                        <a:rPr lang="en-US" altLang="ja-JP" sz="1000" dirty="0"/>
                        <a:t>2</a:t>
                      </a:r>
                      <a:r>
                        <a:rPr lang="ja-JP" altLang="en-US" sz="1000" dirty="0"/>
                        <a:t>回、市場の需要や国内経済政策に基づき、国有地の民間への売却計画を発表している。限られた国土を有効に活用することを目的に、売却計画は工業用地で最大</a:t>
                      </a:r>
                      <a:r>
                        <a:rPr lang="en-US" altLang="ja-JP" sz="1000" dirty="0"/>
                        <a:t>30</a:t>
                      </a:r>
                      <a:r>
                        <a:rPr lang="ja-JP" altLang="en-US" sz="1000" dirty="0"/>
                        <a:t>年または</a:t>
                      </a:r>
                      <a:r>
                        <a:rPr lang="en-US" altLang="ja-JP" sz="1000" dirty="0"/>
                        <a:t>60</a:t>
                      </a:r>
                      <a:r>
                        <a:rPr lang="ja-JP" altLang="en-US" sz="1000" dirty="0"/>
                        <a:t>年間、住宅や商業用地で最大</a:t>
                      </a:r>
                      <a:r>
                        <a:rPr lang="en-US" altLang="ja-JP" sz="1000" dirty="0"/>
                        <a:t>99</a:t>
                      </a:r>
                      <a:r>
                        <a:rPr lang="ja-JP" altLang="en-US" sz="1000" dirty="0"/>
                        <a:t>年間など使用権を一定期間に区切って貸し出す方式（リースホールド）が一般的であ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017823"/>
            <a:ext cx="9505056" cy="219515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貿易産業省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T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inistry of Trade and Industr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重要投資審査法案を導入した。この新法は、シンガポールの国益に重要と考えられる指定事業体を保護する目的があり、投資に対する厳しい監視を導入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とは、シンガポールにおいて設立された事業体、シンガポールにおいて何らかの活動を行う事業体又はシンガポールにおいて物品およびサービスを提供する事業体に適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に対する開示・承認義務は以下の通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買収者は、指定事業体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上の持分または議決権を取得した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以内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T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届出を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売り手は、指定事業体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又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持分又は議決権（直接または間接は問わない）を処分する場合、通知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の事業若しくは事業、又はその一部を継続企業として取得するには、事前の承認が必要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最高経営責任者、取締役、取締役会議長などの役員の選任については、事前承認を得なければならない。</a:t>
            </a:r>
          </a:p>
          <a:p>
            <a:pPr algn="just">
              <a:lnSpc>
                <a:spcPct val="110000"/>
              </a:lnSpc>
              <a:spcAft>
                <a:spcPts val="200"/>
              </a:spcAft>
              <a:buClr>
                <a:srgbClr val="5F8AC3"/>
              </a:buCl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200025" y="3235944"/>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433048" cy="28803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ITE &amp; C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Update in Singapore: Introduction of New Significant Investments Review Bil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ATHAM&amp;WATKI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s New Significant Investments Regime Comes Into Law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NES 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ンガポール、国家安全保障資産に関わる取引に関する重要投資審査法案を可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426151-F381-4D6C-9EE5-3607BF954BCA}"/>
              </a:ext>
            </a:extLst>
          </p:cNvPr>
          <p:cNvGraphicFramePr>
            <a:graphicFrameLocks/>
          </p:cNvGraphicFramePr>
          <p:nvPr>
            <p:custDataLst>
              <p:tags r:id="rId1"/>
            </p:custDataLst>
            <p:extLst>
              <p:ext uri="{D42A27DB-BD31-4B8C-83A1-F6EECF244321}">
                <p14:modId xmlns:p14="http://schemas.microsoft.com/office/powerpoint/2010/main" val="114482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C426151-F381-4D6C-9EE5-3607BF954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r>
              <a:rPr lang="ja-JP" altLang="en-US" dirty="0"/>
              <a:t>）</a:t>
            </a:r>
          </a:p>
        </p:txBody>
      </p:sp>
      <p:sp>
        <p:nvSpPr>
          <p:cNvPr id="4" name="テキスト プレースホルダ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会計企業規制庁（</a:t>
            </a:r>
            <a:r>
              <a:rPr lang="en-US" altLang="ja-JP" dirty="0"/>
              <a:t>ACRA</a:t>
            </a:r>
            <a:r>
              <a:rPr lang="ja-JP" altLang="en-US" dirty="0"/>
              <a:t>）へのビジネス登録自体は最大</a:t>
            </a:r>
            <a:r>
              <a:rPr lang="en-US" altLang="ja-JP" dirty="0"/>
              <a:t>3</a:t>
            </a:r>
            <a:r>
              <a:rPr lang="ja-JP" altLang="en-US" dirty="0"/>
              <a:t>日で済むが、他の機関に承認や審査を申請する必要がある場合は、</a:t>
            </a:r>
            <a:r>
              <a:rPr lang="en-US" altLang="ja-JP" dirty="0"/>
              <a:t>14</a:t>
            </a:r>
            <a:r>
              <a:rPr lang="ja-JP" altLang="en-US" dirty="0"/>
              <a:t>営業日から</a:t>
            </a:r>
            <a:r>
              <a:rPr lang="en-US" altLang="ja-JP" dirty="0"/>
              <a:t>2</a:t>
            </a:r>
            <a:r>
              <a:rPr lang="ja-JP" altLang="en-US" dirty="0"/>
              <a:t>カ月かかる可能性がある。</a:t>
            </a:r>
            <a:endParaRPr lang="en-US" altLang="ja-JP" dirty="0"/>
          </a:p>
          <a:p>
            <a:r>
              <a:rPr lang="ja-JP" altLang="en-US" dirty="0"/>
              <a:t>シンガポール経済開発庁が在日大使館内に東京オフィスを構え、日本企業のシンガポール進出の支援・情報提供を行ってい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a:extLst>
              <a:ext uri="{FF2B5EF4-FFF2-40B4-BE49-F238E27FC236}">
                <a16:creationId xmlns:a16="http://schemas.microsoft.com/office/drawing/2014/main" id="{480C8A02-78FD-4F42-863A-1E2AE50545C4}"/>
              </a:ext>
            </a:extLst>
          </p:cNvPr>
          <p:cNvGrpSpPr/>
          <p:nvPr/>
        </p:nvGrpSpPr>
        <p:grpSpPr>
          <a:xfrm>
            <a:off x="198828" y="2371634"/>
            <a:ext cx="9506266" cy="288032"/>
            <a:chOff x="4944173" y="2113806"/>
            <a:chExt cx="5861371" cy="288032"/>
          </a:xfrm>
        </p:grpSpPr>
        <p:cxnSp>
          <p:nvCxnSpPr>
            <p:cNvPr id="16" name="直線コネクタ 6">
              <a:extLst>
                <a:ext uri="{FF2B5EF4-FFF2-40B4-BE49-F238E27FC236}">
                  <a16:creationId xmlns:a16="http://schemas.microsoft.com/office/drawing/2014/main" id="{D95FC2B0-BDA6-4014-9FA7-74A13AA4590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4646947B-C707-4CB4-8FB9-6718F1490A9F}"/>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企業の設立に必要な手続き・書類等</a:t>
              </a:r>
              <a:endParaRPr lang="zh-TW" altLang="en-US" sz="1400" dirty="0">
                <a:solidFill>
                  <a:srgbClr val="000000"/>
                </a:solidFill>
                <a:latin typeface="Arial Black" pitchFamily="34" charset="0"/>
                <a:ea typeface="HGP創英角ｺﾞｼｯｸUB" pitchFamily="50" charset="-128"/>
              </a:endParaRPr>
            </a:p>
          </p:txBody>
        </p:sp>
      </p:grpSp>
      <p:sp>
        <p:nvSpPr>
          <p:cNvPr id="19" name="TextBox 18">
            <a:extLst>
              <a:ext uri="{FF2B5EF4-FFF2-40B4-BE49-F238E27FC236}">
                <a16:creationId xmlns:a16="http://schemas.microsoft.com/office/drawing/2014/main" id="{751F48AE-7DD3-4441-9D29-3BD42103EF5D}"/>
              </a:ext>
            </a:extLst>
          </p:cNvPr>
          <p:cNvSpPr txBox="1"/>
          <p:nvPr/>
        </p:nvSpPr>
        <p:spPr>
          <a:xfrm>
            <a:off x="198828" y="2787322"/>
            <a:ext cx="9362252" cy="954107"/>
          </a:xfrm>
          <a:prstGeom prst="rect">
            <a:avLst/>
          </a:prstGeom>
          <a:noFill/>
        </p:spPr>
        <p:txBody>
          <a:bodyPr wrap="square">
            <a:spAutoFit/>
          </a:bodyPr>
          <a:lstStyle/>
          <a:p>
            <a:r>
              <a:rPr lang="ja-JP" altLang="en-US" sz="1400" dirty="0"/>
              <a:t>外国企業はシンガポールにおいて、次のいずれかの形態で事業を実施できるが、会社設立にかかる手続き、および必要書類は設立形態によって異なる。いずれの形態の場合も、事業所の登記は会計企業規制庁（</a:t>
            </a:r>
            <a:r>
              <a:rPr lang="en-US" altLang="ja-JP" sz="1400" dirty="0"/>
              <a:t>ACRA</a:t>
            </a:r>
            <a:r>
              <a:rPr lang="ja-JP" altLang="en-US" sz="1400" dirty="0"/>
              <a:t>）を通じて行う。駐在員事務所の設立に関しては、所轄機関であるエンタープライズ・シンガポール（金融機関の場合は通貨金融庁）への申請が必要となる。</a:t>
            </a:r>
          </a:p>
        </p:txBody>
      </p:sp>
      <p:sp>
        <p:nvSpPr>
          <p:cNvPr id="23" name="TextBox 22">
            <a:extLst>
              <a:ext uri="{FF2B5EF4-FFF2-40B4-BE49-F238E27FC236}">
                <a16:creationId xmlns:a16="http://schemas.microsoft.com/office/drawing/2014/main" id="{FA51105E-24E2-4083-85D7-7B3BE3C22C77}"/>
              </a:ext>
            </a:extLst>
          </p:cNvPr>
          <p:cNvSpPr txBox="1"/>
          <p:nvPr/>
        </p:nvSpPr>
        <p:spPr>
          <a:xfrm>
            <a:off x="194036" y="3952520"/>
            <a:ext cx="1086124" cy="276999"/>
          </a:xfrm>
          <a:prstGeom prst="rect">
            <a:avLst/>
          </a:prstGeom>
          <a:noFill/>
        </p:spPr>
        <p:txBody>
          <a:bodyPr wrap="square">
            <a:spAutoFit/>
          </a:bodyPr>
          <a:lstStyle/>
          <a:p>
            <a:r>
              <a:rPr lang="ja-JP" altLang="en-US" sz="1200" dirty="0"/>
              <a:t>現地法人</a:t>
            </a:r>
          </a:p>
        </p:txBody>
      </p:sp>
      <p:sp>
        <p:nvSpPr>
          <p:cNvPr id="24" name="TextBox 23">
            <a:extLst>
              <a:ext uri="{FF2B5EF4-FFF2-40B4-BE49-F238E27FC236}">
                <a16:creationId xmlns:a16="http://schemas.microsoft.com/office/drawing/2014/main" id="{63C24206-E933-4A75-A11F-D2A5EB9340D7}"/>
              </a:ext>
            </a:extLst>
          </p:cNvPr>
          <p:cNvSpPr txBox="1"/>
          <p:nvPr/>
        </p:nvSpPr>
        <p:spPr>
          <a:xfrm>
            <a:off x="2072248" y="3952520"/>
            <a:ext cx="7344816" cy="461665"/>
          </a:xfrm>
          <a:prstGeom prst="rect">
            <a:avLst/>
          </a:prstGeom>
          <a:noFill/>
        </p:spPr>
        <p:txBody>
          <a:bodyPr wrap="square">
            <a:spAutoFit/>
          </a:bodyPr>
          <a:lstStyle/>
          <a:p>
            <a:r>
              <a:rPr lang="ja-JP" altLang="en-US" sz="1200" dirty="0"/>
              <a:t>定款、取締役会議事録、取締役就任宣誓書（</a:t>
            </a:r>
            <a:r>
              <a:rPr lang="en-US" altLang="ja-JP" sz="1200" dirty="0"/>
              <a:t>Form 45</a:t>
            </a:r>
            <a:r>
              <a:rPr lang="ja-JP" altLang="en-US" sz="1200" dirty="0"/>
              <a:t>）、株主代理人の選定書、取締役および株主代理人の氏名、</a:t>
            </a:r>
            <a:r>
              <a:rPr lang="en-US" altLang="ja-JP" sz="1200" dirty="0"/>
              <a:t>ID</a:t>
            </a:r>
            <a:r>
              <a:rPr lang="ja-JP" altLang="en-US" sz="1200" dirty="0"/>
              <a:t>ならびに住所に関する情報、実質的支配者のパスポートコピー</a:t>
            </a:r>
          </a:p>
        </p:txBody>
      </p:sp>
      <p:sp>
        <p:nvSpPr>
          <p:cNvPr id="25" name="TextBox 24">
            <a:extLst>
              <a:ext uri="{FF2B5EF4-FFF2-40B4-BE49-F238E27FC236}">
                <a16:creationId xmlns:a16="http://schemas.microsoft.com/office/drawing/2014/main" id="{B937D567-12B1-4DD3-80E2-BD1B486919AF}"/>
              </a:ext>
            </a:extLst>
          </p:cNvPr>
          <p:cNvSpPr txBox="1"/>
          <p:nvPr/>
        </p:nvSpPr>
        <p:spPr>
          <a:xfrm>
            <a:off x="2072248" y="4563625"/>
            <a:ext cx="7344816" cy="276999"/>
          </a:xfrm>
          <a:prstGeom prst="rect">
            <a:avLst/>
          </a:prstGeom>
          <a:noFill/>
        </p:spPr>
        <p:txBody>
          <a:bodyPr wrap="square">
            <a:spAutoFit/>
          </a:bodyPr>
          <a:lstStyle/>
          <a:p>
            <a:r>
              <a:rPr lang="ja-JP" altLang="en-US" sz="1200" dirty="0"/>
              <a:t>代表権者選任書、日本本社の登記簿謄本（英訳）、日本本社の会社定款（英訳）も日本本社取締役の一覧</a:t>
            </a:r>
          </a:p>
        </p:txBody>
      </p:sp>
      <p:sp>
        <p:nvSpPr>
          <p:cNvPr id="26" name="TextBox 25">
            <a:extLst>
              <a:ext uri="{FF2B5EF4-FFF2-40B4-BE49-F238E27FC236}">
                <a16:creationId xmlns:a16="http://schemas.microsoft.com/office/drawing/2014/main" id="{15B4E6BB-4916-490D-9039-B07EA21FA2DF}"/>
              </a:ext>
            </a:extLst>
          </p:cNvPr>
          <p:cNvSpPr txBox="1"/>
          <p:nvPr/>
        </p:nvSpPr>
        <p:spPr>
          <a:xfrm>
            <a:off x="2072248" y="5174730"/>
            <a:ext cx="7344816" cy="461665"/>
          </a:xfrm>
          <a:prstGeom prst="rect">
            <a:avLst/>
          </a:prstGeom>
          <a:noFill/>
        </p:spPr>
        <p:txBody>
          <a:bodyPr wrap="square">
            <a:spAutoFit/>
          </a:bodyPr>
          <a:lstStyle/>
          <a:p>
            <a:r>
              <a:rPr lang="ja-JP" altLang="en-US" sz="1200" dirty="0"/>
              <a:t>日本本社の決算書・監査報告書（英訳つき）、日本本社の登記簿謄本（翻訳証明書添付）、</a:t>
            </a:r>
            <a:r>
              <a:rPr lang="en-US" altLang="ja-JP" sz="1200" dirty="0"/>
              <a:t>Acceptance of Terms and Conditions</a:t>
            </a:r>
            <a:r>
              <a:rPr lang="ja-JP" altLang="en-US" sz="1200" dirty="0"/>
              <a:t>、日本本社の会社案内</a:t>
            </a:r>
          </a:p>
        </p:txBody>
      </p:sp>
      <p:sp>
        <p:nvSpPr>
          <p:cNvPr id="28" name="TextBox 27">
            <a:extLst>
              <a:ext uri="{FF2B5EF4-FFF2-40B4-BE49-F238E27FC236}">
                <a16:creationId xmlns:a16="http://schemas.microsoft.com/office/drawing/2014/main" id="{C794AA2B-D36E-470D-B229-6372DF36C23D}"/>
              </a:ext>
            </a:extLst>
          </p:cNvPr>
          <p:cNvSpPr txBox="1"/>
          <p:nvPr/>
        </p:nvSpPr>
        <p:spPr>
          <a:xfrm>
            <a:off x="194036" y="4609755"/>
            <a:ext cx="1086124" cy="276999"/>
          </a:xfrm>
          <a:prstGeom prst="rect">
            <a:avLst/>
          </a:prstGeom>
          <a:noFill/>
        </p:spPr>
        <p:txBody>
          <a:bodyPr wrap="square">
            <a:spAutoFit/>
          </a:bodyPr>
          <a:lstStyle/>
          <a:p>
            <a:r>
              <a:rPr lang="ja-JP" altLang="en-US" sz="1200" dirty="0"/>
              <a:t>支店</a:t>
            </a:r>
          </a:p>
        </p:txBody>
      </p:sp>
      <p:sp>
        <p:nvSpPr>
          <p:cNvPr id="29" name="TextBox 28">
            <a:extLst>
              <a:ext uri="{FF2B5EF4-FFF2-40B4-BE49-F238E27FC236}">
                <a16:creationId xmlns:a16="http://schemas.microsoft.com/office/drawing/2014/main" id="{2109AC39-6313-452B-B289-CD90068DCD22}"/>
              </a:ext>
            </a:extLst>
          </p:cNvPr>
          <p:cNvSpPr txBox="1"/>
          <p:nvPr/>
        </p:nvSpPr>
        <p:spPr>
          <a:xfrm>
            <a:off x="194036" y="5266990"/>
            <a:ext cx="1446164" cy="276999"/>
          </a:xfrm>
          <a:prstGeom prst="rect">
            <a:avLst/>
          </a:prstGeom>
          <a:noFill/>
        </p:spPr>
        <p:txBody>
          <a:bodyPr wrap="square">
            <a:spAutoFit/>
          </a:bodyPr>
          <a:lstStyle/>
          <a:p>
            <a:r>
              <a:rPr lang="ja-JP" altLang="en-US" sz="1200" dirty="0"/>
              <a:t>駐在員事務所</a:t>
            </a:r>
          </a:p>
        </p:txBody>
      </p:sp>
      <p:sp>
        <p:nvSpPr>
          <p:cNvPr id="31" name="TextBox 30">
            <a:extLst>
              <a:ext uri="{FF2B5EF4-FFF2-40B4-BE49-F238E27FC236}">
                <a16:creationId xmlns:a16="http://schemas.microsoft.com/office/drawing/2014/main" id="{A77FC9CC-9799-4D5B-AAC6-72EE26EB401F}"/>
              </a:ext>
            </a:extLst>
          </p:cNvPr>
          <p:cNvSpPr txBox="1"/>
          <p:nvPr/>
        </p:nvSpPr>
        <p:spPr>
          <a:xfrm>
            <a:off x="194036" y="5960198"/>
            <a:ext cx="9223028" cy="461665"/>
          </a:xfrm>
          <a:prstGeom prst="rect">
            <a:avLst/>
          </a:prstGeom>
          <a:noFill/>
        </p:spPr>
        <p:txBody>
          <a:bodyPr wrap="square">
            <a:spAutoFit/>
          </a:bodyPr>
          <a:lstStyle/>
          <a:p>
            <a:r>
              <a:rPr lang="ja-JP" altLang="en-US" sz="1200" dirty="0"/>
              <a:t>その他に個人事業体またはパートナーシップ、有限責任パートナーシップまたはリミテッド・パートナーシップ、ビジネストラストという形態をとることも可能。</a:t>
            </a: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426151-F381-4D6C-9EE5-3607BF954BC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1C426151-F381-4D6C-9EE5-3607BF954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会社法（</a:t>
            </a:r>
            <a:r>
              <a:rPr lang="en-US" altLang="ja-JP" noProof="1"/>
              <a:t>2</a:t>
            </a:r>
            <a:r>
              <a:rPr lang="ja-JP" altLang="en-US" noProof="1"/>
              <a:t>/</a:t>
            </a:r>
            <a:r>
              <a:rPr lang="en-US" altLang="ja-JP" noProof="1"/>
              <a:t>2</a:t>
            </a:r>
            <a:r>
              <a:rPr lang="ja-JP" altLang="en-US" noProof="1"/>
              <a:t>）</a:t>
            </a:r>
          </a:p>
        </p:txBody>
      </p:sp>
      <p:sp>
        <p:nvSpPr>
          <p:cNvPr id="4" name="テキスト プレースホルダ 1"/>
          <p:cNvSpPr txBox="1">
            <a:spLocks/>
          </p:cNvSpPr>
          <p:nvPr/>
        </p:nvSpPr>
        <p:spPr>
          <a:xfrm>
            <a:off x="271271" y="1019214"/>
            <a:ext cx="9505950" cy="705321"/>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0"/>
              </a:spcBef>
              <a:spcAft>
                <a:spcPts val="200"/>
              </a:spcAft>
              <a:buClr>
                <a:srgbClr val="5F8AC3"/>
              </a:buClr>
              <a:buSzTx/>
              <a:buFont typeface="Wingdings" panose="05000000000000000000" pitchFamily="2" charset="2"/>
              <a:buChar char="n"/>
              <a:tabLst/>
              <a:defRPr/>
            </a:pP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外国企業がシンガポールで事業を開始するには、次の方法があ</a:t>
            </a:r>
            <a:r>
              <a:rPr kumimoji="1" lang="ja-JP" altLang="en-US"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る</a:t>
            </a: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駐在員事務所の開設</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lang="ja-JP" altLang="en-US" noProof="1">
                <a:solidFill>
                  <a:srgbClr val="000000"/>
                </a:solidFill>
                <a:latin typeface="+mn-ea"/>
                <a:ea typeface="+mn-ea"/>
              </a:rPr>
              <a:t>支店</a:t>
            </a: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の登録</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lang="en-US" altLang="ja-JP" noProof="1">
                <a:solidFill>
                  <a:srgbClr val="000000"/>
                </a:solidFill>
                <a:latin typeface="+mn-ea"/>
                <a:ea typeface="+mn-ea"/>
              </a:rPr>
              <a:t>株式による子会社・有限会社の設立</a:t>
            </a:r>
            <a:endParaRPr kumimoji="1" lang="en-US" altLang="ja-JP" sz="1120" b="0" i="0" u="none" strike="noStrike" kern="1200" cap="none" spc="0" normalizeH="0" baseline="0" noProof="0" dirty="0">
              <a:ln>
                <a:noFill/>
              </a:ln>
              <a:solidFill>
                <a:srgbClr val="000000"/>
              </a:solidFill>
              <a:effectLst/>
              <a:uLnTx/>
              <a:uFillTx/>
              <a:latin typeface="+mn-ea"/>
              <a:ea typeface="+mn-ea"/>
              <a:cs typeface="Arial" panose="020B0604020202020204" pitchFamily="34" charset="0"/>
            </a:endParaRPr>
          </a:p>
        </p:txBody>
      </p:sp>
      <p:sp>
        <p:nvSpPr>
          <p:cNvPr id="6" name="TextBox 5">
            <a:extLst>
              <a:ext uri="{FF2B5EF4-FFF2-40B4-BE49-F238E27FC236}">
                <a16:creationId xmlns:a16="http://schemas.microsoft.com/office/drawing/2014/main" id="{DF6547AE-A6AF-EC6C-51C7-76D53FFB0901}"/>
              </a:ext>
            </a:extLst>
          </p:cNvPr>
          <p:cNvSpPr txBox="1"/>
          <p:nvPr/>
        </p:nvSpPr>
        <p:spPr>
          <a:xfrm>
            <a:off x="271586" y="3372156"/>
            <a:ext cx="2737066" cy="276999"/>
          </a:xfrm>
          <a:prstGeom prst="rect">
            <a:avLst/>
          </a:prstGeom>
          <a:noFill/>
        </p:spPr>
        <p:txBody>
          <a:bodyPr wrap="square" rtlCol="0">
            <a:spAutoFit/>
          </a:bodyPr>
          <a:lstStyle/>
          <a:p>
            <a:r>
              <a:rPr kumimoji="1" lang="en-US" sz="1200" b="1" noProof="1">
                <a:latin typeface="+mj-lt"/>
                <a:cs typeface="Arial" panose="020B0604020202020204" pitchFamily="34" charset="0"/>
              </a:rPr>
              <a:t>2） </a:t>
            </a:r>
            <a:r>
              <a:rPr kumimoji="1" lang="en-US" sz="1200" b="1" noProof="1">
                <a:latin typeface="+mn-ea"/>
                <a:cs typeface="Arial" panose="020B0604020202020204" pitchFamily="34" charset="0"/>
              </a:rPr>
              <a:t>支店</a:t>
            </a:r>
          </a:p>
        </p:txBody>
      </p:sp>
      <p:sp>
        <p:nvSpPr>
          <p:cNvPr id="7" name="テキスト プレースホルダ 1">
            <a:extLst>
              <a:ext uri="{FF2B5EF4-FFF2-40B4-BE49-F238E27FC236}">
                <a16:creationId xmlns:a16="http://schemas.microsoft.com/office/drawing/2014/main" id="{562CB0EA-7602-46D2-1266-0C3066532028}"/>
              </a:ext>
            </a:extLst>
          </p:cNvPr>
          <p:cNvSpPr txBox="1">
            <a:spLocks/>
          </p:cNvSpPr>
          <p:nvPr/>
        </p:nvSpPr>
        <p:spPr>
          <a:xfrm>
            <a:off x="271586" y="3682202"/>
            <a:ext cx="9505950" cy="882293"/>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b="0" i="0" noProof="1">
                <a:solidFill>
                  <a:srgbClr val="0A0A0A"/>
                </a:solidFill>
                <a:effectLst/>
                <a:latin typeface="+mn-ea"/>
                <a:ea typeface="+mn-ea"/>
              </a:rPr>
              <a:t>支店は外国の持株会社の延長とみなされるため、非居住者として法人税率</a:t>
            </a:r>
            <a:r>
              <a:rPr lang="en-US" sz="1100" b="0" i="0" noProof="1">
                <a:solidFill>
                  <a:srgbClr val="0A0A0A"/>
                </a:solidFill>
                <a:effectLst/>
                <a:latin typeface="+mj-lt"/>
                <a:ea typeface="+mn-ea"/>
              </a:rPr>
              <a:t>17%</a:t>
            </a:r>
            <a:r>
              <a:rPr lang="ja-JP" altLang="en-US" sz="1100" b="0" i="0" noProof="1">
                <a:solidFill>
                  <a:srgbClr val="0A0A0A"/>
                </a:solidFill>
                <a:effectLst/>
                <a:latin typeface="+mn-ea"/>
                <a:ea typeface="+mn-ea"/>
              </a:rPr>
              <a:t>が</a:t>
            </a:r>
            <a:r>
              <a:rPr lang="en-US" sz="1100" b="0" i="0" noProof="1">
                <a:solidFill>
                  <a:srgbClr val="0A0A0A"/>
                </a:solidFill>
                <a:effectLst/>
                <a:latin typeface="+mn-ea"/>
                <a:ea typeface="+mn-ea"/>
              </a:rPr>
              <a:t>課税され</a:t>
            </a:r>
            <a:r>
              <a:rPr lang="ja-JP" altLang="en-US" sz="1100" b="0" i="0" noProof="1">
                <a:solidFill>
                  <a:srgbClr val="0A0A0A"/>
                </a:solidFill>
                <a:effectLst/>
                <a:latin typeface="+mn-ea"/>
                <a:ea typeface="+mn-ea"/>
              </a:rPr>
              <a:t>る</a:t>
            </a:r>
            <a:r>
              <a:rPr lang="en-US" sz="1100" b="0" i="0" noProof="1">
                <a:solidFill>
                  <a:srgbClr val="0A0A0A"/>
                </a:solidFill>
                <a:effectLst/>
                <a:latin typeface="+mn-ea"/>
                <a:ea typeface="+mn-ea"/>
              </a:rPr>
              <a:t>。</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sz="1100" noProof="1">
                <a:solidFill>
                  <a:srgbClr val="0A0A0A"/>
                </a:solidFill>
                <a:latin typeface="+mn-ea"/>
                <a:ea typeface="+mn-ea"/>
              </a:rPr>
              <a:t>支店</a:t>
            </a:r>
            <a:r>
              <a:rPr lang="en-US" sz="1100" noProof="1">
                <a:solidFill>
                  <a:srgbClr val="0A0A0A"/>
                </a:solidFill>
                <a:latin typeface="+mn-ea"/>
                <a:ea typeface="+mn-ea"/>
              </a:rPr>
              <a:t>を設定するための主な要件:</a:t>
            </a:r>
          </a:p>
          <a:p>
            <a:pPr marL="411480">
              <a:lnSpc>
                <a:spcPct val="80000"/>
              </a:lnSpc>
              <a:spcBef>
                <a:spcPts val="200"/>
              </a:spcBef>
              <a:buFont typeface="Courier New" panose="02070309020205020404" pitchFamily="49" charset="0"/>
              <a:buChar char="o"/>
            </a:pPr>
            <a:r>
              <a:rPr lang="en-US" sz="1100" noProof="1">
                <a:solidFill>
                  <a:srgbClr val="0A0A0A"/>
                </a:solidFill>
                <a:latin typeface="+mn-ea"/>
                <a:ea typeface="+mn-ea"/>
              </a:rPr>
              <a:t>支店の</a:t>
            </a:r>
            <a:r>
              <a:rPr lang="ja-JP" altLang="en-US" sz="1100" noProof="1">
                <a:solidFill>
                  <a:srgbClr val="0A0A0A"/>
                </a:solidFill>
                <a:latin typeface="+mn-ea"/>
                <a:ea typeface="+mn-ea"/>
              </a:rPr>
              <a:t>名称</a:t>
            </a:r>
            <a:r>
              <a:rPr lang="en-US" sz="1100" noProof="1">
                <a:solidFill>
                  <a:srgbClr val="0A0A0A"/>
                </a:solidFill>
                <a:latin typeface="+mn-ea"/>
                <a:ea typeface="+mn-ea"/>
              </a:rPr>
              <a:t>は、外国の親会社と同じである必要があり、支店の登録プロセスの前に</a:t>
            </a:r>
            <a:r>
              <a:rPr lang="en-US" sz="1100" noProof="1">
                <a:solidFill>
                  <a:srgbClr val="0A0A0A"/>
                </a:solidFill>
                <a:latin typeface="+mj-lt"/>
                <a:ea typeface="+mn-ea"/>
              </a:rPr>
              <a:t>ACRA</a:t>
            </a:r>
            <a:r>
              <a:rPr lang="en-US" sz="1100" noProof="1">
                <a:solidFill>
                  <a:srgbClr val="0A0A0A"/>
                </a:solidFill>
                <a:latin typeface="+mn-ea"/>
                <a:ea typeface="+mn-ea"/>
              </a:rPr>
              <a:t>によって承認される必要があ</a:t>
            </a:r>
            <a:r>
              <a:rPr lang="ja-JP" altLang="en-US" sz="1100" noProof="1">
                <a:solidFill>
                  <a:srgbClr val="0A0A0A"/>
                </a:solidFill>
                <a:latin typeface="+mn-ea"/>
                <a:ea typeface="+mn-ea"/>
              </a:rPr>
              <a:t>る</a:t>
            </a:r>
            <a:r>
              <a:rPr lang="en-US" sz="1100" noProof="1">
                <a:solidFill>
                  <a:srgbClr val="0A0A0A"/>
                </a:solidFill>
                <a:latin typeface="+mn-ea"/>
                <a:ea typeface="+mn-ea"/>
              </a:rPr>
              <a:t>。</a:t>
            </a:r>
          </a:p>
          <a:p>
            <a:pPr marL="411480">
              <a:lnSpc>
                <a:spcPct val="80000"/>
              </a:lnSpc>
              <a:spcBef>
                <a:spcPts val="200"/>
              </a:spcBef>
              <a:buFont typeface="Courier New" panose="02070309020205020404" pitchFamily="49" charset="0"/>
              <a:buChar char="o"/>
            </a:pPr>
            <a:r>
              <a:rPr lang="ja-JP" altLang="en-US" sz="1100" noProof="1">
                <a:solidFill>
                  <a:srgbClr val="0A0A0A"/>
                </a:solidFill>
                <a:latin typeface="+mn-ea"/>
                <a:ea typeface="+mn-ea"/>
              </a:rPr>
              <a:t>承認を受けるために、名称</a:t>
            </a:r>
            <a:r>
              <a:rPr lang="en-US" sz="1100" noProof="1">
                <a:solidFill>
                  <a:srgbClr val="0A0A0A"/>
                </a:solidFill>
                <a:latin typeface="+mn-ea"/>
                <a:ea typeface="+mn-ea"/>
              </a:rPr>
              <a:t>の申請は</a:t>
            </a:r>
            <a:r>
              <a:rPr lang="en-US" sz="1100" noProof="1">
                <a:solidFill>
                  <a:srgbClr val="0A0A0A"/>
                </a:solidFill>
                <a:latin typeface="+mj-lt"/>
                <a:ea typeface="+mn-ea"/>
              </a:rPr>
              <a:t>ACRA Bizfile</a:t>
            </a:r>
            <a:r>
              <a:rPr lang="en-US" sz="1100" noProof="1">
                <a:solidFill>
                  <a:srgbClr val="0A0A0A"/>
                </a:solidFill>
                <a:latin typeface="+mn-ea"/>
                <a:ea typeface="+mn-ea"/>
              </a:rPr>
              <a:t>を介して</a:t>
            </a:r>
            <a:r>
              <a:rPr lang="ja-JP" altLang="en-US" sz="1100" noProof="1">
                <a:solidFill>
                  <a:srgbClr val="0A0A0A"/>
                </a:solidFill>
                <a:latin typeface="+mn-ea"/>
                <a:ea typeface="+mn-ea"/>
              </a:rPr>
              <a:t>送信する。</a:t>
            </a:r>
            <a:endParaRPr lang="en-US" sz="1100" noProof="1">
              <a:solidFill>
                <a:srgbClr val="0A0A0A"/>
              </a:solidFill>
              <a:latin typeface="+mn-ea"/>
              <a:ea typeface="+mn-ea"/>
            </a:endParaRPr>
          </a:p>
          <a:p>
            <a:pPr marL="411480">
              <a:lnSpc>
                <a:spcPct val="80000"/>
              </a:lnSpc>
              <a:spcBef>
                <a:spcPts val="200"/>
              </a:spcBef>
              <a:buFont typeface="Courier New" panose="02070309020205020404" pitchFamily="49" charset="0"/>
              <a:buChar char="o"/>
            </a:pPr>
            <a:r>
              <a:rPr lang="en-US" sz="1100" noProof="1">
                <a:solidFill>
                  <a:srgbClr val="0A0A0A"/>
                </a:solidFill>
                <a:latin typeface="+mn-ea"/>
                <a:ea typeface="+mn-ea"/>
              </a:rPr>
              <a:t>シンガポール支店には、通常シンガポールの居住者である取締役及び少なくとも</a:t>
            </a:r>
            <a:r>
              <a:rPr lang="en-US" sz="1100" noProof="1">
                <a:solidFill>
                  <a:srgbClr val="0A0A0A"/>
                </a:solidFill>
                <a:latin typeface="+mj-lt"/>
                <a:ea typeface="+mn-ea"/>
              </a:rPr>
              <a:t>1</a:t>
            </a:r>
            <a:r>
              <a:rPr lang="en-US" sz="1100" noProof="1">
                <a:solidFill>
                  <a:srgbClr val="0A0A0A"/>
                </a:solidFill>
                <a:latin typeface="+mn-ea"/>
                <a:ea typeface="+mn-ea"/>
              </a:rPr>
              <a:t>人の授権された代理人を置かなければならない。</a:t>
            </a:r>
          </a:p>
        </p:txBody>
      </p:sp>
      <p:sp>
        <p:nvSpPr>
          <p:cNvPr id="9" name="TextBox 8">
            <a:extLst>
              <a:ext uri="{FF2B5EF4-FFF2-40B4-BE49-F238E27FC236}">
                <a16:creationId xmlns:a16="http://schemas.microsoft.com/office/drawing/2014/main" id="{E95BDD2D-3A28-110F-9E09-3F20CA434DCA}"/>
              </a:ext>
            </a:extLst>
          </p:cNvPr>
          <p:cNvSpPr txBox="1"/>
          <p:nvPr/>
        </p:nvSpPr>
        <p:spPr>
          <a:xfrm>
            <a:off x="271586" y="1844824"/>
            <a:ext cx="3456831" cy="276999"/>
          </a:xfrm>
          <a:prstGeom prst="rect">
            <a:avLst/>
          </a:prstGeom>
          <a:noFill/>
        </p:spPr>
        <p:txBody>
          <a:bodyPr wrap="square" rtlCol="0">
            <a:spAutoFit/>
          </a:bodyPr>
          <a:lstStyle/>
          <a:p>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1） </a:t>
            </a:r>
            <a:r>
              <a:rPr kumimoji="1" lang="en-US" sz="1200" b="1" noProof="1">
                <a:latin typeface="+mn-ea"/>
                <a:cs typeface="Arial" panose="020B0604020202020204" pitchFamily="34" charset="0"/>
              </a:rPr>
              <a:t>駐在員事務所</a:t>
            </a:r>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noProof="1">
                <a:latin typeface="Arial" panose="020B0604020202020204" pitchFamily="34" charset="0"/>
                <a:ea typeface="ＭＳ Ｐゴシック" panose="020B0600070205080204" pitchFamily="50" charset="-128"/>
                <a:cs typeface="Arial" panose="020B0604020202020204" pitchFamily="34" charset="0"/>
              </a:rPr>
              <a:t>RO:</a:t>
            </a:r>
            <a:r>
              <a:rPr kumimoji="1" lang="ja-JP" altLang="en-US" sz="1200" b="1" noProof="1">
                <a:latin typeface="Arial" panose="020B0604020202020204" pitchFamily="34" charset="0"/>
                <a:ea typeface="ＭＳ Ｐゴシック" panose="020B0600070205080204" pitchFamily="50" charset="-128"/>
                <a:cs typeface="Arial" panose="020B0604020202020204" pitchFamily="34" charset="0"/>
              </a:rPr>
              <a:t> </a:t>
            </a:r>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Representative office）</a:t>
            </a:r>
          </a:p>
        </p:txBody>
      </p:sp>
      <p:sp>
        <p:nvSpPr>
          <p:cNvPr id="11" name="テキスト プレースホルダ 1">
            <a:extLst>
              <a:ext uri="{FF2B5EF4-FFF2-40B4-BE49-F238E27FC236}">
                <a16:creationId xmlns:a16="http://schemas.microsoft.com/office/drawing/2014/main" id="{57BC3E4F-85DF-60DE-61B7-926616C9196D}"/>
              </a:ext>
            </a:extLst>
          </p:cNvPr>
          <p:cNvSpPr txBox="1">
            <a:spLocks/>
          </p:cNvSpPr>
          <p:nvPr/>
        </p:nvSpPr>
        <p:spPr>
          <a:xfrm>
            <a:off x="271586" y="2167163"/>
            <a:ext cx="9505950" cy="1069011"/>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b="0" i="0" noProof="1">
                <a:solidFill>
                  <a:srgbClr val="0A0A0A"/>
                </a:solidFill>
                <a:effectLst/>
                <a:latin typeface="+mn-ea"/>
                <a:ea typeface="+mn-ea"/>
              </a:rPr>
              <a:t>承認された外国</a:t>
            </a:r>
            <a:r>
              <a:rPr lang="ja-JP" altLang="en-US" sz="1100" b="0" i="0" noProof="1">
                <a:solidFill>
                  <a:srgbClr val="0A0A0A"/>
                </a:solidFill>
                <a:effectLst/>
                <a:latin typeface="+mn-ea"/>
                <a:ea typeface="+mn-ea"/>
              </a:rPr>
              <a:t>企業</a:t>
            </a:r>
            <a:r>
              <a:rPr lang="en-US" sz="1100" b="0" i="0" noProof="1">
                <a:solidFill>
                  <a:srgbClr val="0A0A0A"/>
                </a:solidFill>
                <a:effectLst/>
                <a:latin typeface="+mn-ea"/>
                <a:ea typeface="+mn-ea"/>
              </a:rPr>
              <a:t>は、</a:t>
            </a:r>
            <a:r>
              <a:rPr lang="ja-JP" altLang="en-US" sz="1100" b="0" i="0" noProof="1">
                <a:solidFill>
                  <a:srgbClr val="0A0A0A"/>
                </a:solidFill>
                <a:effectLst/>
                <a:latin typeface="+mn-ea"/>
                <a:ea typeface="+mn-ea"/>
              </a:rPr>
              <a:t>駐在員事務所</a:t>
            </a:r>
            <a:r>
              <a:rPr lang="en-US" sz="1100" b="0" i="0" noProof="1">
                <a:solidFill>
                  <a:srgbClr val="0A0A0A"/>
                </a:solidFill>
                <a:effectLst/>
                <a:latin typeface="+mn-ea"/>
                <a:ea typeface="+mn-ea"/>
              </a:rPr>
              <a:t>を設立し、その開始から</a:t>
            </a:r>
            <a:r>
              <a:rPr lang="en-US" sz="1100" b="0" i="0" noProof="1">
                <a:solidFill>
                  <a:srgbClr val="0A0A0A"/>
                </a:solidFill>
                <a:effectLst/>
                <a:latin typeface="+mj-lt"/>
                <a:ea typeface="+mn-ea"/>
              </a:rPr>
              <a:t>1</a:t>
            </a:r>
            <a:r>
              <a:rPr lang="en-US" sz="1100" b="0" i="0" noProof="1">
                <a:solidFill>
                  <a:srgbClr val="0A0A0A"/>
                </a:solidFill>
                <a:effectLst/>
                <a:latin typeface="+mn-ea"/>
                <a:ea typeface="+mn-ea"/>
              </a:rPr>
              <a:t>年間運営することができる。</a:t>
            </a:r>
            <a:r>
              <a:rPr lang="en-US" sz="1100" b="0" i="0" dirty="0">
                <a:solidFill>
                  <a:srgbClr val="0A0A0A"/>
                </a:solidFill>
                <a:effectLst/>
                <a:latin typeface="+mn-ea"/>
                <a:ea typeface="+mn-ea"/>
              </a:rPr>
              <a:t> </a:t>
            </a:r>
            <a:r>
              <a:rPr lang="en-US" sz="1100" b="0" i="0" noProof="1">
                <a:solidFill>
                  <a:srgbClr val="0A0A0A"/>
                </a:solidFill>
                <a:effectLst/>
                <a:latin typeface="+mn-ea"/>
                <a:ea typeface="+mn-ea"/>
              </a:rPr>
              <a:t>最長</a:t>
            </a:r>
            <a:r>
              <a:rPr lang="en-US" sz="1100" b="0" i="0" noProof="1">
                <a:solidFill>
                  <a:srgbClr val="0A0A0A"/>
                </a:solidFill>
                <a:effectLst/>
                <a:latin typeface="+mj-lt"/>
                <a:ea typeface="+mn-ea"/>
              </a:rPr>
              <a:t>3</a:t>
            </a:r>
            <a:r>
              <a:rPr lang="en-US" sz="1100" b="0" i="0" noProof="1">
                <a:solidFill>
                  <a:srgbClr val="0A0A0A"/>
                </a:solidFill>
                <a:effectLst/>
                <a:latin typeface="+mn-ea"/>
                <a:ea typeface="+mn-ea"/>
              </a:rPr>
              <a:t>年の延長が認められる。</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sz="1100" noProof="1">
                <a:solidFill>
                  <a:srgbClr val="000000"/>
                </a:solidFill>
                <a:latin typeface="+mn-ea"/>
                <a:ea typeface="+mn-ea"/>
              </a:rPr>
              <a:t>駐在員事務所</a:t>
            </a:r>
            <a:r>
              <a:rPr lang="en-US" sz="1100" b="0" i="0" noProof="1">
                <a:solidFill>
                  <a:srgbClr val="000000"/>
                </a:solidFill>
                <a:effectLst/>
                <a:latin typeface="+mn-ea"/>
                <a:ea typeface="+mn-ea"/>
              </a:rPr>
              <a:t>の登録申請は、エンタープライズ</a:t>
            </a:r>
            <a:r>
              <a:rPr lang="ja-JP" altLang="en-US" sz="1100" b="0" i="0" noProof="1">
                <a:solidFill>
                  <a:srgbClr val="000000"/>
                </a:solidFill>
                <a:effectLst/>
                <a:latin typeface="+mn-ea"/>
                <a:ea typeface="+mn-ea"/>
              </a:rPr>
              <a:t>・</a:t>
            </a:r>
            <a:r>
              <a:rPr lang="en-US" sz="1100" b="0" i="0" noProof="1">
                <a:solidFill>
                  <a:srgbClr val="000000"/>
                </a:solidFill>
                <a:effectLst/>
                <a:latin typeface="+mn-ea"/>
                <a:ea typeface="+mn-ea"/>
              </a:rPr>
              <a:t>シンガポールに提出する必要があ</a:t>
            </a:r>
            <a:r>
              <a:rPr lang="ja-JP" altLang="en-US" sz="1100" b="0" i="0" noProof="1">
                <a:solidFill>
                  <a:srgbClr val="000000"/>
                </a:solidFill>
                <a:effectLst/>
                <a:latin typeface="+mn-ea"/>
                <a:ea typeface="+mn-ea"/>
              </a:rPr>
              <a:t>る</a:t>
            </a:r>
            <a:r>
              <a:rPr lang="en-US" sz="1100" b="0" i="0" noProof="1">
                <a:solidFill>
                  <a:srgbClr val="000000"/>
                </a:solidFill>
                <a:effectLst/>
                <a:latin typeface="+mn-ea"/>
                <a:ea typeface="+mn-ea"/>
              </a:rPr>
              <a:t>。</a:t>
            </a:r>
            <a:endParaRPr lang="en-US" sz="1100" b="0" i="0" dirty="0">
              <a:solidFill>
                <a:srgbClr val="0A0A0A"/>
              </a:solidFill>
              <a:effectLst/>
              <a:latin typeface="+mn-ea"/>
              <a:ea typeface="+mn-ea"/>
            </a:endParaRP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noProof="1">
                <a:solidFill>
                  <a:srgbClr val="0A0A0A"/>
                </a:solidFill>
                <a:latin typeface="+mn-ea"/>
                <a:ea typeface="+mn-ea"/>
              </a:rPr>
              <a:t>駐在員事務所を設立するための主な要件:</a:t>
            </a:r>
          </a:p>
          <a:p>
            <a:pPr marL="411480">
              <a:lnSpc>
                <a:spcPct val="80000"/>
              </a:lnSpc>
              <a:spcBef>
                <a:spcPts val="200"/>
              </a:spcBef>
              <a:buFont typeface="Courier New" panose="02070309020205020404" pitchFamily="49" charset="0"/>
              <a:buChar char="o"/>
            </a:pPr>
            <a:r>
              <a:rPr lang="en-US" sz="1100" b="0" i="0" noProof="1">
                <a:solidFill>
                  <a:srgbClr val="212529"/>
                </a:solidFill>
                <a:effectLst/>
                <a:latin typeface="+mn-ea"/>
                <a:ea typeface="+mn-ea"/>
              </a:rPr>
              <a:t>親会社は設立後3年以上経過しており、年間売上高は</a:t>
            </a:r>
            <a:r>
              <a:rPr lang="en-US" sz="1100" b="0" i="0" noProof="1">
                <a:solidFill>
                  <a:srgbClr val="212529"/>
                </a:solidFill>
                <a:effectLst/>
                <a:latin typeface="+mj-lt"/>
                <a:ea typeface="+mn-ea"/>
              </a:rPr>
              <a:t>25</a:t>
            </a:r>
            <a:r>
              <a:rPr lang="en-US" sz="1100" b="0" i="0" noProof="1">
                <a:solidFill>
                  <a:srgbClr val="212529"/>
                </a:solidFill>
                <a:effectLst/>
                <a:latin typeface="+mn-ea"/>
                <a:ea typeface="+mn-ea"/>
              </a:rPr>
              <a:t>万</a:t>
            </a:r>
            <a:r>
              <a:rPr lang="en-US" sz="1100" b="0" i="0" noProof="1">
                <a:solidFill>
                  <a:srgbClr val="212529"/>
                </a:solidFill>
                <a:effectLst/>
                <a:latin typeface="+mj-lt"/>
                <a:ea typeface="+mn-ea"/>
              </a:rPr>
              <a:t>US$</a:t>
            </a:r>
            <a:r>
              <a:rPr lang="en-US" sz="1100" b="0" i="0" noProof="1">
                <a:solidFill>
                  <a:srgbClr val="212529"/>
                </a:solidFill>
                <a:effectLst/>
                <a:latin typeface="+mn-ea"/>
                <a:ea typeface="+mn-ea"/>
              </a:rPr>
              <a:t>を超えている。</a:t>
            </a:r>
          </a:p>
          <a:p>
            <a:pPr marL="411480">
              <a:lnSpc>
                <a:spcPct val="80000"/>
              </a:lnSpc>
              <a:spcBef>
                <a:spcPts val="200"/>
              </a:spcBef>
              <a:buFont typeface="Courier New" panose="02070309020205020404" pitchFamily="49" charset="0"/>
              <a:buChar char="o"/>
            </a:pPr>
            <a:r>
              <a:rPr lang="en-US" sz="1100" b="0" i="0" noProof="1">
                <a:solidFill>
                  <a:srgbClr val="212529"/>
                </a:solidFill>
                <a:effectLst/>
                <a:latin typeface="+mn-ea"/>
                <a:ea typeface="+mn-ea"/>
              </a:rPr>
              <a:t>外国</a:t>
            </a:r>
            <a:r>
              <a:rPr lang="ja-JP" altLang="en-US" sz="1100" b="0" i="0" noProof="1">
                <a:solidFill>
                  <a:srgbClr val="212529"/>
                </a:solidFill>
                <a:effectLst/>
                <a:latin typeface="+mn-ea"/>
                <a:ea typeface="+mn-ea"/>
              </a:rPr>
              <a:t>人</a:t>
            </a:r>
            <a:r>
              <a:rPr lang="en-US" sz="1100" b="0" i="0" noProof="1">
                <a:solidFill>
                  <a:srgbClr val="212529"/>
                </a:solidFill>
                <a:effectLst/>
                <a:latin typeface="+mn-ea"/>
                <a:ea typeface="+mn-ea"/>
              </a:rPr>
              <a:t>の</a:t>
            </a:r>
            <a:r>
              <a:rPr lang="ja-JP" altLang="en-US" sz="1100" b="0" i="0" noProof="1">
                <a:solidFill>
                  <a:srgbClr val="212529"/>
                </a:solidFill>
                <a:effectLst/>
                <a:latin typeface="+mn-ea"/>
                <a:ea typeface="+mn-ea"/>
              </a:rPr>
              <a:t>取締役</a:t>
            </a:r>
            <a:r>
              <a:rPr lang="en-US" sz="1100" b="0" i="0" noProof="1">
                <a:solidFill>
                  <a:srgbClr val="212529"/>
                </a:solidFill>
                <a:effectLst/>
                <a:latin typeface="+mn-ea"/>
                <a:ea typeface="+mn-ea"/>
              </a:rPr>
              <a:t>代表は、その本部の出身で</a:t>
            </a:r>
            <a:r>
              <a:rPr lang="ja-JP" altLang="en-US" sz="1100" noProof="1">
                <a:solidFill>
                  <a:srgbClr val="212529"/>
                </a:solidFill>
                <a:latin typeface="+mn-ea"/>
                <a:ea typeface="+mn-ea"/>
              </a:rPr>
              <a:t>あるか、</a:t>
            </a:r>
            <a:r>
              <a:rPr lang="en-US" sz="1100" b="0" i="0" noProof="1">
                <a:solidFill>
                  <a:srgbClr val="212529"/>
                </a:solidFill>
                <a:effectLst/>
                <a:latin typeface="+mn-ea"/>
                <a:ea typeface="+mn-ea"/>
              </a:rPr>
              <a:t>あるいは、</a:t>
            </a:r>
            <a:r>
              <a:rPr lang="ja-JP" altLang="en-US" sz="1100" b="0" i="0" noProof="1">
                <a:solidFill>
                  <a:srgbClr val="212529"/>
                </a:solidFill>
                <a:effectLst/>
                <a:latin typeface="+mn-ea"/>
                <a:ea typeface="+mn-ea"/>
              </a:rPr>
              <a:t>駐在員事務所が</a:t>
            </a:r>
            <a:r>
              <a:rPr lang="en-US" sz="1100" b="0" i="0" noProof="1">
                <a:solidFill>
                  <a:srgbClr val="212529"/>
                </a:solidFill>
                <a:effectLst/>
                <a:latin typeface="+mn-ea"/>
                <a:ea typeface="+mn-ea"/>
              </a:rPr>
              <a:t>シンガポール市民を代表の役割を果たすために任命することができる。</a:t>
            </a:r>
            <a:endParaRPr lang="en-US" sz="1100" dirty="0">
              <a:solidFill>
                <a:srgbClr val="0A0A0A"/>
              </a:solidFill>
              <a:latin typeface="+mn-ea"/>
              <a:ea typeface="+mn-ea"/>
            </a:endParaRPr>
          </a:p>
          <a:p>
            <a:pPr marL="411480">
              <a:lnSpc>
                <a:spcPct val="80000"/>
              </a:lnSpc>
              <a:spcBef>
                <a:spcPts val="200"/>
              </a:spcBef>
              <a:buFont typeface="Courier New" panose="02070309020205020404" pitchFamily="49" charset="0"/>
              <a:buChar char="o"/>
            </a:pPr>
            <a:r>
              <a:rPr lang="ja-JP" altLang="en-US" sz="1100" b="0" i="0" noProof="1">
                <a:solidFill>
                  <a:srgbClr val="212529"/>
                </a:solidFill>
                <a:effectLst/>
                <a:latin typeface="+mn-ea"/>
                <a:ea typeface="+mn-ea"/>
              </a:rPr>
              <a:t>駐在員事務所</a:t>
            </a:r>
            <a:r>
              <a:rPr lang="en-US" sz="1100" b="0" i="0" noProof="1">
                <a:solidFill>
                  <a:srgbClr val="212529"/>
                </a:solidFill>
                <a:effectLst/>
                <a:latin typeface="+mn-ea"/>
                <a:ea typeface="+mn-ea"/>
              </a:rPr>
              <a:t>は</a:t>
            </a:r>
            <a:r>
              <a:rPr lang="ja-JP" altLang="en-US" sz="1100" b="0" i="0" noProof="1">
                <a:solidFill>
                  <a:srgbClr val="212529"/>
                </a:solidFill>
                <a:effectLst/>
                <a:latin typeface="+mn-ea"/>
                <a:ea typeface="+mn-ea"/>
              </a:rPr>
              <a:t>、</a:t>
            </a:r>
            <a:r>
              <a:rPr lang="en-US" sz="1100" b="0" i="0" noProof="1">
                <a:solidFill>
                  <a:srgbClr val="212529"/>
                </a:solidFill>
                <a:effectLst/>
                <a:latin typeface="+mn-ea"/>
                <a:ea typeface="+mn-ea"/>
              </a:rPr>
              <a:t>サポートスタッフとして</a:t>
            </a:r>
            <a:r>
              <a:rPr lang="en-US" sz="1100" b="0" i="0" noProof="1">
                <a:solidFill>
                  <a:srgbClr val="212529"/>
                </a:solidFill>
                <a:effectLst/>
                <a:latin typeface="+mj-lt"/>
                <a:ea typeface="+mn-ea"/>
              </a:rPr>
              <a:t>5</a:t>
            </a:r>
            <a:r>
              <a:rPr lang="ja-JP" altLang="en-US" sz="1100" noProof="1">
                <a:solidFill>
                  <a:srgbClr val="212529"/>
                </a:solidFill>
                <a:latin typeface="+mn-ea"/>
                <a:ea typeface="+mn-ea"/>
              </a:rPr>
              <a:t>名</a:t>
            </a:r>
            <a:r>
              <a:rPr lang="en-US" sz="1100" b="0" i="0" noProof="1">
                <a:solidFill>
                  <a:srgbClr val="212529"/>
                </a:solidFill>
                <a:effectLst/>
                <a:latin typeface="+mn-ea"/>
                <a:ea typeface="+mn-ea"/>
              </a:rPr>
              <a:t>以上の現地従業員を雇用しない。</a:t>
            </a:r>
            <a:endParaRPr lang="en-US" sz="1100" dirty="0">
              <a:solidFill>
                <a:srgbClr val="0A0A0A"/>
              </a:solidFill>
              <a:latin typeface="+mn-ea"/>
              <a:ea typeface="+mn-ea"/>
            </a:endParaRPr>
          </a:p>
        </p:txBody>
      </p:sp>
      <p:sp>
        <p:nvSpPr>
          <p:cNvPr id="14" name="TextBox 5">
            <a:extLst>
              <a:ext uri="{FF2B5EF4-FFF2-40B4-BE49-F238E27FC236}">
                <a16:creationId xmlns:a16="http://schemas.microsoft.com/office/drawing/2014/main" id="{D6610188-9F7B-A672-1538-61BCFECFD8BB}"/>
              </a:ext>
            </a:extLst>
          </p:cNvPr>
          <p:cNvSpPr txBox="1"/>
          <p:nvPr/>
        </p:nvSpPr>
        <p:spPr>
          <a:xfrm>
            <a:off x="271586" y="4651220"/>
            <a:ext cx="3600847" cy="276999"/>
          </a:xfrm>
          <a:prstGeom prst="rect">
            <a:avLst/>
          </a:prstGeom>
          <a:noFill/>
        </p:spPr>
        <p:txBody>
          <a:bodyPr wrap="square" rtlCol="0">
            <a:spAutoFit/>
          </a:bodyPr>
          <a:lstStyle/>
          <a:p>
            <a:r>
              <a:rPr kumimoji="1" lang="en-US" sz="1200" b="1" noProof="1">
                <a:latin typeface="+mj-lt"/>
                <a:cs typeface="Arial" panose="020B0604020202020204" pitchFamily="34" charset="0"/>
              </a:rPr>
              <a:t>3） </a:t>
            </a:r>
            <a:r>
              <a:rPr kumimoji="1" lang="en-US" sz="1200" b="1" noProof="1">
                <a:latin typeface="+mn-ea"/>
                <a:cs typeface="Arial" panose="020B0604020202020204" pitchFamily="34" charset="0"/>
              </a:rPr>
              <a:t>子会社・有限会社</a:t>
            </a:r>
          </a:p>
        </p:txBody>
      </p:sp>
      <p:sp>
        <p:nvSpPr>
          <p:cNvPr id="15" name="テキスト プレースホルダ 1">
            <a:extLst>
              <a:ext uri="{FF2B5EF4-FFF2-40B4-BE49-F238E27FC236}">
                <a16:creationId xmlns:a16="http://schemas.microsoft.com/office/drawing/2014/main" id="{4A743B04-828A-1325-A36B-3D214F0BC929}"/>
              </a:ext>
            </a:extLst>
          </p:cNvPr>
          <p:cNvSpPr txBox="1">
            <a:spLocks/>
          </p:cNvSpPr>
          <p:nvPr/>
        </p:nvSpPr>
        <p:spPr>
          <a:xfrm>
            <a:off x="271586" y="4966516"/>
            <a:ext cx="9505950" cy="1410643"/>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b="0" i="0" noProof="1">
                <a:solidFill>
                  <a:srgbClr val="0A0A0A"/>
                </a:solidFill>
                <a:effectLst/>
                <a:latin typeface="+mn-ea"/>
                <a:ea typeface="+mn-ea"/>
              </a:rPr>
              <a:t>有限会社は、地元企業が利用できる税制上の優遇措置の恩恵を受けることができる。</a:t>
            </a:r>
            <a:r>
              <a:rPr lang="en-US" b="0" i="0" dirty="0">
                <a:solidFill>
                  <a:srgbClr val="0A0A0A"/>
                </a:solidFill>
                <a:effectLst/>
                <a:latin typeface="+mn-ea"/>
                <a:ea typeface="+mn-ea"/>
              </a:rPr>
              <a:t> </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b="0" i="0" noProof="1">
                <a:solidFill>
                  <a:srgbClr val="0A0A0A"/>
                </a:solidFill>
                <a:effectLst/>
                <a:latin typeface="+mn-ea"/>
                <a:ea typeface="+mn-ea"/>
              </a:rPr>
              <a:t>外国の個人および法人投資家が完全に所有することができる</a:t>
            </a:r>
            <a:r>
              <a:rPr lang="ja-JP" altLang="en-US" b="0" i="0" noProof="1">
                <a:solidFill>
                  <a:srgbClr val="0A0A0A"/>
                </a:solidFill>
                <a:effectLst/>
                <a:latin typeface="+mn-ea"/>
                <a:ea typeface="+mn-ea"/>
              </a:rPr>
              <a:t>。</a:t>
            </a:r>
            <a:r>
              <a:rPr lang="en-US" b="0" i="0" noProof="1">
                <a:solidFill>
                  <a:srgbClr val="0A0A0A"/>
                </a:solidFill>
                <a:effectLst/>
                <a:latin typeface="+mn-ea"/>
                <a:ea typeface="+mn-ea"/>
              </a:rPr>
              <a:t>地域持株会社又は外国持株会社の子会社として設立することができる。</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noProof="1">
                <a:solidFill>
                  <a:srgbClr val="0A0A0A"/>
                </a:solidFill>
                <a:latin typeface="+mn-ea"/>
                <a:ea typeface="+mn-ea"/>
              </a:rPr>
              <a:t>支店</a:t>
            </a:r>
            <a:r>
              <a:rPr lang="en-US" noProof="1">
                <a:solidFill>
                  <a:srgbClr val="0A0A0A"/>
                </a:solidFill>
                <a:latin typeface="+mn-ea"/>
                <a:ea typeface="+mn-ea"/>
              </a:rPr>
              <a:t>を設定するための主な要件:</a:t>
            </a:r>
          </a:p>
          <a:p>
            <a:pPr marL="411480">
              <a:lnSpc>
                <a:spcPct val="80000"/>
              </a:lnSpc>
              <a:spcBef>
                <a:spcPts val="200"/>
              </a:spcBef>
              <a:buFont typeface="Courier New" panose="02070309020205020404" pitchFamily="49" charset="0"/>
              <a:buChar char="o"/>
            </a:pPr>
            <a:r>
              <a:rPr lang="ja-JP" altLang="en-US" b="0" i="0" noProof="1">
                <a:solidFill>
                  <a:srgbClr val="212529"/>
                </a:solidFill>
                <a:effectLst/>
                <a:latin typeface="+mn-ea"/>
                <a:ea typeface="+mn-ea"/>
              </a:rPr>
              <a:t>会社の名称は、外国の親会社と同じである必要があり、会社の登録プロセスの前に</a:t>
            </a:r>
            <a:r>
              <a:rPr lang="en-US" altLang="ja-JP" b="0" i="0" noProof="1">
                <a:solidFill>
                  <a:srgbClr val="212529"/>
                </a:solidFill>
                <a:effectLst/>
                <a:latin typeface="+mj-lt"/>
                <a:ea typeface="+mn-ea"/>
              </a:rPr>
              <a:t>ACRA</a:t>
            </a:r>
            <a:r>
              <a:rPr lang="ja-JP" altLang="en-US" b="0" i="0" noProof="1">
                <a:solidFill>
                  <a:srgbClr val="212529"/>
                </a:solidFill>
                <a:effectLst/>
                <a:latin typeface="+mn-ea"/>
                <a:ea typeface="+mn-ea"/>
              </a:rPr>
              <a:t>によって承認される必要がある。</a:t>
            </a:r>
          </a:p>
          <a:p>
            <a:pPr marL="411480">
              <a:lnSpc>
                <a:spcPct val="80000"/>
              </a:lnSpc>
              <a:spcBef>
                <a:spcPts val="200"/>
              </a:spcBef>
              <a:buFont typeface="Courier New" panose="02070309020205020404" pitchFamily="49" charset="0"/>
              <a:buChar char="o"/>
            </a:pPr>
            <a:r>
              <a:rPr lang="ja-JP" altLang="en-US" b="0" i="0" noProof="1">
                <a:solidFill>
                  <a:srgbClr val="212529"/>
                </a:solidFill>
                <a:effectLst/>
                <a:latin typeface="+mn-ea"/>
                <a:ea typeface="+mn-ea"/>
              </a:rPr>
              <a:t>承認を受けるために、名称の申請は</a:t>
            </a:r>
            <a:r>
              <a:rPr lang="en-US" altLang="ja-JP" b="0" i="0" noProof="1">
                <a:solidFill>
                  <a:srgbClr val="212529"/>
                </a:solidFill>
                <a:effectLst/>
                <a:latin typeface="+mj-lt"/>
                <a:ea typeface="+mn-ea"/>
              </a:rPr>
              <a:t>ACRA Bizfile</a:t>
            </a:r>
            <a:r>
              <a:rPr lang="ja-JP" altLang="en-US" b="0" i="0" noProof="1">
                <a:solidFill>
                  <a:srgbClr val="212529"/>
                </a:solidFill>
                <a:effectLst/>
                <a:latin typeface="+mn-ea"/>
                <a:ea typeface="+mn-ea"/>
              </a:rPr>
              <a:t>を介して送信する。</a:t>
            </a:r>
          </a:p>
          <a:p>
            <a:pPr marL="411480">
              <a:lnSpc>
                <a:spcPct val="80000"/>
              </a:lnSpc>
              <a:spcBef>
                <a:spcPts val="200"/>
              </a:spcBef>
              <a:buFont typeface="Courier New" panose="02070309020205020404" pitchFamily="49" charset="0"/>
              <a:buChar char="o"/>
            </a:pPr>
            <a:r>
              <a:rPr lang="en-US" noProof="1">
                <a:solidFill>
                  <a:srgbClr val="0A0A0A"/>
                </a:solidFill>
                <a:latin typeface="+mn-ea"/>
                <a:ea typeface="+mn-ea"/>
              </a:rPr>
              <a:t>シンガポールの子会社は、少なくとも</a:t>
            </a:r>
            <a:r>
              <a:rPr lang="en-US" b="0" i="0" noProof="1">
                <a:solidFill>
                  <a:srgbClr val="212529"/>
                </a:solidFill>
                <a:effectLst/>
                <a:latin typeface="+mn-ea"/>
                <a:ea typeface="+mn-ea"/>
              </a:rPr>
              <a:t>シンガポール市民、永住権、</a:t>
            </a:r>
            <a:r>
              <a:rPr lang="en-US" b="0" i="0" noProof="1">
                <a:solidFill>
                  <a:srgbClr val="212529"/>
                </a:solidFill>
                <a:effectLst/>
                <a:latin typeface="+mn-lt"/>
                <a:ea typeface="+mn-ea"/>
              </a:rPr>
              <a:t>EntrePass</a:t>
            </a:r>
            <a:r>
              <a:rPr lang="en-US" b="0" i="0" noProof="1">
                <a:solidFill>
                  <a:srgbClr val="212529"/>
                </a:solidFill>
                <a:effectLst/>
                <a:latin typeface="+mn-ea"/>
                <a:ea typeface="+mn-ea"/>
              </a:rPr>
              <a:t>または</a:t>
            </a:r>
            <a:r>
              <a:rPr lang="en-US" b="0" i="0" noProof="1">
                <a:solidFill>
                  <a:srgbClr val="212529"/>
                </a:solidFill>
                <a:effectLst/>
                <a:latin typeface="+mn-lt"/>
                <a:ea typeface="+mn-ea"/>
              </a:rPr>
              <a:t>Employment</a:t>
            </a:r>
            <a:r>
              <a:rPr lang="ja-JP" altLang="en-US" noProof="1">
                <a:solidFill>
                  <a:srgbClr val="212529"/>
                </a:solidFill>
                <a:latin typeface="+mn-lt"/>
                <a:ea typeface="+mn-ea"/>
              </a:rPr>
              <a:t> </a:t>
            </a:r>
            <a:r>
              <a:rPr lang="en-US" b="0" i="0" noProof="1">
                <a:solidFill>
                  <a:srgbClr val="212529"/>
                </a:solidFill>
                <a:effectLst/>
                <a:latin typeface="+mn-lt"/>
                <a:ea typeface="+mn-ea"/>
              </a:rPr>
              <a:t>Pass</a:t>
            </a:r>
            <a:r>
              <a:rPr lang="ja-JP" altLang="en-US" b="0" i="0" noProof="1">
                <a:solidFill>
                  <a:srgbClr val="212529"/>
                </a:solidFill>
                <a:effectLst/>
                <a:latin typeface="+mn-ea"/>
                <a:ea typeface="+mn-ea"/>
              </a:rPr>
              <a:t>の</a:t>
            </a:r>
            <a:r>
              <a:rPr lang="en-US" b="0" i="0" noProof="1">
                <a:solidFill>
                  <a:srgbClr val="212529"/>
                </a:solidFill>
                <a:effectLst/>
                <a:latin typeface="+mn-ea"/>
                <a:ea typeface="+mn-ea"/>
              </a:rPr>
              <a:t>保持者、会社秘書、株主のいずれか</a:t>
            </a:r>
            <a:r>
              <a:rPr lang="ja-JP" altLang="en-US" b="0" i="0" noProof="1">
                <a:solidFill>
                  <a:srgbClr val="212529"/>
                </a:solidFill>
                <a:effectLst/>
                <a:latin typeface="+mn-ea"/>
                <a:ea typeface="+mn-ea"/>
              </a:rPr>
              <a:t>を</a:t>
            </a:r>
            <a:r>
              <a:rPr lang="en-US" b="0" i="0" noProof="1">
                <a:solidFill>
                  <a:srgbClr val="212529"/>
                </a:solidFill>
                <a:effectLst/>
                <a:latin typeface="+mn-ea"/>
                <a:ea typeface="+mn-ea"/>
              </a:rPr>
              <a:t>ディレクタ</a:t>
            </a:r>
            <a:r>
              <a:rPr lang="ja-JP" altLang="en-US" b="0" i="0" noProof="1">
                <a:solidFill>
                  <a:srgbClr val="212529"/>
                </a:solidFill>
                <a:effectLst/>
                <a:latin typeface="+mn-ea"/>
                <a:ea typeface="+mn-ea"/>
              </a:rPr>
              <a:t>ーとして</a:t>
            </a:r>
            <a:r>
              <a:rPr lang="en-US" b="0" i="0" noProof="1">
                <a:solidFill>
                  <a:srgbClr val="212529"/>
                </a:solidFill>
                <a:effectLst/>
                <a:latin typeface="+mn-ea"/>
                <a:ea typeface="+mn-ea"/>
              </a:rPr>
              <a:t>1名</a:t>
            </a:r>
            <a:r>
              <a:rPr lang="en-US" noProof="1">
                <a:solidFill>
                  <a:srgbClr val="0A0A0A"/>
                </a:solidFill>
                <a:latin typeface="+mn-ea"/>
                <a:ea typeface="+mn-ea"/>
              </a:rPr>
              <a:t>を置かなければならない。</a:t>
            </a:r>
          </a:p>
          <a:p>
            <a:pPr marL="411480">
              <a:lnSpc>
                <a:spcPct val="80000"/>
              </a:lnSpc>
              <a:spcBef>
                <a:spcPts val="200"/>
              </a:spcBef>
              <a:buFont typeface="Courier New" panose="02070309020205020404" pitchFamily="49" charset="0"/>
              <a:buChar char="o"/>
            </a:pPr>
            <a:r>
              <a:rPr lang="en-US" b="0" i="0" noProof="1">
                <a:solidFill>
                  <a:srgbClr val="212529"/>
                </a:solidFill>
                <a:effectLst/>
                <a:latin typeface="+mn-ea"/>
                <a:ea typeface="+mn-ea"/>
              </a:rPr>
              <a:t>登録住所はシンガポールの商業事業住所でなければならない。</a:t>
            </a:r>
            <a:endParaRPr lang="en-US" dirty="0">
              <a:solidFill>
                <a:srgbClr val="0A0A0A"/>
              </a:solidFill>
              <a:latin typeface="+mn-ea"/>
              <a:ea typeface="+mn-ea"/>
            </a:endParaRPr>
          </a:p>
        </p:txBody>
      </p:sp>
      <p:sp>
        <p:nvSpPr>
          <p:cNvPr id="16" name="テキスト ボックス 15">
            <a:extLst>
              <a:ext uri="{FF2B5EF4-FFF2-40B4-BE49-F238E27FC236}">
                <a16:creationId xmlns:a16="http://schemas.microsoft.com/office/drawing/2014/main" id="{BD917C95-CDEA-60DC-3A12-48AB26825621}"/>
              </a:ext>
            </a:extLst>
          </p:cNvPr>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ンガポール経済開発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 BRIEF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tting Up a Business in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088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BE1CC-B899-486C-8520-E7AC6F9732D1}"/>
              </a:ext>
            </a:extLst>
          </p:cNvPr>
          <p:cNvGraphicFramePr>
            <a:graphicFrameLocks/>
          </p:cNvGraphicFramePr>
          <p:nvPr>
            <p:custDataLst>
              <p:tags r:id="rId1"/>
            </p:custDataLst>
            <p:extLst>
              <p:ext uri="{D42A27DB-BD31-4B8C-83A1-F6EECF244321}">
                <p14:modId xmlns:p14="http://schemas.microsoft.com/office/powerpoint/2010/main" val="355328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EBE1CC-B899-486C-8520-E7AC6F973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管理制度</a:t>
            </a:r>
          </a:p>
        </p:txBody>
      </p:sp>
      <p:sp>
        <p:nvSpPr>
          <p:cNvPr id="7" name="テキスト プレースホルダー 1"/>
          <p:cNvSpPr txBox="1">
            <a:spLocks/>
          </p:cNvSpPr>
          <p:nvPr/>
        </p:nvSpPr>
        <p:spPr>
          <a:xfrm>
            <a:off x="199710" y="1124744"/>
            <a:ext cx="9505950"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為替管理制度は、</a:t>
            </a:r>
            <a:r>
              <a:rPr lang="en-US" altLang="ja-JP" dirty="0"/>
              <a:t>1978</a:t>
            </a:r>
            <a:r>
              <a:rPr lang="ja-JP" altLang="en-US" dirty="0"/>
              <a:t>年に廃止されている。しかし、経済規模が小さいシンガポールでは、通貨投機などによる為替の乱高下を避け、シンガポール・ドル（</a:t>
            </a:r>
            <a:r>
              <a:rPr lang="en-US" altLang="ja-JP" dirty="0"/>
              <a:t>S</a:t>
            </a:r>
            <a:r>
              <a:rPr lang="ja-JP" altLang="en-US" dirty="0"/>
              <a:t>ドル）の安定を図るため、外国通貨取引と自国通貨取引を完全に切り離す政策（</a:t>
            </a:r>
            <a:r>
              <a:rPr lang="en-US" altLang="ja-JP" dirty="0"/>
              <a:t>S</a:t>
            </a:r>
            <a:r>
              <a:rPr lang="ja-JP" altLang="en-US" dirty="0"/>
              <a:t>ドルの非国際化政策）を実施している。</a:t>
            </a:r>
            <a:endParaRPr lang="en-US" altLang="ja-JP" dirty="0"/>
          </a:p>
        </p:txBody>
      </p:sp>
      <p:sp>
        <p:nvSpPr>
          <p:cNvPr id="66" name="テキスト ボックス 65"/>
          <p:cNvSpPr txBox="1"/>
          <p:nvPr/>
        </p:nvSpPr>
        <p:spPr>
          <a:xfrm>
            <a:off x="199710" y="663280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ica.gov.sg/enter-transit-depart/at-our-checkpoints/for-travellers/CBNI</a:t>
            </a:r>
          </a:p>
        </p:txBody>
      </p:sp>
      <p:sp>
        <p:nvSpPr>
          <p:cNvPr id="1291" name="Rectangle 6">
            <a:extLst>
              <a:ext uri="{FF2B5EF4-FFF2-40B4-BE49-F238E27FC236}">
                <a16:creationId xmlns:a16="http://schemas.microsoft.com/office/drawing/2014/main" id="{9CC8B1EF-B589-40DC-A08D-64F78C20549D}"/>
              </a:ext>
            </a:extLst>
          </p:cNvPr>
          <p:cNvSpPr>
            <a:spLocks noChangeArrowheads="1"/>
          </p:cNvSpPr>
          <p:nvPr/>
        </p:nvSpPr>
        <p:spPr bwMode="auto">
          <a:xfrm>
            <a:off x="428120" y="21881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為替相場管理</a:t>
            </a:r>
          </a:p>
        </p:txBody>
      </p:sp>
      <p:sp>
        <p:nvSpPr>
          <p:cNvPr id="1293" name="TextBox 1292">
            <a:extLst>
              <a:ext uri="{FF2B5EF4-FFF2-40B4-BE49-F238E27FC236}">
                <a16:creationId xmlns:a16="http://schemas.microsoft.com/office/drawing/2014/main" id="{E5A81AD7-AD7A-4E40-8E64-367BEBABC896}"/>
              </a:ext>
            </a:extLst>
          </p:cNvPr>
          <p:cNvSpPr txBox="1"/>
          <p:nvPr/>
        </p:nvSpPr>
        <p:spPr>
          <a:xfrm>
            <a:off x="2216696" y="2188167"/>
            <a:ext cx="6930836" cy="307777"/>
          </a:xfrm>
          <a:prstGeom prst="rect">
            <a:avLst/>
          </a:prstGeom>
          <a:noFill/>
        </p:spPr>
        <p:txBody>
          <a:bodyPr wrap="square">
            <a:spAutoFit/>
          </a:bodyPr>
          <a:lstStyle/>
          <a:p>
            <a:r>
              <a:rPr lang="ja-JP" altLang="en-US" sz="1400" dirty="0"/>
              <a:t>バスケット方式による管理型変動相場制、非居住金融機関に対する</a:t>
            </a:r>
            <a:r>
              <a:rPr lang="en-US" altLang="ja-JP" sz="1400" dirty="0"/>
              <a:t>S</a:t>
            </a:r>
            <a:r>
              <a:rPr lang="ja-JP" altLang="en-US" sz="1400" dirty="0"/>
              <a:t>ドル貸出規制。</a:t>
            </a:r>
            <a:endParaRPr lang="en-US" sz="1400" dirty="0"/>
          </a:p>
        </p:txBody>
      </p:sp>
      <p:sp>
        <p:nvSpPr>
          <p:cNvPr id="1294" name="Rectangle 6">
            <a:extLst>
              <a:ext uri="{FF2B5EF4-FFF2-40B4-BE49-F238E27FC236}">
                <a16:creationId xmlns:a16="http://schemas.microsoft.com/office/drawing/2014/main" id="{DD3B141F-78B7-456C-84A7-0AA33710C027}"/>
              </a:ext>
            </a:extLst>
          </p:cNvPr>
          <p:cNvSpPr>
            <a:spLocks noChangeArrowheads="1"/>
          </p:cNvSpPr>
          <p:nvPr/>
        </p:nvSpPr>
        <p:spPr bwMode="auto">
          <a:xfrm>
            <a:off x="410608" y="3045542"/>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取引</a:t>
            </a:r>
          </a:p>
        </p:txBody>
      </p:sp>
      <p:sp>
        <p:nvSpPr>
          <p:cNvPr id="1295" name="TextBox 1294">
            <a:extLst>
              <a:ext uri="{FF2B5EF4-FFF2-40B4-BE49-F238E27FC236}">
                <a16:creationId xmlns:a16="http://schemas.microsoft.com/office/drawing/2014/main" id="{C0929412-B974-4C4E-9315-CDE310E6CBE6}"/>
              </a:ext>
            </a:extLst>
          </p:cNvPr>
          <p:cNvSpPr txBox="1"/>
          <p:nvPr/>
        </p:nvSpPr>
        <p:spPr>
          <a:xfrm>
            <a:off x="2199184" y="3045542"/>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現金、小切手、口座送金、カード決済等、通常の決済に関して、貿易取引を行う企業に対する</a:t>
            </a:r>
            <a:r>
              <a:rPr lang="en-US" altLang="ja-JP" sz="1400" b="0" i="0" dirty="0">
                <a:solidFill>
                  <a:srgbClr val="000000"/>
                </a:solidFill>
                <a:effectLst/>
                <a:latin typeface="ヒラギノ角ゴ Pro W3"/>
              </a:rPr>
              <a:t>MAS</a:t>
            </a:r>
            <a:r>
              <a:rPr lang="ja-JP" altLang="en-US" sz="1400" b="0" i="0" dirty="0">
                <a:solidFill>
                  <a:srgbClr val="000000"/>
                </a:solidFill>
                <a:effectLst/>
                <a:latin typeface="ヒラギノ角ゴ Pro W3"/>
              </a:rPr>
              <a:t>の許認可・報告義務などの規制・制限はない（ただし、金融機関によるマネーロンダリングに関する確認は必要となり得る）。</a:t>
            </a:r>
            <a:endParaRPr lang="en-US" sz="1400" dirty="0"/>
          </a:p>
        </p:txBody>
      </p:sp>
      <p:sp>
        <p:nvSpPr>
          <p:cNvPr id="1296" name="Rectangle 6">
            <a:extLst>
              <a:ext uri="{FF2B5EF4-FFF2-40B4-BE49-F238E27FC236}">
                <a16:creationId xmlns:a16="http://schemas.microsoft.com/office/drawing/2014/main" id="{B21EBECB-A4F8-45A7-B21D-75220D913515}"/>
              </a:ext>
            </a:extLst>
          </p:cNvPr>
          <p:cNvSpPr>
            <a:spLocks noChangeArrowheads="1"/>
          </p:cNvSpPr>
          <p:nvPr/>
        </p:nvSpPr>
        <p:spPr bwMode="auto">
          <a:xfrm>
            <a:off x="410608" y="408100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外取引</a:t>
            </a:r>
          </a:p>
        </p:txBody>
      </p:sp>
      <p:sp>
        <p:nvSpPr>
          <p:cNvPr id="1297" name="TextBox 1296">
            <a:extLst>
              <a:ext uri="{FF2B5EF4-FFF2-40B4-BE49-F238E27FC236}">
                <a16:creationId xmlns:a16="http://schemas.microsoft.com/office/drawing/2014/main" id="{0A2DD8DA-7F8D-4D74-8A9E-265A8091E390}"/>
              </a:ext>
            </a:extLst>
          </p:cNvPr>
          <p:cNvSpPr txBox="1"/>
          <p:nvPr/>
        </p:nvSpPr>
        <p:spPr>
          <a:xfrm>
            <a:off x="2199184" y="4081007"/>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運賃、保険料などのサービス役務、仲介貿易の決済に対する規制・制限はない。また、技術援助契約に基づくロイヤルティー支払に対する規制・制限もない（ただし、金融機関によるマネーロンダリングに関する確認は必要となり得る）。</a:t>
            </a:r>
            <a:endParaRPr lang="en-US" sz="1400" dirty="0"/>
          </a:p>
        </p:txBody>
      </p:sp>
      <p:sp>
        <p:nvSpPr>
          <p:cNvPr id="1298" name="TextBox 1297">
            <a:extLst>
              <a:ext uri="{FF2B5EF4-FFF2-40B4-BE49-F238E27FC236}">
                <a16:creationId xmlns:a16="http://schemas.microsoft.com/office/drawing/2014/main" id="{D4284CE6-FD38-4749-BE91-6039F1941C53}"/>
              </a:ext>
            </a:extLst>
          </p:cNvPr>
          <p:cNvSpPr txBox="1"/>
          <p:nvPr/>
        </p:nvSpPr>
        <p:spPr>
          <a:xfrm>
            <a:off x="2199184" y="5014366"/>
            <a:ext cx="6930836" cy="523220"/>
          </a:xfrm>
          <a:prstGeom prst="rect">
            <a:avLst/>
          </a:prstGeom>
          <a:noFill/>
        </p:spPr>
        <p:txBody>
          <a:bodyPr wrap="square">
            <a:spAutoFit/>
          </a:bodyPr>
          <a:lstStyle/>
          <a:p>
            <a:r>
              <a:rPr lang="ja-JP" altLang="en-US" sz="1400" b="0" i="0" dirty="0">
                <a:solidFill>
                  <a:srgbClr val="000000"/>
                </a:solidFill>
                <a:effectLst/>
                <a:latin typeface="ヒラギノ角ゴ Pro W3"/>
              </a:rPr>
              <a:t>特に制限なし。ただし、非居住金融機関に対する</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貸出規制により、</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の使用方法については一定の制限がある。</a:t>
            </a:r>
            <a:endParaRPr lang="en-US" sz="1400" dirty="0"/>
          </a:p>
        </p:txBody>
      </p:sp>
      <p:sp>
        <p:nvSpPr>
          <p:cNvPr id="1299" name="Rectangle 6">
            <a:extLst>
              <a:ext uri="{FF2B5EF4-FFF2-40B4-BE49-F238E27FC236}">
                <a16:creationId xmlns:a16="http://schemas.microsoft.com/office/drawing/2014/main" id="{DF6F6ADE-F10F-423D-ACAA-96621DDFCF3D}"/>
              </a:ext>
            </a:extLst>
          </p:cNvPr>
          <p:cNvSpPr>
            <a:spLocks noChangeArrowheads="1"/>
          </p:cNvSpPr>
          <p:nvPr/>
        </p:nvSpPr>
        <p:spPr bwMode="auto">
          <a:xfrm>
            <a:off x="453312" y="5095711"/>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資本取引</a:t>
            </a: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p:cNvGraphicFramePr>
          <p:nvPr>
            <p:custDataLst>
              <p:tags r:id="rId1"/>
            </p:custDataLst>
            <p:extLst>
              <p:ext uri="{D42A27DB-BD31-4B8C-83A1-F6EECF244321}">
                <p14:modId xmlns:p14="http://schemas.microsoft.com/office/powerpoint/2010/main" val="1836235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入出国にあたっては、</a:t>
            </a:r>
            <a:r>
              <a:rPr lang="en-US" altLang="ja-JP" dirty="0"/>
              <a:t>2</a:t>
            </a:r>
            <a:r>
              <a:rPr lang="ja-JP" altLang="en-US" dirty="0"/>
              <a:t>万</a:t>
            </a:r>
            <a:r>
              <a:rPr lang="en-US" altLang="ja-JP" dirty="0"/>
              <a:t>S</a:t>
            </a:r>
            <a:r>
              <a:rPr lang="ja-JP" altLang="en-US" dirty="0"/>
              <a:t>ドル以上もしくは相当する外貨（紙幣・硬貨）については税関への申告が必要となる。</a:t>
            </a:r>
            <a:endParaRPr lang="en-US" altLang="ja-JP" dirty="0"/>
          </a:p>
        </p:txBody>
      </p:sp>
      <p:sp>
        <p:nvSpPr>
          <p:cNvPr id="28" name="角丸四角形 27"/>
          <p:cNvSpPr/>
          <p:nvPr/>
        </p:nvSpPr>
        <p:spPr>
          <a:xfrm>
            <a:off x="1928664" y="2169056"/>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928664" y="4041264"/>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3224808" y="4390659"/>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936776" y="2961144"/>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785762" y="2025040"/>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22417" y="3495223"/>
              <a:ext cx="1725151"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a:t>
              </a: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S</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6507911" y="391937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05226" y="3486296"/>
              <a:ext cx="1725151"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a:t>
              </a: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S</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 hidden="1">
            <a:extLst>
              <a:ext uri="{FF2B5EF4-FFF2-40B4-BE49-F238E27FC236}">
                <a16:creationId xmlns:a16="http://schemas.microsoft.com/office/drawing/2014/main" id="{8DAC222F-B9F8-424B-8578-BE0800B377F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73974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D85027-C773-4FEA-A0B6-B1E7B7D30652}"/>
              </a:ext>
            </a:extLst>
          </p:cNvPr>
          <p:cNvGraphicFramePr>
            <a:graphicFrameLocks/>
          </p:cNvGraphicFramePr>
          <p:nvPr>
            <p:custDataLst>
              <p:tags r:id="rId1"/>
            </p:custDataLst>
            <p:extLst>
              <p:ext uri="{D42A27DB-BD31-4B8C-83A1-F6EECF244321}">
                <p14:modId xmlns:p14="http://schemas.microsoft.com/office/powerpoint/2010/main" val="57151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7AD85027-C773-4FEA-A0B6-B1E7B7D30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措置</a:t>
            </a:r>
            <a:endParaRPr lang="en-US" altLang="ja-JP" dirty="0"/>
          </a:p>
        </p:txBody>
      </p:sp>
      <p:sp>
        <p:nvSpPr>
          <p:cNvPr id="7" name="テキスト プレースホルダー 1"/>
          <p:cNvSpPr txBox="1">
            <a:spLocks/>
          </p:cNvSpPr>
          <p:nvPr/>
        </p:nvSpPr>
        <p:spPr>
          <a:xfrm>
            <a:off x="199710" y="1124743"/>
            <a:ext cx="9505950" cy="747809"/>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0" i="0" dirty="0">
                <a:effectLst/>
              </a:rPr>
              <a:t>シンガポールは、知識集約型経済構造の確立を目指し、先端技術部門、高付加価値産業部門、研究開発部門、ビジネスハブ機能の強化に資するサービス部門などを振興している。</a:t>
            </a:r>
            <a:endParaRPr lang="en-US" altLang="ja-JP" b="0" i="0" dirty="0">
              <a:effectLst/>
            </a:endParaRPr>
          </a:p>
          <a:p>
            <a:r>
              <a:rPr lang="ja-JP" altLang="en-US" dirty="0"/>
              <a:t>特に外資を優遇するというよりも、内外企業に対して国際的な競争力を高めるビジネス環境を整えている。</a:t>
            </a:r>
          </a:p>
        </p:txBody>
      </p:sp>
      <p:sp>
        <p:nvSpPr>
          <p:cNvPr id="16" name="Rectangle 6"/>
          <p:cNvSpPr>
            <a:spLocks noChangeArrowheads="1"/>
          </p:cNvSpPr>
          <p:nvPr/>
        </p:nvSpPr>
        <p:spPr bwMode="auto">
          <a:xfrm>
            <a:off x="504695" y="5466392"/>
            <a:ext cx="900505"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奨励産業</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ホームページ</a:t>
            </a:r>
          </a:p>
        </p:txBody>
      </p:sp>
      <p:sp>
        <p:nvSpPr>
          <p:cNvPr id="17" name="TextBox 16">
            <a:extLst>
              <a:ext uri="{FF2B5EF4-FFF2-40B4-BE49-F238E27FC236}">
                <a16:creationId xmlns:a16="http://schemas.microsoft.com/office/drawing/2014/main" id="{5B9C1209-E4F6-4376-91E3-BF5376EBCC14}"/>
              </a:ext>
            </a:extLst>
          </p:cNvPr>
          <p:cNvSpPr txBox="1"/>
          <p:nvPr/>
        </p:nvSpPr>
        <p:spPr>
          <a:xfrm>
            <a:off x="1856656" y="5395283"/>
            <a:ext cx="7177551" cy="954107"/>
          </a:xfrm>
          <a:prstGeom prst="rect">
            <a:avLst/>
          </a:prstGeom>
          <a:noFill/>
        </p:spPr>
        <p:txBody>
          <a:bodyPr wrap="square">
            <a:spAutoFit/>
          </a:bodyPr>
          <a:lstStyle/>
          <a:p>
            <a:r>
              <a:rPr lang="ja-JP" altLang="en-US" sz="1400" dirty="0">
                <a:latin typeface="Arial" panose="020B0604020202020204" pitchFamily="34" charset="0"/>
                <a:ea typeface="ＭＳ Ｐゴシック" panose="020B0600070205080204" pitchFamily="50" charset="-128"/>
              </a:rPr>
              <a:t>航空宇宙、コンシューマ・ビジネス、クリエイティブ産業、エレクトロニクス、エネルギー・化学、情報通信技術、物流・サプライチェーン管理、石油・ガス設備＆サービス、</a:t>
            </a:r>
            <a:r>
              <a:rPr lang="ja-JP" altLang="en-US" sz="1400" b="1" dirty="0">
                <a:latin typeface="Arial" panose="020B0604020202020204" pitchFamily="34" charset="0"/>
                <a:ea typeface="ＭＳ Ｐゴシック" panose="020B0600070205080204" pitchFamily="50" charset="-128"/>
              </a:rPr>
              <a:t>医療技術</a:t>
            </a:r>
            <a:r>
              <a:rPr lang="ja-JP" altLang="en-US" sz="1400" dirty="0">
                <a:latin typeface="Arial" panose="020B0604020202020204" pitchFamily="34" charset="0"/>
                <a:ea typeface="ＭＳ Ｐゴシック" panose="020B0600070205080204" pitchFamily="50" charset="-128"/>
              </a:rPr>
              <a:t>、天然資源、</a:t>
            </a:r>
            <a:r>
              <a:rPr lang="ja-JP" altLang="en-US" sz="1400" b="1" dirty="0">
                <a:latin typeface="Arial" panose="020B0604020202020204" pitchFamily="34" charset="0"/>
                <a:ea typeface="ＭＳ Ｐゴシック" panose="020B0600070205080204" pitchFamily="50" charset="-128"/>
              </a:rPr>
              <a:t>医薬品・バイオテクノロジー</a:t>
            </a:r>
            <a:r>
              <a:rPr lang="ja-JP" altLang="en-US" sz="1400" dirty="0">
                <a:latin typeface="Arial" panose="020B0604020202020204" pitchFamily="34" charset="0"/>
                <a:ea typeface="ＭＳ Ｐゴシック" panose="020B0600070205080204" pitchFamily="50" charset="-128"/>
              </a:rPr>
              <a:t>、精密エンジニアリング、都市ソリューション・サステナビリティ、専門家サービス</a:t>
            </a:r>
            <a:endParaRPr lang="en-US" sz="1400" dirty="0">
              <a:latin typeface="Arial" panose="020B0604020202020204" pitchFamily="34" charset="0"/>
              <a:ea typeface="ＭＳ Ｐゴシック" panose="020B0600070205080204" pitchFamily="50" charset="-128"/>
            </a:endParaRPr>
          </a:p>
        </p:txBody>
      </p:sp>
      <p:sp>
        <p:nvSpPr>
          <p:cNvPr id="18" name="Rectangle 6">
            <a:extLst>
              <a:ext uri="{FF2B5EF4-FFF2-40B4-BE49-F238E27FC236}">
                <a16:creationId xmlns:a16="http://schemas.microsoft.com/office/drawing/2014/main" id="{181009B2-F7A9-4767-BFF1-C3FFDB938E71}"/>
              </a:ext>
            </a:extLst>
          </p:cNvPr>
          <p:cNvSpPr>
            <a:spLocks noChangeArrowheads="1"/>
          </p:cNvSpPr>
          <p:nvPr/>
        </p:nvSpPr>
        <p:spPr bwMode="auto">
          <a:xfrm>
            <a:off x="495279" y="20329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優遇措置</a:t>
            </a:r>
          </a:p>
        </p:txBody>
      </p:sp>
      <p:sp>
        <p:nvSpPr>
          <p:cNvPr id="19" name="TextBox 18">
            <a:extLst>
              <a:ext uri="{FF2B5EF4-FFF2-40B4-BE49-F238E27FC236}">
                <a16:creationId xmlns:a16="http://schemas.microsoft.com/office/drawing/2014/main" id="{D4FD73B2-EBB3-4A19-B60E-A69E488BC3F1}"/>
              </a:ext>
            </a:extLst>
          </p:cNvPr>
          <p:cNvSpPr txBox="1"/>
          <p:nvPr/>
        </p:nvSpPr>
        <p:spPr>
          <a:xfrm>
            <a:off x="1807740" y="1975660"/>
            <a:ext cx="6973151" cy="2462213"/>
          </a:xfrm>
          <a:prstGeom prst="rect">
            <a:avLst/>
          </a:prstGeom>
          <a:noFill/>
        </p:spPr>
        <p:txBody>
          <a:bodyPr wrap="square">
            <a:spAutoFit/>
          </a:bodyPr>
          <a:lstStyle/>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法人への実効税率</a:t>
            </a:r>
            <a:r>
              <a:rPr lang="en-US" altLang="ja-JP" sz="1400" dirty="0">
                <a:latin typeface="Arial" panose="020B0604020202020204" pitchFamily="34" charset="0"/>
                <a:ea typeface="ＭＳ Ｐゴシック" panose="020B0600070205080204" pitchFamily="50" charset="-128"/>
              </a:rPr>
              <a:t>17%</a:t>
            </a:r>
            <a:r>
              <a:rPr lang="ja-JP" altLang="en-US" sz="1400" dirty="0">
                <a:latin typeface="Arial" panose="020B0604020202020204" pitchFamily="34" charset="0"/>
                <a:ea typeface="ＭＳ Ｐゴシック" panose="020B0600070205080204" pitchFamily="50" charset="-128"/>
              </a:rPr>
              <a:t>未満</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キャピタルゲイン課税なし</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約</a:t>
            </a:r>
            <a:r>
              <a:rPr lang="en-US" altLang="ja-JP" sz="1400" dirty="0">
                <a:latin typeface="Arial" panose="020B0604020202020204" pitchFamily="34" charset="0"/>
                <a:ea typeface="ＭＳ Ｐゴシック" panose="020B0600070205080204" pitchFamily="50" charset="-128"/>
              </a:rPr>
              <a:t>90</a:t>
            </a:r>
            <a:r>
              <a:rPr lang="ja-JP" altLang="en-US" sz="1400" dirty="0">
                <a:latin typeface="Arial" panose="020B0604020202020204" pitchFamily="34" charset="0"/>
                <a:ea typeface="ＭＳ Ｐゴシック" panose="020B0600070205080204" pitchFamily="50" charset="-128"/>
              </a:rPr>
              <a:t>カ国との租税条約</a:t>
            </a:r>
            <a:endParaRPr lang="en-US" altLang="ja-JP" sz="1400" dirty="0">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国外源泉所得の免税 </a:t>
            </a:r>
            <a:r>
              <a:rPr lang="en-US" altLang="ja-JP" sz="1400" dirty="0">
                <a:latin typeface="Arial" panose="020B0604020202020204" pitchFamily="34" charset="0"/>
                <a:ea typeface="ＭＳ Ｐゴシック" panose="020B0600070205080204" pitchFamily="50" charset="-128"/>
              </a:rPr>
              <a:t>– </a:t>
            </a:r>
            <a:r>
              <a:rPr lang="ja-JP" altLang="en-US" sz="1400" dirty="0">
                <a:latin typeface="Arial" panose="020B0604020202020204" pitchFamily="34" charset="0"/>
                <a:ea typeface="ＭＳ Ｐゴシック" panose="020B0600070205080204" pitchFamily="50" charset="-128"/>
              </a:rPr>
              <a:t>例）</a:t>
            </a:r>
            <a:r>
              <a:rPr lang="ja-JP" altLang="en-US" sz="1400" b="0" i="0" dirty="0">
                <a:effectLst/>
                <a:latin typeface="Arial" panose="020B0604020202020204" pitchFamily="34" charset="0"/>
                <a:ea typeface="ＭＳ Ｐゴシック" panose="020B0600070205080204" pitchFamily="50" charset="-128"/>
              </a:rPr>
              <a:t>外国企業からシンガポールに還流された配当金は、その企業が所在する国の最高法人税率が</a:t>
            </a:r>
            <a:r>
              <a:rPr lang="en-US" altLang="ja-JP" sz="1400" b="0" i="0" dirty="0">
                <a:effectLst/>
                <a:latin typeface="Arial" panose="020B0604020202020204" pitchFamily="34" charset="0"/>
                <a:ea typeface="ＭＳ Ｐゴシック" panose="020B0600070205080204" pitchFamily="50" charset="-128"/>
              </a:rPr>
              <a:t>15%</a:t>
            </a:r>
            <a:r>
              <a:rPr lang="ja-JP" altLang="en-US" sz="1400" b="0" i="0" dirty="0">
                <a:effectLst/>
                <a:latin typeface="Arial" panose="020B0604020202020204" pitchFamily="34" charset="0"/>
                <a:ea typeface="ＭＳ Ｐゴシック" panose="020B0600070205080204" pitchFamily="50" charset="-128"/>
              </a:rPr>
              <a:t>以上の場合、その国で課税されていることを条件に、非課税</a:t>
            </a:r>
            <a:endParaRPr lang="en-US" altLang="ja-JP" sz="1400" b="0" i="0" dirty="0">
              <a:effectLst/>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ワン・ティア・システムのもと、本国への配当が非課税</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タックスヘイブン税制や過少資本税制はなし</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さらに、経済開発庁（</a:t>
            </a:r>
            <a:r>
              <a:rPr lang="en-US" altLang="ja-JP" sz="1400" dirty="0">
                <a:latin typeface="Arial" panose="020B0604020202020204" pitchFamily="34" charset="0"/>
                <a:ea typeface="ＭＳ Ｐゴシック" panose="020B0600070205080204" pitchFamily="50" charset="-128"/>
              </a:rPr>
              <a:t>EDB</a:t>
            </a:r>
            <a:r>
              <a:rPr lang="ja-JP" altLang="en-US" sz="1400" dirty="0">
                <a:latin typeface="Arial" panose="020B0604020202020204" pitchFamily="34" charset="0"/>
                <a:ea typeface="ＭＳ Ｐゴシック" panose="020B0600070205080204" pitchFamily="50" charset="-128"/>
              </a:rPr>
              <a:t>）などの政府機関によって、認定を受けた企業に関しては、法人税率の軽減税率適用などの優遇措置を受けることが可能</a:t>
            </a:r>
          </a:p>
          <a:p>
            <a:endParaRPr lang="en-US" sz="1400" dirty="0">
              <a:latin typeface="Arial" panose="020B0604020202020204" pitchFamily="34" charset="0"/>
              <a:ea typeface="ＭＳ Ｐゴシック" panose="020B0600070205080204" pitchFamily="50" charset="-128"/>
            </a:endParaRPr>
          </a:p>
        </p:txBody>
      </p:sp>
      <p:sp>
        <p:nvSpPr>
          <p:cNvPr id="21" name="TextBox 20">
            <a:extLst>
              <a:ext uri="{FF2B5EF4-FFF2-40B4-BE49-F238E27FC236}">
                <a16:creationId xmlns:a16="http://schemas.microsoft.com/office/drawing/2014/main" id="{A835B458-51CC-4A1C-894B-AAD9FCEB3A9B}"/>
              </a:ext>
            </a:extLst>
          </p:cNvPr>
          <p:cNvSpPr txBox="1"/>
          <p:nvPr/>
        </p:nvSpPr>
        <p:spPr>
          <a:xfrm>
            <a:off x="1807739" y="4391604"/>
            <a:ext cx="6973152" cy="954107"/>
          </a:xfrm>
          <a:prstGeom prst="rect">
            <a:avLst/>
          </a:prstGeom>
          <a:noFill/>
        </p:spPr>
        <p:txBody>
          <a:bodyPr wrap="square">
            <a:spAutoFit/>
          </a:bodyPr>
          <a:lstStyle/>
          <a:p>
            <a:pPr marL="171450" indent="-171450">
              <a:buFont typeface="Arial" panose="020B0604020202020204" pitchFamily="34" charset="0"/>
              <a:buChar char="•"/>
            </a:pPr>
            <a:r>
              <a:rPr lang="ja-JP" altLang="en-US" sz="1400" b="0" i="0" dirty="0">
                <a:effectLst/>
                <a:latin typeface="Arial" panose="020B0604020202020204" pitchFamily="34" charset="0"/>
                <a:ea typeface="ＭＳ Ｐゴシック" panose="020B0600070205080204" pitchFamily="50" charset="-128"/>
              </a:rPr>
              <a:t>経済開発庁がシンガポールへの投資を支援しており、在日本大使館内に日本事務所がある。</a:t>
            </a:r>
            <a:endParaRPr lang="en-US" altLang="ja-JP" sz="1400" b="0" i="0" dirty="0">
              <a:effectLst/>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b="0" i="0" dirty="0">
                <a:effectLst/>
                <a:latin typeface="Arial" panose="020B0604020202020204" pitchFamily="34" charset="0"/>
                <a:ea typeface="ＭＳ Ｐゴシック" panose="020B0600070205080204" pitchFamily="50" charset="-128"/>
              </a:rPr>
              <a:t>優れた事業実績と起業経験を持ち、シンガポールからビジネスと投資を推進しようとするグローバル投資家にはシンガポールへの永住権を付与する。</a:t>
            </a:r>
            <a:endParaRPr lang="en-US" sz="1400" dirty="0">
              <a:latin typeface="Arial" panose="020B0604020202020204" pitchFamily="34" charset="0"/>
              <a:ea typeface="ＭＳ Ｐゴシック" panose="020B0600070205080204" pitchFamily="50" charset="-128"/>
            </a:endParaRPr>
          </a:p>
        </p:txBody>
      </p:sp>
      <p:sp>
        <p:nvSpPr>
          <p:cNvPr id="22" name="Rectangle 6">
            <a:extLst>
              <a:ext uri="{FF2B5EF4-FFF2-40B4-BE49-F238E27FC236}">
                <a16:creationId xmlns:a16="http://schemas.microsoft.com/office/drawing/2014/main" id="{20AB3F09-CA44-4FAD-B584-ED41D3C8C900}"/>
              </a:ext>
            </a:extLst>
          </p:cNvPr>
          <p:cNvSpPr>
            <a:spLocks noChangeArrowheads="1"/>
          </p:cNvSpPr>
          <p:nvPr/>
        </p:nvSpPr>
        <p:spPr bwMode="auto">
          <a:xfrm>
            <a:off x="495279" y="466264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投資奨励</a:t>
            </a:r>
          </a:p>
        </p:txBody>
      </p:sp>
      <p:cxnSp>
        <p:nvCxnSpPr>
          <p:cNvPr id="4" name="直線コネクタ 3">
            <a:extLst>
              <a:ext uri="{FF2B5EF4-FFF2-40B4-BE49-F238E27FC236}">
                <a16:creationId xmlns:a16="http://schemas.microsoft.com/office/drawing/2014/main" id="{8D4460E0-AE25-0DF3-87F4-D930483C0DB3}"/>
              </a:ext>
            </a:extLst>
          </p:cNvPr>
          <p:cNvCxnSpPr/>
          <p:nvPr/>
        </p:nvCxnSpPr>
        <p:spPr>
          <a:xfrm>
            <a:off x="488504" y="4328342"/>
            <a:ext cx="837607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15B98A98-2FD9-A183-FADA-C71DADA235A3}"/>
              </a:ext>
            </a:extLst>
          </p:cNvPr>
          <p:cNvCxnSpPr/>
          <p:nvPr/>
        </p:nvCxnSpPr>
        <p:spPr>
          <a:xfrm>
            <a:off x="488503" y="5338866"/>
            <a:ext cx="837607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0356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50E58B-268E-4E5A-BC9C-1736FD5FE6D5}"/>
              </a:ext>
            </a:extLst>
          </p:cNvPr>
          <p:cNvGraphicFramePr>
            <a:graphicFrameLocks/>
          </p:cNvGraphicFramePr>
          <p:nvPr>
            <p:custDataLst>
              <p:tags r:id="rId1"/>
            </p:custDataLst>
            <p:extLst>
              <p:ext uri="{D42A27DB-BD31-4B8C-83A1-F6EECF244321}">
                <p14:modId xmlns:p14="http://schemas.microsoft.com/office/powerpoint/2010/main" val="364041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A50E58B-268E-4E5A-BC9C-1736FD5FE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21</a:t>
            </a:r>
            <a:r>
              <a:rPr lang="ja-JP" altLang="en-US" dirty="0"/>
              <a:t>年の平均寿命は</a:t>
            </a:r>
            <a:r>
              <a:rPr lang="en-US" altLang="ja-JP" dirty="0"/>
              <a:t>83.9</a:t>
            </a:r>
            <a:r>
              <a:rPr lang="ja-JP" altLang="en-US" dirty="0"/>
              <a:t>歳、健康寿命は</a:t>
            </a:r>
            <a:r>
              <a:rPr lang="en-US" altLang="ja-JP" dirty="0"/>
              <a:t>73.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31316" y="6545169"/>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の最新データ）</a:t>
            </a:r>
          </a:p>
        </p:txBody>
      </p:sp>
      <p:graphicFrame>
        <p:nvGraphicFramePr>
          <p:cNvPr id="16" name="表 15"/>
          <p:cNvGraphicFramePr>
            <a:graphicFrameLocks noGrp="1"/>
          </p:cNvGraphicFramePr>
          <p:nvPr>
            <p:extLst>
              <p:ext uri="{D42A27DB-BD31-4B8C-83A1-F6EECF244321}">
                <p14:modId xmlns:p14="http://schemas.microsoft.com/office/powerpoint/2010/main" val="311823588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6.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4" name="テキスト ボックス 14">
            <a:extLst>
              <a:ext uri="{FF2B5EF4-FFF2-40B4-BE49-F238E27FC236}">
                <a16:creationId xmlns:a16="http://schemas.microsoft.com/office/drawing/2014/main" id="{EAF6C1B8-A597-79F6-7801-520355CA3A78}"/>
              </a:ext>
            </a:extLst>
          </p:cNvPr>
          <p:cNvSpPr txBox="1"/>
          <p:nvPr/>
        </p:nvSpPr>
        <p:spPr>
          <a:xfrm>
            <a:off x="1352600" y="611248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8931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989403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3" imgW="270" imgH="270" progId="TCLayout.ActiveDocument.1">
                  <p:embed/>
                </p:oleObj>
              </mc:Choice>
              <mc:Fallback>
                <p:oleObj name="think-cellスライド" r:id="rId223" imgW="270" imgH="270" progId="TCLayout.ActiveDocument.1">
                  <p:embed/>
                  <p:pic>
                    <p:nvPicPr>
                      <p:cNvPr id="8" name="オブジェクト 7" hidden="1"/>
                      <p:cNvPicPr>
                        <a:picLocks noChangeAspect="1" noChangeArrowheads="1"/>
                      </p:cNvPicPr>
                      <p:nvPr/>
                    </p:nvPicPr>
                    <p:blipFill>
                      <a:blip r:embed="rId2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395085" y="1828011"/>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405591" y="415500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米ドル）</a:t>
            </a:r>
          </a:p>
        </p:txBody>
      </p:sp>
      <p:grpSp>
        <p:nvGrpSpPr>
          <p:cNvPr id="28" name="グループ化 7"/>
          <p:cNvGrpSpPr/>
          <p:nvPr/>
        </p:nvGrpSpPr>
        <p:grpSpPr>
          <a:xfrm>
            <a:off x="403973" y="1467942"/>
            <a:ext cx="9302002"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403973" y="3844975"/>
            <a:ext cx="9302002"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8124701" y="182631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37" name="テキスト ボックス 6"/>
          <p:cNvSpPr txBox="1"/>
          <p:nvPr/>
        </p:nvSpPr>
        <p:spPr>
          <a:xfrm>
            <a:off x="4173271" y="6495113"/>
            <a:ext cx="3575125"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最新年価値で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052127"/>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ほ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り、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に高まってきている。</a:t>
            </a:r>
          </a:p>
        </p:txBody>
      </p:sp>
      <p:sp>
        <p:nvSpPr>
          <p:cNvPr id="25" name="テキスト ボックス 6">
            <a:extLst>
              <a:ext uri="{FF2B5EF4-FFF2-40B4-BE49-F238E27FC236}">
                <a16:creationId xmlns:a16="http://schemas.microsoft.com/office/drawing/2014/main" id="{F0D0A940-5F2E-EB9D-15F0-C61895113F64}"/>
              </a:ext>
            </a:extLst>
          </p:cNvPr>
          <p:cNvSpPr txBox="1"/>
          <p:nvPr/>
        </p:nvSpPr>
        <p:spPr>
          <a:xfrm>
            <a:off x="6049805" y="6495113"/>
            <a:ext cx="3575125" cy="307777"/>
          </a:xfrm>
          <a:prstGeom prst="rect">
            <a:avLst/>
          </a:prstGeom>
          <a:noFill/>
        </p:spPr>
        <p:txBody>
          <a:bodyPr wrap="square" rtlCol="0">
            <a:spAutoFit/>
          </a:bodyPr>
          <a:lstStyle/>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830B268A-EB46-A00D-20E6-3B808DF3CCAE}"/>
              </a:ext>
            </a:extLst>
          </p:cNvPr>
          <p:cNvSpPr/>
          <p:nvPr>
            <p:custDataLst>
              <p:tags r:id="rId3"/>
            </p:custDataLst>
          </p:nvPr>
        </p:nvSpPr>
        <p:spPr bwMode="gray">
          <a:xfrm>
            <a:off x="8607425" y="42211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870007CA-6977-9299-6DA2-F71FB222356E}"/>
              </a:ext>
            </a:extLst>
          </p:cNvPr>
          <p:cNvSpPr/>
          <p:nvPr>
            <p:custDataLst>
              <p:tags r:id="rId4"/>
            </p:custDataLst>
          </p:nvPr>
        </p:nvSpPr>
        <p:spPr bwMode="gray">
          <a:xfrm>
            <a:off x="8607425"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プレースホルダ 9">
            <a:extLst>
              <a:ext uri="{FF2B5EF4-FFF2-40B4-BE49-F238E27FC236}">
                <a16:creationId xmlns:a16="http://schemas.microsoft.com/office/drawing/2014/main" id="{53F55F91-B0E9-43D6-69E5-E501078F9694}"/>
              </a:ext>
            </a:extLst>
          </p:cNvPr>
          <p:cNvSpPr>
            <a:spLocks/>
          </p:cNvSpPr>
          <p:nvPr>
            <p:custDataLst>
              <p:tags r:id="rId5"/>
            </p:custDataLst>
          </p:nvPr>
        </p:nvSpPr>
        <p:spPr bwMode="auto">
          <a:xfrm>
            <a:off x="8837613" y="42164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334210-3DA6-430B-96E6-A574A08AA6E7}" type="datetime'''政''''''府''''以''''''''''''''''''''''''''''''''''外'''''''">
              <a:rPr lang="ja-JP" altLang="en-US" sz="1000" smtClean="0"/>
              <a:pPr/>
              <a:t>政府以外</a:t>
            </a:fld>
            <a:endParaRPr kumimoji="0" lang="ja-JP" altLang="en-US" sz="1000" dirty="0">
              <a:sym typeface="+mn-lt"/>
            </a:endParaRPr>
          </a:p>
        </p:txBody>
      </p:sp>
      <p:sp>
        <p:nvSpPr>
          <p:cNvPr id="40" name="テキスト プレースホルダ 9">
            <a:extLst>
              <a:ext uri="{FF2B5EF4-FFF2-40B4-BE49-F238E27FC236}">
                <a16:creationId xmlns:a16="http://schemas.microsoft.com/office/drawing/2014/main" id="{E47CDD6B-2F4F-5969-962F-B34ED8113B16}"/>
              </a:ext>
            </a:extLst>
          </p:cNvPr>
          <p:cNvSpPr>
            <a:spLocks/>
          </p:cNvSpPr>
          <p:nvPr>
            <p:custDataLst>
              <p:tags r:id="rId6"/>
            </p:custDataLst>
          </p:nvPr>
        </p:nvSpPr>
        <p:spPr bwMode="auto">
          <a:xfrm>
            <a:off x="8837613"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FFDF21-F002-4F6F-AF07-0E3C9C1D31C8}" type="datetime'''''''''''政''''''''''''''府'''''''''''''''''''''''''''''">
              <a:rPr lang="ja-JP" altLang="en-US" sz="1000" smtClean="0"/>
              <a:pPr/>
              <a:t>政府</a:t>
            </a:fld>
            <a:endParaRPr kumimoji="0" lang="ja-JP" altLang="en-US" sz="1000" dirty="0">
              <a:sym typeface="+mn-lt"/>
            </a:endParaRPr>
          </a:p>
        </p:txBody>
      </p:sp>
      <p:graphicFrame>
        <p:nvGraphicFramePr>
          <p:cNvPr id="451" name="Chart 450">
            <a:extLst>
              <a:ext uri="{FF2B5EF4-FFF2-40B4-BE49-F238E27FC236}">
                <a16:creationId xmlns:a16="http://schemas.microsoft.com/office/drawing/2014/main" id="{4594612B-4071-D053-5518-97EEE4C4DCD9}"/>
              </a:ext>
            </a:extLst>
          </p:cNvPr>
          <p:cNvGraphicFramePr/>
          <p:nvPr>
            <p:custDataLst>
              <p:tags r:id="rId7"/>
            </p:custDataLst>
            <p:extLst>
              <p:ext uri="{D42A27DB-BD31-4B8C-83A1-F6EECF244321}">
                <p14:modId xmlns:p14="http://schemas.microsoft.com/office/powerpoint/2010/main" val="3189635560"/>
              </p:ext>
            </p:extLst>
          </p:nvPr>
        </p:nvGraphicFramePr>
        <p:xfrm>
          <a:off x="1071563" y="4216400"/>
          <a:ext cx="7567612" cy="1785938"/>
        </p:xfrm>
        <a:graphic>
          <a:graphicData uri="http://schemas.openxmlformats.org/drawingml/2006/chart">
            <c:chart xmlns:c="http://schemas.openxmlformats.org/drawingml/2006/chart" xmlns:r="http://schemas.openxmlformats.org/officeDocument/2006/relationships" r:id="rId225"/>
          </a:graphicData>
        </a:graphic>
      </p:graphicFrame>
      <p:sp>
        <p:nvSpPr>
          <p:cNvPr id="441" name="テキスト プレースホルダ 9">
            <a:extLst>
              <a:ext uri="{FF2B5EF4-FFF2-40B4-BE49-F238E27FC236}">
                <a16:creationId xmlns:a16="http://schemas.microsoft.com/office/drawing/2014/main" id="{BA3494EF-6EF5-5152-018E-73DE2704C959}"/>
              </a:ext>
            </a:extLst>
          </p:cNvPr>
          <p:cNvSpPr>
            <a:spLocks/>
          </p:cNvSpPr>
          <p:nvPr>
            <p:custDataLst>
              <p:tags r:id="rId8"/>
            </p:custDataLst>
          </p:nvPr>
        </p:nvSpPr>
        <p:spPr bwMode="gray">
          <a:xfrm>
            <a:off x="955675" y="58435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3B6CAD3-4B98-4AA5-9811-9830CF41A4C3}"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560A562E-2B66-5790-BB33-DAA51F9B278E}"/>
              </a:ext>
            </a:extLst>
          </p:cNvPr>
          <p:cNvSpPr>
            <a:spLocks/>
          </p:cNvSpPr>
          <p:nvPr>
            <p:custDataLst>
              <p:tags r:id="rId9"/>
            </p:custDataLst>
          </p:nvPr>
        </p:nvSpPr>
        <p:spPr bwMode="gray">
          <a:xfrm>
            <a:off x="955675" y="551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3A9729-1859-49B1-BDAA-791D25FF4916}"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4F3F1C3A-204F-1F23-901F-C7E1428B4992}"/>
              </a:ext>
            </a:extLst>
          </p:cNvPr>
          <p:cNvSpPr>
            <a:spLocks/>
          </p:cNvSpPr>
          <p:nvPr>
            <p:custDataLst>
              <p:tags r:id="rId10"/>
            </p:custDataLst>
          </p:nvPr>
        </p:nvSpPr>
        <p:spPr bwMode="gray">
          <a:xfrm>
            <a:off x="955675" y="5194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BB5B470-61D3-4E0D-AFE8-C64E621455A3}"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E57D2FE5-1F76-AD66-87BC-28B8B23677D8}"/>
              </a:ext>
            </a:extLst>
          </p:cNvPr>
          <p:cNvSpPr>
            <a:spLocks/>
          </p:cNvSpPr>
          <p:nvPr>
            <p:custDataLst>
              <p:tags r:id="rId11"/>
            </p:custDataLst>
          </p:nvPr>
        </p:nvSpPr>
        <p:spPr bwMode="gray">
          <a:xfrm>
            <a:off x="955675" y="48704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76B9A4-7621-4CAA-8FBB-2C2A73238E58}"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A298292A-65E2-CBD3-9D85-98F8B9AA782F}"/>
              </a:ext>
            </a:extLst>
          </p:cNvPr>
          <p:cNvSpPr>
            <a:spLocks/>
          </p:cNvSpPr>
          <p:nvPr>
            <p:custDataLst>
              <p:tags r:id="rId12"/>
            </p:custDataLst>
          </p:nvPr>
        </p:nvSpPr>
        <p:spPr bwMode="gray">
          <a:xfrm>
            <a:off x="955675" y="4546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FD33BE0-36BD-4E3A-AC53-BD133FFF591E}"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2D67A619-D8FD-6618-E55B-1BE228843965}"/>
              </a:ext>
            </a:extLst>
          </p:cNvPr>
          <p:cNvSpPr>
            <a:spLocks/>
          </p:cNvSpPr>
          <p:nvPr>
            <p:custDataLst>
              <p:tags r:id="rId13"/>
            </p:custDataLst>
          </p:nvPr>
        </p:nvSpPr>
        <p:spPr bwMode="gray">
          <a:xfrm>
            <a:off x="955675" y="4222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CB4DD4D-7CD1-484E-92DD-EF5FA0754997}"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6462C565-0578-CB71-E3FA-7750674D2EF6}"/>
              </a:ext>
            </a:extLst>
          </p:cNvPr>
          <p:cNvSpPr>
            <a:spLocks/>
          </p:cNvSpPr>
          <p:nvPr>
            <p:custDataLst>
              <p:tags r:id="rId14"/>
            </p:custDataLst>
          </p:nvPr>
        </p:nvSpPr>
        <p:spPr bwMode="gray">
          <a:xfrm>
            <a:off x="1773237" y="5805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F7B0-47B5-470D-898A-351BFA41D685}" type="datetime'''''''''''''''0''''''''''''.''''''''2'''''''''''''''''''''">
              <a:rPr lang="ja-JP" altLang="en-US" sz="1000" smtClean="0">
                <a:effectLst/>
              </a:rPr>
              <a:pPr/>
              <a:t>0.2</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B1144212-678F-A050-631F-181608ED0566}"/>
              </a:ext>
            </a:extLst>
          </p:cNvPr>
          <p:cNvSpPr>
            <a:spLocks/>
          </p:cNvSpPr>
          <p:nvPr>
            <p:custDataLst>
              <p:tags r:id="rId15"/>
            </p:custDataLst>
          </p:nvPr>
        </p:nvSpPr>
        <p:spPr bwMode="auto">
          <a:xfrm>
            <a:off x="1849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2781-7E7E-4E8B-8FE6-5E0AF51A8632}" type="datetime'''''''''''''''''''''''''''0''''''''''''2'''''''''''''''''''">
              <a:rPr lang="ja-JP" altLang="en-US" sz="1000" smtClean="0"/>
              <a:pPr/>
              <a:t>02</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EE7F91A6-FA1D-943E-9558-33B6DF9EA7B1}"/>
              </a:ext>
            </a:extLst>
          </p:cNvPr>
          <p:cNvSpPr>
            <a:spLocks/>
          </p:cNvSpPr>
          <p:nvPr>
            <p:custDataLst>
              <p:tags r:id="rId16"/>
            </p:custDataLst>
          </p:nvPr>
        </p:nvSpPr>
        <p:spPr bwMode="gray">
          <a:xfrm>
            <a:off x="2128838" y="56530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CDB4D-E65A-4888-96A8-C2B359D4873F}" type="datetime'''0''''''''''''''''''''''.''''''''''''''''''''''''''''''5'''">
              <a:rPr lang="ja-JP" altLang="en-US" sz="1000" smtClean="0"/>
              <a:pPr/>
              <a:t>0.5</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96C1A2C3-BF50-CAE8-A26A-B363C463C9B1}"/>
              </a:ext>
            </a:extLst>
          </p:cNvPr>
          <p:cNvSpPr>
            <a:spLocks/>
          </p:cNvSpPr>
          <p:nvPr>
            <p:custDataLst>
              <p:tags r:id="rId17"/>
            </p:custDataLst>
          </p:nvPr>
        </p:nvSpPr>
        <p:spPr bwMode="gray">
          <a:xfrm>
            <a:off x="2128838" y="5791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12FAF3-670D-4D42-8633-ADD67EA21AAF}" type="datetime'''''0''''''''''''''''''''''''''''''''.''''''''''''''''3'">
              <a:rPr lang="ja-JP" altLang="en-US" sz="1000" smtClean="0">
                <a:effectLst/>
              </a:rPr>
              <a:pPr/>
              <a:t>0.3</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8BC3816C-23A7-9857-B754-76F64E952CAC}"/>
              </a:ext>
            </a:extLst>
          </p:cNvPr>
          <p:cNvSpPr>
            <a:spLocks/>
          </p:cNvSpPr>
          <p:nvPr>
            <p:custDataLst>
              <p:tags r:id="rId18"/>
            </p:custDataLst>
          </p:nvPr>
        </p:nvSpPr>
        <p:spPr bwMode="auto">
          <a:xfrm>
            <a:off x="2157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59C2-FAB9-474E-B391-77DDA5FFEEF6}" type="datetime'''''''''''''''''''''''''0''''''''''''''''''3'''''''">
              <a:rPr lang="ja-JP" altLang="en-US" sz="1000" smtClean="0"/>
              <a:pPr/>
              <a:t>03</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8D3DA45D-3202-34A8-F600-C7CFB1F64B2A}"/>
              </a:ext>
            </a:extLst>
          </p:cNvPr>
          <p:cNvSpPr>
            <a:spLocks/>
          </p:cNvSpPr>
          <p:nvPr>
            <p:custDataLst>
              <p:tags r:id="rId19"/>
            </p:custDataLst>
          </p:nvPr>
        </p:nvSpPr>
        <p:spPr bwMode="gray">
          <a:xfrm>
            <a:off x="2436813" y="56562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82FC1D-0AFF-448E-8CC4-6FEADA5E9FE6}" type="datetime'''''''''''0''''.''''''''''''''''''''''''''''''6'''''">
              <a:rPr lang="ja-JP" altLang="en-US" sz="1000" smtClean="0"/>
              <a:pPr/>
              <a:t>0.6</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018AD5E1-7069-0A5C-E74C-2AAEFDFFB3FE}"/>
              </a:ext>
            </a:extLst>
          </p:cNvPr>
          <p:cNvSpPr>
            <a:spLocks/>
          </p:cNvSpPr>
          <p:nvPr>
            <p:custDataLst>
              <p:tags r:id="rId20"/>
            </p:custDataLst>
          </p:nvPr>
        </p:nvSpPr>
        <p:spPr bwMode="gray">
          <a:xfrm>
            <a:off x="2436813" y="5797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01649-9E79-42D7-A252-24F41CC3D405}" type="datetime'''0''''''.''''''3'''''''''''''''''''">
              <a:rPr lang="ja-JP" altLang="en-US" sz="1000" smtClean="0">
                <a:effectLst/>
              </a:rPr>
              <a:pPr/>
              <a:t>0.3</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3A259FDC-D2B9-9ECE-6208-C2023566274D}"/>
              </a:ext>
            </a:extLst>
          </p:cNvPr>
          <p:cNvSpPr>
            <a:spLocks/>
          </p:cNvSpPr>
          <p:nvPr>
            <p:custDataLst>
              <p:tags r:id="rId21"/>
            </p:custDataLst>
          </p:nvPr>
        </p:nvSpPr>
        <p:spPr bwMode="auto">
          <a:xfrm>
            <a:off x="2465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D5E0A-A248-4CA0-9F19-7E60499F15DC}" type="datetime'''''''''''''''''''''0''''''''''''''''''''4'">
              <a:rPr lang="ja-JP" altLang="en-US" sz="1000" smtClean="0"/>
              <a:pPr/>
              <a:t>04</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7127642C-61DB-D746-DC02-33A8CCE7C4CD}"/>
              </a:ext>
            </a:extLst>
          </p:cNvPr>
          <p:cNvSpPr>
            <a:spLocks/>
          </p:cNvSpPr>
          <p:nvPr>
            <p:custDataLst>
              <p:tags r:id="rId22"/>
            </p:custDataLst>
          </p:nvPr>
        </p:nvSpPr>
        <p:spPr bwMode="gray">
          <a:xfrm>
            <a:off x="2744788" y="56467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839A7-1309-4DE9-9DF0-E09893DB79A7}" type="datetime'''''0''''''''''''''''''''.''''''''''''''6'''''''''''''''">
              <a:rPr lang="ja-JP" altLang="en-US" sz="1000" smtClean="0"/>
              <a:pPr/>
              <a:t>0.6</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A8297D4D-4215-4F82-6E79-C6FA0B29F135}"/>
              </a:ext>
            </a:extLst>
          </p:cNvPr>
          <p:cNvSpPr>
            <a:spLocks/>
          </p:cNvSpPr>
          <p:nvPr>
            <p:custDataLst>
              <p:tags r:id="rId23"/>
            </p:custDataLst>
          </p:nvPr>
        </p:nvSpPr>
        <p:spPr bwMode="gray">
          <a:xfrm>
            <a:off x="2744788" y="5794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B917C-7F51-4531-9642-75B6089B3CD3}" type="datetime'''0''''''''''''''''''''''''.''''''''''''''3'''''''''''">
              <a:rPr lang="ja-JP" altLang="en-US" sz="1000" smtClean="0">
                <a:effectLst/>
              </a:rPr>
              <a:pPr/>
              <a:t>0.3</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ADCD0A55-CDA7-527B-F3A5-E6CA760D865A}"/>
              </a:ext>
            </a:extLst>
          </p:cNvPr>
          <p:cNvSpPr>
            <a:spLocks/>
          </p:cNvSpPr>
          <p:nvPr>
            <p:custDataLst>
              <p:tags r:id="rId24"/>
            </p:custDataLst>
          </p:nvPr>
        </p:nvSpPr>
        <p:spPr bwMode="auto">
          <a:xfrm>
            <a:off x="277336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4C8FF-00B5-47F1-B8CC-A2A0CD478711}" type="datetime'''''''0''''5'''''''''''''''''''''''''''''''''''''''''''''">
              <a:rPr lang="ja-JP" altLang="en-US" sz="1000" smtClean="0"/>
              <a:pPr/>
              <a:t>05</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AE49B1E-3254-AEAD-AACD-345882D9DFDC}"/>
              </a:ext>
            </a:extLst>
          </p:cNvPr>
          <p:cNvSpPr>
            <a:spLocks/>
          </p:cNvSpPr>
          <p:nvPr>
            <p:custDataLst>
              <p:tags r:id="rId25"/>
            </p:custDataLst>
          </p:nvPr>
        </p:nvSpPr>
        <p:spPr bwMode="gray">
          <a:xfrm>
            <a:off x="3054350" y="56276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2FF46-7A2C-45DB-B7BB-EC5C1FB5AB6B}" type="datetime'''''''''''''0''.''''''''''''''''''''7'''''''''''''''''''">
              <a:rPr lang="ja-JP" altLang="en-US" sz="1000" smtClean="0"/>
              <a:pPr/>
              <a:t>0.7</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562F4952-92DF-005F-55F9-69348A889469}"/>
              </a:ext>
            </a:extLst>
          </p:cNvPr>
          <p:cNvSpPr>
            <a:spLocks/>
          </p:cNvSpPr>
          <p:nvPr>
            <p:custDataLst>
              <p:tags r:id="rId26"/>
            </p:custDataLst>
          </p:nvPr>
        </p:nvSpPr>
        <p:spPr bwMode="gray">
          <a:xfrm>
            <a:off x="3054350" y="5788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87389-A556-4CB2-9008-03B037D0DF24}" type="datetime'''''''0''''''''''.''''''''''''''''''''''''''''''''''''3'''''''">
              <a:rPr lang="ja-JP" altLang="en-US" sz="1000" smtClean="0">
                <a:effectLst/>
              </a:rPr>
              <a:pPr/>
              <a:t>0.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E8A889AD-5EAA-7BB2-0743-50EE212E0076}"/>
              </a:ext>
            </a:extLst>
          </p:cNvPr>
          <p:cNvSpPr>
            <a:spLocks/>
          </p:cNvSpPr>
          <p:nvPr>
            <p:custDataLst>
              <p:tags r:id="rId27"/>
            </p:custDataLst>
          </p:nvPr>
        </p:nvSpPr>
        <p:spPr bwMode="auto">
          <a:xfrm>
            <a:off x="3082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78878-39F9-4260-A933-F3DFED2B21C7}" type="datetime'''''''''''''''''''0''''6'''''''''''''">
              <a:rPr lang="ja-JP" altLang="en-US" sz="1000" smtClean="0"/>
              <a:pPr/>
              <a:t>06</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778E5BC2-2167-4B90-605B-7B6160A81749}"/>
              </a:ext>
            </a:extLst>
          </p:cNvPr>
          <p:cNvSpPr>
            <a:spLocks/>
          </p:cNvSpPr>
          <p:nvPr>
            <p:custDataLst>
              <p:tags r:id="rId28"/>
            </p:custDataLst>
          </p:nvPr>
        </p:nvSpPr>
        <p:spPr bwMode="gray">
          <a:xfrm>
            <a:off x="3362324" y="56007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FF6454-1CC2-4A62-9AF7-DD1765BF0B8F}" type="datetime'''''''''''''''''0''''''''''''''''''''''''''''.''7'''''''''''">
              <a:rPr lang="ja-JP" altLang="en-US" sz="1000" smtClean="0"/>
              <a:pPr/>
              <a:t>0.7</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C4DDDD65-F650-63D9-FCFC-76F19F3A0A2B}"/>
              </a:ext>
            </a:extLst>
          </p:cNvPr>
          <p:cNvSpPr>
            <a:spLocks/>
          </p:cNvSpPr>
          <p:nvPr>
            <p:custDataLst>
              <p:tags r:id="rId29"/>
            </p:custDataLst>
          </p:nvPr>
        </p:nvSpPr>
        <p:spPr bwMode="gray">
          <a:xfrm>
            <a:off x="3362324" y="5781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67F72B-3351-42EC-9174-AD4E53538494}" type="datetime'''''0''''''''''''.''''''''''''4'''''''''''''''''''''''">
              <a:rPr lang="ja-JP" altLang="en-US" sz="1000" smtClean="0">
                <a:effectLst/>
              </a:rPr>
              <a:pPr/>
              <a:t>0.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95F0A020-0109-BB7C-D5A1-B65287FD04A1}"/>
              </a:ext>
            </a:extLst>
          </p:cNvPr>
          <p:cNvSpPr>
            <a:spLocks/>
          </p:cNvSpPr>
          <p:nvPr>
            <p:custDataLst>
              <p:tags r:id="rId30"/>
            </p:custDataLst>
          </p:nvPr>
        </p:nvSpPr>
        <p:spPr bwMode="auto">
          <a:xfrm>
            <a:off x="3390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E4CC01-615C-436F-93F0-393092AC5E62}" type="datetime'0''''''''''''''''''''''''''''''''''''''''7'">
              <a:rPr lang="ja-JP" altLang="en-US" sz="1000" smtClean="0"/>
              <a:pPr/>
              <a:t>07</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788248D9-F286-3F2D-2EE9-26F049295A2E}"/>
              </a:ext>
            </a:extLst>
          </p:cNvPr>
          <p:cNvSpPr>
            <a:spLocks/>
          </p:cNvSpPr>
          <p:nvPr>
            <p:custDataLst>
              <p:tags r:id="rId31"/>
            </p:custDataLst>
          </p:nvPr>
        </p:nvSpPr>
        <p:spPr bwMode="gray">
          <a:xfrm>
            <a:off x="3670299" y="57658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C180A-C0FA-40BD-91A6-F895EE3297B3}" type="datetime'''''''''''''''''''''''''''''0''''''''.5'''''''">
              <a:rPr lang="ja-JP" altLang="en-US" sz="1000" smtClean="0">
                <a:effectLst/>
              </a:rPr>
              <a:pPr/>
              <a:t>0.5</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E18A69EE-E654-B98F-F6C4-D7E8212F687C}"/>
              </a:ext>
            </a:extLst>
          </p:cNvPr>
          <p:cNvSpPr>
            <a:spLocks/>
          </p:cNvSpPr>
          <p:nvPr>
            <p:custDataLst>
              <p:tags r:id="rId32"/>
            </p:custDataLst>
          </p:nvPr>
        </p:nvSpPr>
        <p:spPr bwMode="auto">
          <a:xfrm>
            <a:off x="3698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CA376-9268-43DF-8968-070B1ABD8990}" type="datetime'''''0''''8'''''''''''''''">
              <a:rPr lang="ja-JP" altLang="en-US" sz="1000" smtClean="0"/>
              <a:pPr/>
              <a:t>08</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D9FF0C4B-B7B3-7364-B5D1-9B5FD5C4CAD1}"/>
              </a:ext>
            </a:extLst>
          </p:cNvPr>
          <p:cNvSpPr>
            <a:spLocks/>
          </p:cNvSpPr>
          <p:nvPr>
            <p:custDataLst>
              <p:tags r:id="rId33"/>
            </p:custDataLst>
          </p:nvPr>
        </p:nvSpPr>
        <p:spPr bwMode="gray">
          <a:xfrm>
            <a:off x="3979862" y="57673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D36D8-59E7-4413-8971-F7681167D13F}" type="datetime'''''''0''''''''''''''''''''''''''''''''''''.''''5'">
              <a:rPr lang="ja-JP" altLang="en-US" sz="1000" smtClean="0">
                <a:effectLst/>
              </a:rPr>
              <a:pPr/>
              <a:t>0.5</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74F5951B-AB58-2DB7-7293-A75A453D63B8}"/>
              </a:ext>
            </a:extLst>
          </p:cNvPr>
          <p:cNvSpPr>
            <a:spLocks/>
          </p:cNvSpPr>
          <p:nvPr>
            <p:custDataLst>
              <p:tags r:id="rId34"/>
            </p:custDataLst>
          </p:nvPr>
        </p:nvSpPr>
        <p:spPr bwMode="auto">
          <a:xfrm>
            <a:off x="4008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A694F-46E8-4A98-AE7E-D74138286937}" type="datetime'''''''''''''''''''''''''''''0''''9'''''''''''''">
              <a:rPr lang="ja-JP" altLang="en-US" sz="1000" smtClean="0"/>
              <a:pPr/>
              <a:t>09</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7AB4F07-02DE-E7AF-EA1D-8256253D69A0}"/>
              </a:ext>
            </a:extLst>
          </p:cNvPr>
          <p:cNvSpPr>
            <a:spLocks/>
          </p:cNvSpPr>
          <p:nvPr>
            <p:custDataLst>
              <p:tags r:id="rId35"/>
            </p:custDataLst>
          </p:nvPr>
        </p:nvSpPr>
        <p:spPr bwMode="gray">
          <a:xfrm>
            <a:off x="4287837" y="57546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CDF9BF-C370-40A2-8B79-3DFCCA1881AE}" type="datetime'''''''''''''''''0''''''.''''''''''''''''''''''''5'''''">
              <a:rPr lang="ja-JP" altLang="en-US" sz="1000" smtClean="0"/>
              <a:pPr/>
              <a:t>0.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439CC0F9-556F-F1D5-2ADF-D3A42707A2A4}"/>
              </a:ext>
            </a:extLst>
          </p:cNvPr>
          <p:cNvSpPr>
            <a:spLocks/>
          </p:cNvSpPr>
          <p:nvPr>
            <p:custDataLst>
              <p:tags r:id="rId36"/>
            </p:custDataLst>
          </p:nvPr>
        </p:nvSpPr>
        <p:spPr bwMode="auto">
          <a:xfrm>
            <a:off x="4316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B9CF4-B48D-4D99-B68B-3C42B9B947E2}" type="datetime'''''''''''''''''''''''''1''''''''''''''''''''''''0'''''''''''">
              <a:rPr lang="ja-JP" altLang="en-US" sz="1000" smtClean="0"/>
              <a:pPr/>
              <a:t>10</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1EC0FD9D-9D6A-87E4-1E40-44F5D86C63E0}"/>
              </a:ext>
            </a:extLst>
          </p:cNvPr>
          <p:cNvSpPr>
            <a:spLocks/>
          </p:cNvSpPr>
          <p:nvPr>
            <p:custDataLst>
              <p:tags r:id="rId37"/>
            </p:custDataLst>
          </p:nvPr>
        </p:nvSpPr>
        <p:spPr bwMode="gray">
          <a:xfrm>
            <a:off x="4595812" y="57404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47E8D0-A50F-404C-9C43-AE5EF24C3693}" type="datetime'''''''0''.''''''''''''''''''''6'''''''">
              <a:rPr lang="ja-JP" altLang="en-US" sz="1000" smtClean="0"/>
              <a:pPr/>
              <a:t>0.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5855C159-8FE4-C449-7340-4A88868C619B}"/>
              </a:ext>
            </a:extLst>
          </p:cNvPr>
          <p:cNvSpPr>
            <a:spLocks/>
          </p:cNvSpPr>
          <p:nvPr>
            <p:custDataLst>
              <p:tags r:id="rId38"/>
            </p:custDataLst>
          </p:nvPr>
        </p:nvSpPr>
        <p:spPr bwMode="auto">
          <a:xfrm>
            <a:off x="4624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67904E-E531-4007-AB8D-2DAA003050D7}" type="datetime'''''''''''''''''''''''''''1''''''''''''1'''''''''">
              <a:rPr lang="ja-JP" altLang="en-US" sz="1000" smtClean="0"/>
              <a:pPr/>
              <a:t>11</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DA60CEA1-D839-E34B-5AF1-A936C2CA69AF}"/>
              </a:ext>
            </a:extLst>
          </p:cNvPr>
          <p:cNvSpPr>
            <a:spLocks/>
          </p:cNvSpPr>
          <p:nvPr>
            <p:custDataLst>
              <p:tags r:id="rId39"/>
            </p:custDataLst>
          </p:nvPr>
        </p:nvSpPr>
        <p:spPr bwMode="gray">
          <a:xfrm>
            <a:off x="4905374" y="572452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1013D-0686-4405-B0B0-6665909F865A}" type="datetime'''''0''.''''''''''''''''''''''''''7'''">
              <a:rPr lang="ja-JP" altLang="en-US" sz="1000" smtClean="0"/>
              <a:pPr/>
              <a:t>0.7</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A4FCB145-33E2-76E4-3AB4-2533B89D844E}"/>
              </a:ext>
            </a:extLst>
          </p:cNvPr>
          <p:cNvSpPr>
            <a:spLocks/>
          </p:cNvSpPr>
          <p:nvPr>
            <p:custDataLst>
              <p:tags r:id="rId40"/>
            </p:custDataLst>
          </p:nvPr>
        </p:nvSpPr>
        <p:spPr bwMode="auto">
          <a:xfrm>
            <a:off x="4933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8307D-A24D-4A48-A846-396E40A6F186}" type="datetime'''''''''1''''''''''''''''''''''''''''2'''''''''''''''">
              <a:rPr lang="ja-JP" altLang="en-US" sz="1000" smtClean="0"/>
              <a:pPr/>
              <a:t>12</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25941809-09C1-3C3F-B13A-FEB099BBD6EC}"/>
              </a:ext>
            </a:extLst>
          </p:cNvPr>
          <p:cNvSpPr>
            <a:spLocks/>
          </p:cNvSpPr>
          <p:nvPr>
            <p:custDataLst>
              <p:tags r:id="rId41"/>
            </p:custDataLst>
          </p:nvPr>
        </p:nvSpPr>
        <p:spPr bwMode="auto">
          <a:xfrm>
            <a:off x="5241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60090A-9465-4711-B3CA-534CA032746D}" type="datetime'''''''''''1''''''''3'''''''''''''''''''''''''''''''">
              <a:rPr lang="ja-JP" altLang="en-US" sz="1000" smtClean="0"/>
              <a:pPr/>
              <a:t>13</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9CA92A-3242-FDF7-070A-D8EBBD184E92}"/>
              </a:ext>
            </a:extLst>
          </p:cNvPr>
          <p:cNvSpPr>
            <a:spLocks/>
          </p:cNvSpPr>
          <p:nvPr>
            <p:custDataLst>
              <p:tags r:id="rId42"/>
            </p:custDataLst>
          </p:nvPr>
        </p:nvSpPr>
        <p:spPr bwMode="auto">
          <a:xfrm>
            <a:off x="5549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073AE-EBC4-4AA8-8FA2-BF4B2E635CFF}" type="datetime'''''''''''''''''''''''''''1''4'''''''''''''''''">
              <a:rPr lang="ja-JP" altLang="en-US" sz="1000" smtClean="0"/>
              <a:pPr/>
              <a:t>14</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0F6E096-546E-9E21-B903-1748053CB33A}"/>
              </a:ext>
            </a:extLst>
          </p:cNvPr>
          <p:cNvSpPr>
            <a:spLocks/>
          </p:cNvSpPr>
          <p:nvPr>
            <p:custDataLst>
              <p:tags r:id="rId43"/>
            </p:custDataLst>
          </p:nvPr>
        </p:nvSpPr>
        <p:spPr bwMode="auto">
          <a:xfrm>
            <a:off x="5857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9F343-5E82-4CE6-A0D0-0CA1B8302777}" type="datetime'''''''''''''''1''''''''''''''''''5'''''''''''''''''''''''''">
              <a:rPr lang="ja-JP" altLang="en-US" sz="1000" smtClean="0"/>
              <a:pPr/>
              <a:t>15</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75F463D2-8412-EBBD-287B-5C284D2FA869}"/>
              </a:ext>
            </a:extLst>
          </p:cNvPr>
          <p:cNvSpPr>
            <a:spLocks/>
          </p:cNvSpPr>
          <p:nvPr>
            <p:custDataLst>
              <p:tags r:id="rId44"/>
            </p:custDataLst>
          </p:nvPr>
        </p:nvSpPr>
        <p:spPr bwMode="auto">
          <a:xfrm>
            <a:off x="6167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75F3C-2C74-44C6-BA18-1EFF6B4B7283}" type="datetime'''''''''''''''''1''''''''''''''''6'''">
              <a:rPr lang="ja-JP" altLang="en-US" sz="1000" smtClean="0"/>
              <a:pPr/>
              <a:t>16</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EBAA6BF8-4C3D-2BDA-AFA1-5C73E2F729B8}"/>
              </a:ext>
            </a:extLst>
          </p:cNvPr>
          <p:cNvSpPr>
            <a:spLocks/>
          </p:cNvSpPr>
          <p:nvPr>
            <p:custDataLst>
              <p:tags r:id="rId45"/>
            </p:custDataLst>
          </p:nvPr>
        </p:nvSpPr>
        <p:spPr bwMode="auto">
          <a:xfrm>
            <a:off x="6475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EF3DF-F4FA-48B3-B3EB-A58A11EC73CC}" type="datetime'''1''''''''''''''7'''''''''''">
              <a:rPr lang="ja-JP" altLang="en-US" sz="1000" smtClean="0"/>
              <a:pPr/>
              <a:t>17</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A6764AC-2234-5CA5-C759-29BF09A870C0}"/>
              </a:ext>
            </a:extLst>
          </p:cNvPr>
          <p:cNvSpPr>
            <a:spLocks/>
          </p:cNvSpPr>
          <p:nvPr>
            <p:custDataLst>
              <p:tags r:id="rId46"/>
            </p:custDataLst>
          </p:nvPr>
        </p:nvSpPr>
        <p:spPr bwMode="auto">
          <a:xfrm>
            <a:off x="6783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13F22-DFF7-46CA-A57C-86AF528FA336}" type="datetime'''''''''''''''''''''''1''''''''''''''''''''''''''''''''8'''''">
              <a:rPr lang="ja-JP" altLang="en-US" sz="1000" smtClean="0"/>
              <a:pPr/>
              <a:t>18</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2E0720B4-36F7-CE8B-1AC8-E2EFE48D9EFB}"/>
              </a:ext>
            </a:extLst>
          </p:cNvPr>
          <p:cNvSpPr>
            <a:spLocks/>
          </p:cNvSpPr>
          <p:nvPr>
            <p:custDataLst>
              <p:tags r:id="rId47"/>
            </p:custDataLst>
          </p:nvPr>
        </p:nvSpPr>
        <p:spPr bwMode="auto">
          <a:xfrm>
            <a:off x="7092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D7664-B190-4D59-B1F9-2B081438BC5F}" type="datetime'''''''''''''''''''''''1''''9'">
              <a:rPr lang="ja-JP" altLang="en-US" sz="1000" smtClean="0"/>
              <a:pPr/>
              <a:t>19</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92823C10-D174-FA8B-B6AA-8853C98D5393}"/>
              </a:ext>
            </a:extLst>
          </p:cNvPr>
          <p:cNvSpPr>
            <a:spLocks/>
          </p:cNvSpPr>
          <p:nvPr>
            <p:custDataLst>
              <p:tags r:id="rId48"/>
            </p:custDataLst>
          </p:nvPr>
        </p:nvSpPr>
        <p:spPr bwMode="auto">
          <a:xfrm>
            <a:off x="7400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11AC6-3222-4CF2-B7B2-F0A9D842B053}" type="datetime'''''''''''''''''''''''2''''''''0'''''''''''''''''''''''''">
              <a:rPr lang="ja-JP" altLang="en-US" sz="1000" smtClean="0"/>
              <a:pPr/>
              <a:t>20</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2ACD4964-4698-8A7B-854F-174F96D443D0}"/>
              </a:ext>
            </a:extLst>
          </p:cNvPr>
          <p:cNvSpPr>
            <a:spLocks/>
          </p:cNvSpPr>
          <p:nvPr>
            <p:custDataLst>
              <p:tags r:id="rId49"/>
            </p:custDataLst>
          </p:nvPr>
        </p:nvSpPr>
        <p:spPr bwMode="auto">
          <a:xfrm>
            <a:off x="7708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765119-63F9-4851-ADE3-65F8FD081EC3}" type="datetime'''''''''''''''2''''''''''''''''''''''''''''''''1'''''''">
              <a:rPr lang="ja-JP" altLang="en-US" sz="1000" smtClean="0"/>
              <a:pPr/>
              <a:t>21</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8DFD6F1D-DFCF-BD7F-E9D3-A12CDC5EE54C}"/>
              </a:ext>
            </a:extLst>
          </p:cNvPr>
          <p:cNvSpPr>
            <a:spLocks/>
          </p:cNvSpPr>
          <p:nvPr>
            <p:custDataLst>
              <p:tags r:id="rId50"/>
            </p:custDataLst>
          </p:nvPr>
        </p:nvSpPr>
        <p:spPr bwMode="auto">
          <a:xfrm>
            <a:off x="8016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F9A67-1920-4F64-981B-A9DD112EDF56}" type="datetime'''''''''''''''2''''''''''''''''''''''''''''''''''2'''''''''">
              <a:rPr lang="ja-JP" altLang="en-US" sz="1000" smtClean="0"/>
              <a:pPr/>
              <a:t>2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BAA513CF-45CA-83DF-F35C-18FDF5E039D6}"/>
              </a:ext>
            </a:extLst>
          </p:cNvPr>
          <p:cNvSpPr>
            <a:spLocks/>
          </p:cNvSpPr>
          <p:nvPr>
            <p:custDataLst>
              <p:tags r:id="rId51"/>
            </p:custDataLst>
          </p:nvPr>
        </p:nvSpPr>
        <p:spPr bwMode="auto">
          <a:xfrm>
            <a:off x="8326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6D118-4259-4CC0-AEF0-48A7C0EC65DB}" type="datetime'''''23'''">
              <a:rPr lang="ja-JP" altLang="en-US" sz="1000" smtClean="0"/>
              <a:pPr/>
              <a:t>23</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F3094870-7FD5-B1C8-FBAE-FFCF331CACFF}"/>
              </a:ext>
            </a:extLst>
          </p:cNvPr>
          <p:cNvSpPr>
            <a:spLocks/>
          </p:cNvSpPr>
          <p:nvPr>
            <p:custDataLst>
              <p:tags r:id="rId52"/>
            </p:custDataLst>
          </p:nvPr>
        </p:nvSpPr>
        <p:spPr bwMode="gray">
          <a:xfrm>
            <a:off x="1203324" y="5483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8BFEF3-C397-4EF7-8E25-D78EC4EFEB56}" type="datetime'''''0''''''''''''''''''''''''''''''''''''''''''''''.''''8'''">
              <a:rPr lang="ja-JP" altLang="en-US" sz="1000" smtClean="0"/>
              <a:pPr/>
              <a:t>0.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BC670FD-4D50-0F51-E397-2D09531EBC98}"/>
              </a:ext>
            </a:extLst>
          </p:cNvPr>
          <p:cNvSpPr>
            <a:spLocks/>
          </p:cNvSpPr>
          <p:nvPr>
            <p:custDataLst>
              <p:tags r:id="rId53"/>
            </p:custDataLst>
          </p:nvPr>
        </p:nvSpPr>
        <p:spPr bwMode="gray">
          <a:xfrm>
            <a:off x="1511299" y="551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2FE2DB-AEA5-4CEF-A46A-3C708DF0857E}" type="datetime'''''''''''''''0''''.''''''''''''''''''''''7'''''''''''''''''''">
              <a:rPr lang="ja-JP" altLang="en-US" sz="1000" smtClean="0"/>
              <a:pPr/>
              <a:t>0.7</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80AAA29E-67BD-B998-2559-CF988F673680}"/>
              </a:ext>
            </a:extLst>
          </p:cNvPr>
          <p:cNvSpPr>
            <a:spLocks/>
          </p:cNvSpPr>
          <p:nvPr>
            <p:custDataLst>
              <p:tags r:id="rId54"/>
            </p:custDataLst>
          </p:nvPr>
        </p:nvSpPr>
        <p:spPr bwMode="gray">
          <a:xfrm>
            <a:off x="1820862" y="5499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C6E168-F6D4-4E7F-ACD2-7C3CD815BB41}" type="datetime'''''''''''''''0''''''''''''''''.''7'''''''''">
              <a:rPr lang="ja-JP" altLang="en-US" sz="1000" smtClean="0"/>
              <a:pPr/>
              <a:t>0.7</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25AD5924-81C5-40A2-F528-B444A1259DE6}"/>
              </a:ext>
            </a:extLst>
          </p:cNvPr>
          <p:cNvSpPr>
            <a:spLocks/>
          </p:cNvSpPr>
          <p:nvPr>
            <p:custDataLst>
              <p:tags r:id="rId55"/>
            </p:custDataLst>
          </p:nvPr>
        </p:nvSpPr>
        <p:spPr bwMode="gray">
          <a:xfrm>
            <a:off x="2128837" y="5465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F3496-39CE-40F4-8307-64B17A32167F}" type="datetime'''0''''.''''''''''''''''''''''''''''''''''''''''''''''9'">
              <a:rPr lang="ja-JP" altLang="en-US" sz="1000" smtClean="0"/>
              <a:pPr/>
              <a:t>0.9</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E15135D9-2E89-66AE-06B8-3AD3D1AF3B7A}"/>
              </a:ext>
            </a:extLst>
          </p:cNvPr>
          <p:cNvSpPr>
            <a:spLocks/>
          </p:cNvSpPr>
          <p:nvPr>
            <p:custDataLst>
              <p:tags r:id="rId56"/>
            </p:custDataLst>
          </p:nvPr>
        </p:nvSpPr>
        <p:spPr bwMode="gray">
          <a:xfrm>
            <a:off x="2436812" y="5459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71755-7E7A-4BDF-A06B-210173937D25}" type="datetime'''''''0''''''''''.''''''''''''''''''9'''">
              <a:rPr lang="ja-JP" altLang="en-US" sz="1000" smtClean="0"/>
              <a:pPr/>
              <a:t>0.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5346284-DD88-2405-862F-5C21C7BFD7D1}"/>
              </a:ext>
            </a:extLst>
          </p:cNvPr>
          <p:cNvSpPr>
            <a:spLocks/>
          </p:cNvSpPr>
          <p:nvPr>
            <p:custDataLst>
              <p:tags r:id="rId57"/>
            </p:custDataLst>
          </p:nvPr>
        </p:nvSpPr>
        <p:spPr bwMode="gray">
          <a:xfrm>
            <a:off x="2744787" y="5446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8C42D-C448-4BDE-BE79-99E4BC201592}" type="datetime'''''''''0''.''''''''''''''''''''''''''''''''''''9'''''''''''">
              <a:rPr lang="ja-JP" altLang="en-US" sz="1000" smtClean="0"/>
              <a:pPr/>
              <a:t>0.9</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88A5DAC0-B164-0CEB-B556-9A0009BBE303}"/>
              </a:ext>
            </a:extLst>
          </p:cNvPr>
          <p:cNvSpPr>
            <a:spLocks/>
          </p:cNvSpPr>
          <p:nvPr>
            <p:custDataLst>
              <p:tags r:id="rId58"/>
            </p:custDataLst>
          </p:nvPr>
        </p:nvSpPr>
        <p:spPr bwMode="gray">
          <a:xfrm>
            <a:off x="3054349" y="5421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A5B2C-7547-4522-B3AE-3813C5E0B79E}" type="datetime'''''''''''''1.''''''''''''''''''''''''''''''''''''''0'">
              <a:rPr lang="ja-JP" altLang="en-US" sz="1000" smtClean="0"/>
              <a:pPr/>
              <a:t>1.0</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5DA492D7-0928-A6A1-4355-BFAD2DAE049A}"/>
              </a:ext>
            </a:extLst>
          </p:cNvPr>
          <p:cNvSpPr>
            <a:spLocks/>
          </p:cNvSpPr>
          <p:nvPr>
            <p:custDataLst>
              <p:tags r:id="rId59"/>
            </p:custDataLst>
          </p:nvPr>
        </p:nvSpPr>
        <p:spPr bwMode="gray">
          <a:xfrm>
            <a:off x="3362324"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A650B6-9C0C-4EA2-8FDF-7766EA2585D4}" type="datetime'1''''''''''''''''''''''''''''''''''''''''''''''''''.''''''''1'">
              <a:rPr lang="ja-JP" altLang="en-US" sz="1000" smtClean="0"/>
              <a:pPr/>
              <a:t>1.1</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F1B3004-EAB8-627D-F6A4-E40DC6335311}"/>
              </a:ext>
            </a:extLst>
          </p:cNvPr>
          <p:cNvSpPr>
            <a:spLocks/>
          </p:cNvSpPr>
          <p:nvPr>
            <p:custDataLst>
              <p:tags r:id="rId60"/>
            </p:custDataLst>
          </p:nvPr>
        </p:nvSpPr>
        <p:spPr bwMode="gray">
          <a:xfrm>
            <a:off x="3670299" y="532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CB592-CE1E-4DA0-B001-CF75F037555B}" type="datetime'''''''''''''''''''''''''''''1''''.''''''''''3'''">
              <a:rPr lang="ja-JP" altLang="en-US" sz="1000" smtClean="0"/>
              <a:pPr/>
              <a:t>1.3</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E8928C15-8CB1-5871-51EF-46769E32CFAC}"/>
              </a:ext>
            </a:extLst>
          </p:cNvPr>
          <p:cNvSpPr>
            <a:spLocks/>
          </p:cNvSpPr>
          <p:nvPr>
            <p:custDataLst>
              <p:tags r:id="rId61"/>
            </p:custDataLst>
          </p:nvPr>
        </p:nvSpPr>
        <p:spPr bwMode="gray">
          <a:xfrm>
            <a:off x="3979862" y="5311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5B665A-36CA-4AA4-8F26-3A12D3C3B7FA}" type="datetime'''''''''1''''''''''''''''''''''''''''.''''''''3'''''''''">
              <a:rPr lang="ja-JP" altLang="en-US" sz="1000" smtClean="0"/>
              <a:pPr/>
              <a:t>1.3</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3EB9ADF1-DE3D-DCA2-D22C-036940EF7116}"/>
              </a:ext>
            </a:extLst>
          </p:cNvPr>
          <p:cNvSpPr>
            <a:spLocks/>
          </p:cNvSpPr>
          <p:nvPr>
            <p:custDataLst>
              <p:tags r:id="rId62"/>
            </p:custDataLst>
          </p:nvPr>
        </p:nvSpPr>
        <p:spPr bwMode="gray">
          <a:xfrm>
            <a:off x="4287837" y="5251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4F02A-976E-4B41-9188-4E74B86022B8}" type="datetime'''''''''1''''''''''.''''''''''''''''''5'''''''''''''''">
              <a:rPr lang="ja-JP" altLang="en-US" sz="1000" smtClean="0"/>
              <a:pPr/>
              <a:t>1.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DA20815D-40C9-EF09-DA6D-BBAA5877D923}"/>
              </a:ext>
            </a:extLst>
          </p:cNvPr>
          <p:cNvSpPr>
            <a:spLocks/>
          </p:cNvSpPr>
          <p:nvPr>
            <p:custDataLst>
              <p:tags r:id="rId63"/>
            </p:custDataLst>
          </p:nvPr>
        </p:nvSpPr>
        <p:spPr bwMode="gray">
          <a:xfrm>
            <a:off x="4595812" y="5191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E9F84-0C4A-4878-A456-804F045879B9}" type="datetime'''1.''''''''''''''''''7'''''''''''''''''''''''''''''''''">
              <a:rPr lang="ja-JP" altLang="en-US" sz="1000" smtClean="0"/>
              <a:pPr/>
              <a:t>1.7</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56234539-D3BE-FA1D-E53A-4A0ACC9D267D}"/>
              </a:ext>
            </a:extLst>
          </p:cNvPr>
          <p:cNvSpPr>
            <a:spLocks/>
          </p:cNvSpPr>
          <p:nvPr>
            <p:custDataLst>
              <p:tags r:id="rId64"/>
            </p:custDataLst>
          </p:nvPr>
        </p:nvSpPr>
        <p:spPr bwMode="gray">
          <a:xfrm>
            <a:off x="4905374" y="514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0D1B96-60D2-49CB-859A-B047BAE03EDF}" type="datetime'''''''''1''''''''''.''''''''''''''''''9'''''''''''''">
              <a:rPr lang="ja-JP" altLang="en-US" sz="1000" smtClean="0"/>
              <a:pPr/>
              <a:t>1.9</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70C273A9-C8A4-8A87-E62C-49649D49E11D}"/>
              </a:ext>
            </a:extLst>
          </p:cNvPr>
          <p:cNvSpPr>
            <a:spLocks/>
          </p:cNvSpPr>
          <p:nvPr>
            <p:custDataLst>
              <p:tags r:id="rId65"/>
            </p:custDataLst>
          </p:nvPr>
        </p:nvSpPr>
        <p:spPr bwMode="gray">
          <a:xfrm>
            <a:off x="5213349" y="5059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4EFBCC-3399-47C5-862E-5D89E5C6A1BA}" type="datetime'''''''''''''''''''''2.''''''1'''''''''''">
              <a:rPr lang="ja-JP" altLang="en-US" sz="1000" smtClean="0"/>
              <a:pPr/>
              <a:t>2.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5E7174E5-4F94-72DF-BE7B-1952CEB43334}"/>
              </a:ext>
            </a:extLst>
          </p:cNvPr>
          <p:cNvSpPr>
            <a:spLocks/>
          </p:cNvSpPr>
          <p:nvPr>
            <p:custDataLst>
              <p:tags r:id="rId66"/>
            </p:custDataLst>
          </p:nvPr>
        </p:nvSpPr>
        <p:spPr bwMode="gray">
          <a:xfrm>
            <a:off x="5521324" y="5018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138506-2D8B-4267-827F-30458FB1D85B}" type="datetime'''''''''''''2''''''''''.''2'''''''''''''''''''''''''">
              <a:rPr lang="ja-JP" altLang="en-US" sz="1000" smtClean="0"/>
              <a:pPr/>
              <a:t>2.2</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8614763D-2181-8AA9-B71D-0C98AA61915C}"/>
              </a:ext>
            </a:extLst>
          </p:cNvPr>
          <p:cNvSpPr>
            <a:spLocks/>
          </p:cNvSpPr>
          <p:nvPr>
            <p:custDataLst>
              <p:tags r:id="rId67"/>
            </p:custDataLst>
          </p:nvPr>
        </p:nvSpPr>
        <p:spPr bwMode="gray">
          <a:xfrm>
            <a:off x="5829299" y="4986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D7D91-532C-4CFE-98EE-8F07C565B68F}" type="datetime'''''''2''''''''''.''''3'''''''''">
              <a:rPr lang="ja-JP" altLang="en-US" sz="1000" smtClean="0"/>
              <a:pPr/>
              <a:t>2.3</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3EF4BFC4-BFCE-CA4C-1D8A-5BE44E54B637}"/>
              </a:ext>
            </a:extLst>
          </p:cNvPr>
          <p:cNvSpPr>
            <a:spLocks/>
          </p:cNvSpPr>
          <p:nvPr>
            <p:custDataLst>
              <p:tags r:id="rId68"/>
            </p:custDataLst>
          </p:nvPr>
        </p:nvSpPr>
        <p:spPr bwMode="gray">
          <a:xfrm>
            <a:off x="6138862" y="4927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9A6455-9DDC-4ADF-A6EA-606D5C83026C}" type="datetime'''''''''''''2''''''''''''''''''''''''''''.''''5'''''">
              <a:rPr lang="ja-JP" altLang="en-US" sz="1000" smtClean="0"/>
              <a:pPr/>
              <a:t>2.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D6F966E6-A3D5-071B-5B7F-07496A8E14AA}"/>
              </a:ext>
            </a:extLst>
          </p:cNvPr>
          <p:cNvSpPr>
            <a:spLocks/>
          </p:cNvSpPr>
          <p:nvPr>
            <p:custDataLst>
              <p:tags r:id="rId69"/>
            </p:custDataLst>
          </p:nvPr>
        </p:nvSpPr>
        <p:spPr bwMode="gray">
          <a:xfrm>
            <a:off x="6446837" y="4875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96F2F4-B79A-4D57-9D4D-55793522DCB2}" type="datetime'''''''''''''''''''''''''''''''2''''''''''''.7'''''''''''">
              <a:rPr lang="ja-JP" altLang="en-US" sz="1000" smtClean="0"/>
              <a:pPr/>
              <a:t>2.7</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EA3D1A76-A57C-3FF5-9FDB-189046294852}"/>
              </a:ext>
            </a:extLst>
          </p:cNvPr>
          <p:cNvSpPr>
            <a:spLocks/>
          </p:cNvSpPr>
          <p:nvPr>
            <p:custDataLst>
              <p:tags r:id="rId70"/>
            </p:custDataLst>
          </p:nvPr>
        </p:nvSpPr>
        <p:spPr bwMode="gray">
          <a:xfrm>
            <a:off x="6754812" y="4857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E6FCB9-91CE-4A79-8E4D-A337B40DBF17}" type="datetime'''''''''''''''''''''2''''''.''''7'''''''''''''''''''">
              <a:rPr lang="ja-JP" altLang="en-US" sz="1000" smtClean="0"/>
              <a:pPr/>
              <a:t>2.7</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B91C3605-DCDC-9AB8-A366-7A60FB3F68FD}"/>
              </a:ext>
            </a:extLst>
          </p:cNvPr>
          <p:cNvSpPr>
            <a:spLocks/>
          </p:cNvSpPr>
          <p:nvPr>
            <p:custDataLst>
              <p:tags r:id="rId71"/>
            </p:custDataLst>
          </p:nvPr>
        </p:nvSpPr>
        <p:spPr bwMode="gray">
          <a:xfrm>
            <a:off x="7064374" y="47942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46C4F-3D16-46F0-A170-98484F16D204}" type="datetime'''''''''2''.''''''''''''''''''''9'''''''''''''''''''''''">
              <a:rPr lang="ja-JP" altLang="en-US" sz="1000" smtClean="0"/>
              <a:pPr/>
              <a:t>2.9</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9BCB1AFF-8D54-55B7-5F66-D08F8A5085E8}"/>
              </a:ext>
            </a:extLst>
          </p:cNvPr>
          <p:cNvSpPr>
            <a:spLocks/>
          </p:cNvSpPr>
          <p:nvPr>
            <p:custDataLst>
              <p:tags r:id="rId72"/>
            </p:custDataLst>
          </p:nvPr>
        </p:nvSpPr>
        <p:spPr bwMode="gray">
          <a:xfrm>
            <a:off x="7372349" y="459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1AB79-BB73-4CF6-8053-F436D02D9645}" type="datetime'''3''''''''''.''''''''''''''5'''''''''''''''''''''''">
              <a:rPr lang="ja-JP" altLang="en-US" sz="1000" smtClean="0"/>
              <a:pPr/>
              <a:t>3.5</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6DF3A54B-C81F-AFB3-2ADD-D14E328522C9}"/>
              </a:ext>
            </a:extLst>
          </p:cNvPr>
          <p:cNvSpPr>
            <a:spLocks/>
          </p:cNvSpPr>
          <p:nvPr>
            <p:custDataLst>
              <p:tags r:id="rId73"/>
            </p:custDataLst>
          </p:nvPr>
        </p:nvSpPr>
        <p:spPr bwMode="gray">
          <a:xfrm>
            <a:off x="7680324" y="4429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81FA3D-B754-4F98-8E6E-9CC4987051BE}" type="datetime'''''''''''''''''4''''''.''''''''''''1'">
              <a:rPr lang="ja-JP" altLang="en-US" sz="1000" smtClean="0"/>
              <a:pPr/>
              <a:t>4.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4875BE20-4436-1E54-50DD-F8B304EC2F89}"/>
              </a:ext>
            </a:extLst>
          </p:cNvPr>
          <p:cNvSpPr>
            <a:spLocks/>
          </p:cNvSpPr>
          <p:nvPr>
            <p:custDataLst>
              <p:tags r:id="rId74"/>
            </p:custDataLst>
          </p:nvPr>
        </p:nvSpPr>
        <p:spPr bwMode="gray">
          <a:xfrm>
            <a:off x="7988299" y="4476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9A7A6B-B608-4654-9175-36EC7C2D5643}" type="datetime'''3''''''.''''''''''''''''''''''''9'''''''''''''''''''''">
              <a:rPr lang="ja-JP" altLang="en-US" sz="1000" smtClean="0"/>
              <a:pPr/>
              <a:t>3.9</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380DABA0-F0FE-A797-9E0D-12DFC790EEDE}"/>
              </a:ext>
            </a:extLst>
          </p:cNvPr>
          <p:cNvSpPr>
            <a:spLocks/>
          </p:cNvSpPr>
          <p:nvPr>
            <p:custDataLst>
              <p:tags r:id="rId75"/>
            </p:custDataLst>
          </p:nvPr>
        </p:nvSpPr>
        <p:spPr bwMode="gray">
          <a:xfrm>
            <a:off x="8297862" y="4470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0D8325-EAEF-4B7F-BCD8-3F693AB8F97E}" type="datetime'''3.''''''''''''''''9'''''''''''''''''''''''''''''''''">
              <a:rPr lang="ja-JP" altLang="en-US" sz="1000" smtClean="0"/>
              <a:pPr/>
              <a:t>3.9</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D5B07166-B1A4-6B5A-0EC5-4838EFE92610}"/>
              </a:ext>
            </a:extLst>
          </p:cNvPr>
          <p:cNvSpPr>
            <a:spLocks/>
          </p:cNvSpPr>
          <p:nvPr>
            <p:custDataLst>
              <p:tags r:id="rId76"/>
            </p:custDataLst>
          </p:nvPr>
        </p:nvSpPr>
        <p:spPr bwMode="gray">
          <a:xfrm>
            <a:off x="3670299" y="55562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CE7B6-D837-4B6F-9E5C-E4D07B97649F}" type="datetime'''''''''''''0''''''''''''''''''''''''''''''.''8'''''''''">
              <a:rPr lang="ja-JP" altLang="en-US" sz="1000" smtClean="0"/>
              <a:pPr/>
              <a:t>0.8</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5D76BB29-4671-BE8A-B378-0341C06A68E7}"/>
              </a:ext>
            </a:extLst>
          </p:cNvPr>
          <p:cNvSpPr>
            <a:spLocks/>
          </p:cNvSpPr>
          <p:nvPr>
            <p:custDataLst>
              <p:tags r:id="rId77"/>
            </p:custDataLst>
          </p:nvPr>
        </p:nvSpPr>
        <p:spPr bwMode="gray">
          <a:xfrm>
            <a:off x="3979862" y="55530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22E66-8730-41E8-A769-A208E81CC5B1}" type="datetime'0''''''''''''''''''''''.''''9'''''''''">
              <a:rPr lang="ja-JP" altLang="en-US" sz="1000" smtClean="0"/>
              <a:pPr/>
              <a:t>0.9</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E2E8238D-EB9F-9E99-E330-8AE46903D4B6}"/>
              </a:ext>
            </a:extLst>
          </p:cNvPr>
          <p:cNvSpPr>
            <a:spLocks/>
          </p:cNvSpPr>
          <p:nvPr>
            <p:custDataLst>
              <p:tags r:id="rId78"/>
            </p:custDataLst>
          </p:nvPr>
        </p:nvSpPr>
        <p:spPr bwMode="gray">
          <a:xfrm>
            <a:off x="4287837" y="55102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A7E09-A2EA-4E2B-9036-73D0F9CAD87D}" type="datetime'1''''.''''''''''''''''''''''''''''''''''''''''0'''''''''">
              <a:rPr lang="ja-JP" altLang="en-US" sz="1000" smtClean="0"/>
              <a:pPr/>
              <a:t>1.0</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0DD7EF8-E332-A506-019D-A87D2830B35D}"/>
              </a:ext>
            </a:extLst>
          </p:cNvPr>
          <p:cNvSpPr>
            <a:spLocks/>
          </p:cNvSpPr>
          <p:nvPr>
            <p:custDataLst>
              <p:tags r:id="rId79"/>
            </p:custDataLst>
          </p:nvPr>
        </p:nvSpPr>
        <p:spPr bwMode="gray">
          <a:xfrm>
            <a:off x="4595812" y="54657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ABFE8-F295-408A-B4F0-0AFD044ED310}" type="datetime'1''''''''.''''''''1'''''">
              <a:rPr lang="ja-JP" altLang="en-US" sz="1000" smtClean="0"/>
              <a:pPr/>
              <a:t>1.1</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666858D0-7776-613A-BDE0-EF59034D5B5F}"/>
              </a:ext>
            </a:extLst>
          </p:cNvPr>
          <p:cNvSpPr>
            <a:spLocks/>
          </p:cNvSpPr>
          <p:nvPr>
            <p:custDataLst>
              <p:tags r:id="rId80"/>
            </p:custDataLst>
          </p:nvPr>
        </p:nvSpPr>
        <p:spPr bwMode="gray">
          <a:xfrm>
            <a:off x="4905374" y="54244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43E792-765D-4F1A-8685-473BC32251D0}" type="datetime'''''''''''''''1''''''''.''''''1'''''''''">
              <a:rPr lang="ja-JP" altLang="en-US" sz="1000" smtClean="0"/>
              <a:pPr/>
              <a:t>1.1</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AEEFCE4F-0705-51ED-111B-0E58EAD24171}"/>
              </a:ext>
            </a:extLst>
          </p:cNvPr>
          <p:cNvSpPr>
            <a:spLocks/>
          </p:cNvSpPr>
          <p:nvPr>
            <p:custDataLst>
              <p:tags r:id="rId81"/>
            </p:custDataLst>
          </p:nvPr>
        </p:nvSpPr>
        <p:spPr bwMode="gray">
          <a:xfrm>
            <a:off x="5213349" y="53594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A73AD-B35A-4C24-B8EA-FAB5C41FDE37}" type="datetime'''''''''''''''''''''''''''''''1''''''''''''.''''2'''">
              <a:rPr lang="ja-JP" altLang="en-US" sz="1000" smtClean="0"/>
              <a:pPr/>
              <a:t>1.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23AEFE1E-0B61-7BC7-1395-1F4012F43F8F}"/>
              </a:ext>
            </a:extLst>
          </p:cNvPr>
          <p:cNvSpPr>
            <a:spLocks/>
          </p:cNvSpPr>
          <p:nvPr>
            <p:custDataLst>
              <p:tags r:id="rId82"/>
            </p:custDataLst>
          </p:nvPr>
        </p:nvSpPr>
        <p:spPr bwMode="gray">
          <a:xfrm>
            <a:off x="5213349" y="57007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185A1F-2646-44E3-92FE-ECF967C40198}" type="datetime'''0''''''''''''.''''''9'''''''''''''''''''''''''">
              <a:rPr lang="ja-JP" altLang="en-US" sz="1000" smtClean="0"/>
              <a:pPr/>
              <a:t>0.9</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B9842DC5-2C93-616C-F916-61B9C6B0A358}"/>
              </a:ext>
            </a:extLst>
          </p:cNvPr>
          <p:cNvSpPr>
            <a:spLocks/>
          </p:cNvSpPr>
          <p:nvPr>
            <p:custDataLst>
              <p:tags r:id="rId83"/>
            </p:custDataLst>
          </p:nvPr>
        </p:nvSpPr>
        <p:spPr bwMode="gray">
          <a:xfrm>
            <a:off x="5521324" y="53181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B71721-D968-4BBA-B967-F4995AEB92D2}" type="datetime'''''''''''1''''''''.''''''2'''''''''''''''''''''''''''''''''">
              <a:rPr lang="ja-JP" altLang="en-US" sz="1000" smtClean="0"/>
              <a:pPr/>
              <a:t>1.2</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C34B2F5B-CC6B-875C-6C0F-5544C18AA247}"/>
              </a:ext>
            </a:extLst>
          </p:cNvPr>
          <p:cNvSpPr>
            <a:spLocks/>
          </p:cNvSpPr>
          <p:nvPr>
            <p:custDataLst>
              <p:tags r:id="rId84"/>
            </p:custDataLst>
          </p:nvPr>
        </p:nvSpPr>
        <p:spPr bwMode="gray">
          <a:xfrm>
            <a:off x="5521324" y="568007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6A4DC0-097E-4228-81D7-9B5AA9B23C04}" type="datetime'''''''''''''''''''1''''.0'''''''''''''''''">
              <a:rPr lang="ja-JP" altLang="en-US" sz="1000" smtClean="0"/>
              <a:pPr/>
              <a:t>1.0</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C8157663-AA01-1291-696D-E0926D8F3862}"/>
              </a:ext>
            </a:extLst>
          </p:cNvPr>
          <p:cNvSpPr>
            <a:spLocks/>
          </p:cNvSpPr>
          <p:nvPr>
            <p:custDataLst>
              <p:tags r:id="rId85"/>
            </p:custDataLst>
          </p:nvPr>
        </p:nvSpPr>
        <p:spPr bwMode="gray">
          <a:xfrm>
            <a:off x="1252537" y="56673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C352F-57AC-4A5F-A0B7-65C21469C691}" type="datetime'''''''''''''0''''''''''''''''''''''''''.5'''''''">
              <a:rPr lang="ja-JP" altLang="en-US" sz="1000" smtClean="0"/>
              <a:pPr/>
              <a:t>0.5</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A81378F9-AA47-7CF6-1698-584704ADE9C7}"/>
              </a:ext>
            </a:extLst>
          </p:cNvPr>
          <p:cNvSpPr>
            <a:spLocks/>
          </p:cNvSpPr>
          <p:nvPr>
            <p:custDataLst>
              <p:tags r:id="rId86"/>
            </p:custDataLst>
          </p:nvPr>
        </p:nvSpPr>
        <p:spPr bwMode="gray">
          <a:xfrm>
            <a:off x="5829299" y="56657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4B80D4-BBAD-494A-8AFF-27DF77C9CCBF}" type="datetime'''''''''''''''''''''''''''''''''''''''1''''''''''.''1'''">
              <a:rPr lang="ja-JP" altLang="en-US" sz="1000" smtClean="0"/>
              <a:pPr/>
              <a:t>1.1</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ACE0F1F7-D79E-B7FF-C9E1-D2FD7B3B473C}"/>
              </a:ext>
            </a:extLst>
          </p:cNvPr>
          <p:cNvSpPr>
            <a:spLocks/>
          </p:cNvSpPr>
          <p:nvPr>
            <p:custDataLst>
              <p:tags r:id="rId87"/>
            </p:custDataLst>
          </p:nvPr>
        </p:nvSpPr>
        <p:spPr bwMode="gray">
          <a:xfrm>
            <a:off x="6138862" y="52435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9985C-BB80-4E54-AA7C-4B9F10D671A8}" type="datetime'''''1''''''''''''''''''''''''.3'''''''''''''">
              <a:rPr lang="ja-JP" altLang="en-US" sz="1000" smtClean="0"/>
              <a:pPr/>
              <a:t>1.3</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552B9BFA-2AD1-C068-2F54-847578EBD1D3}"/>
              </a:ext>
            </a:extLst>
          </p:cNvPr>
          <p:cNvSpPr>
            <a:spLocks/>
          </p:cNvSpPr>
          <p:nvPr>
            <p:custDataLst>
              <p:tags r:id="rId88"/>
            </p:custDataLst>
          </p:nvPr>
        </p:nvSpPr>
        <p:spPr bwMode="gray">
          <a:xfrm>
            <a:off x="6138862" y="56499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355E2-006A-46C0-9105-60E9D937ECAF}" type="datetime'''''''''''''''''''''''''''''''''''''1''.''''''''''2'''''">
              <a:rPr lang="ja-JP" altLang="en-US" sz="1000" smtClean="0"/>
              <a:pPr/>
              <a:t>1.2</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C76335E-C9BD-1657-7728-941DA9020699}"/>
              </a:ext>
            </a:extLst>
          </p:cNvPr>
          <p:cNvSpPr>
            <a:spLocks/>
          </p:cNvSpPr>
          <p:nvPr>
            <p:custDataLst>
              <p:tags r:id="rId89"/>
            </p:custDataLst>
          </p:nvPr>
        </p:nvSpPr>
        <p:spPr bwMode="gray">
          <a:xfrm>
            <a:off x="6446837" y="52006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328D5-3B2F-441D-892E-42BD486D445A}" type="datetime'''''1''''''''''''''.''''4'''''''''''''''''''''''''''''''''''">
              <a:rPr lang="ja-JP" altLang="en-US" sz="1000" smtClean="0"/>
              <a:pPr/>
              <a:t>1.4</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2B3E778A-5667-94C5-5063-767ABBCC7803}"/>
              </a:ext>
            </a:extLst>
          </p:cNvPr>
          <p:cNvSpPr>
            <a:spLocks/>
          </p:cNvSpPr>
          <p:nvPr>
            <p:custDataLst>
              <p:tags r:id="rId90"/>
            </p:custDataLst>
          </p:nvPr>
        </p:nvSpPr>
        <p:spPr bwMode="gray">
          <a:xfrm>
            <a:off x="6446837" y="56340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96EA8F-2883-4B01-967D-8DB6A5663831}" type="datetime'''''''''''1''''''''''''''''.''3'''''''">
              <a:rPr lang="ja-JP" altLang="en-US" sz="1000" smtClean="0"/>
              <a:pPr/>
              <a:t>1.3</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4DD16FBA-F30A-B998-EDC9-04320973EC97}"/>
              </a:ext>
            </a:extLst>
          </p:cNvPr>
          <p:cNvSpPr>
            <a:spLocks/>
          </p:cNvSpPr>
          <p:nvPr>
            <p:custDataLst>
              <p:tags r:id="rId91"/>
            </p:custDataLst>
          </p:nvPr>
        </p:nvSpPr>
        <p:spPr bwMode="gray">
          <a:xfrm>
            <a:off x="6754812" y="51800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52A5C7-9C35-4F78-9654-D21486D22EA0}" type="datetime'''''''''1''''''''''''''''''''''''.''''''''''''4'''''''''''''">
              <a:rPr lang="ja-JP" altLang="en-US" sz="1000" smtClean="0"/>
              <a:pPr/>
              <a:t>1.4</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3C300176-3163-222F-D794-D3F23605F8E0}"/>
              </a:ext>
            </a:extLst>
          </p:cNvPr>
          <p:cNvSpPr>
            <a:spLocks/>
          </p:cNvSpPr>
          <p:nvPr>
            <p:custDataLst>
              <p:tags r:id="rId92"/>
            </p:custDataLst>
          </p:nvPr>
        </p:nvSpPr>
        <p:spPr bwMode="gray">
          <a:xfrm>
            <a:off x="6754812" y="56213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86556-BA88-4780-84B2-4327FCFF24DD}" type="datetime'''''''''1''''''''''''''''''''''.''''''''''''''4'''''">
              <a:rPr lang="ja-JP" altLang="en-US" sz="1000" smtClean="0"/>
              <a:pPr/>
              <a:t>1.4</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0E97B520-BD29-BF4B-7402-5FCB170457BC}"/>
              </a:ext>
            </a:extLst>
          </p:cNvPr>
          <p:cNvSpPr>
            <a:spLocks/>
          </p:cNvSpPr>
          <p:nvPr>
            <p:custDataLst>
              <p:tags r:id="rId93"/>
            </p:custDataLst>
          </p:nvPr>
        </p:nvSpPr>
        <p:spPr bwMode="gray">
          <a:xfrm>
            <a:off x="7064374" y="51228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3BBDF3-FAFC-41AC-92E2-CE3F7430071E}" type="datetime'''''''''''''1.''4'''''''">
              <a:rPr lang="ja-JP" altLang="en-US" sz="1000" smtClean="0"/>
              <a:pPr/>
              <a:t>1.4</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E5FEA2F3-D3FE-7C9D-8D6F-AA3A157D2AEE}"/>
              </a:ext>
            </a:extLst>
          </p:cNvPr>
          <p:cNvSpPr>
            <a:spLocks/>
          </p:cNvSpPr>
          <p:nvPr>
            <p:custDataLst>
              <p:tags r:id="rId94"/>
            </p:custDataLst>
          </p:nvPr>
        </p:nvSpPr>
        <p:spPr bwMode="gray">
          <a:xfrm>
            <a:off x="7064374" y="559752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59116-3B79-40CE-B1C3-06F0EBF0C81D}" type="datetime'''''''''''''''''''''''''''''''''''1''.''''''''''''5'''">
              <a:rPr lang="ja-JP" altLang="en-US" sz="1000" smtClean="0"/>
              <a:pPr/>
              <a:t>1.5</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4D8447DE-1D2A-5C10-C6D3-C917A01F06DF}"/>
              </a:ext>
            </a:extLst>
          </p:cNvPr>
          <p:cNvSpPr>
            <a:spLocks/>
          </p:cNvSpPr>
          <p:nvPr>
            <p:custDataLst>
              <p:tags r:id="rId95"/>
            </p:custDataLst>
          </p:nvPr>
        </p:nvSpPr>
        <p:spPr bwMode="gray">
          <a:xfrm>
            <a:off x="7372349" y="49260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5A30F-A231-4CFE-9737-1E419A157A2B}" type="datetime'''''''''1''''''''''''.4'''''''''''''''''''''''''''''''''''">
              <a:rPr lang="ja-JP" altLang="en-US" sz="1000" smtClean="0"/>
              <a:pPr/>
              <a:t>1.4</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786A0482-7B79-B53C-9F17-743D090CF272}"/>
              </a:ext>
            </a:extLst>
          </p:cNvPr>
          <p:cNvSpPr>
            <a:spLocks/>
          </p:cNvSpPr>
          <p:nvPr>
            <p:custDataLst>
              <p:tags r:id="rId96"/>
            </p:custDataLst>
          </p:nvPr>
        </p:nvSpPr>
        <p:spPr bwMode="gray">
          <a:xfrm>
            <a:off x="7372349" y="54991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73821D-4E78-425F-9E04-B7E38991D07F}" type="datetime'''''2''''''''.''''''''''''''''''''''''1'''''''''''''''''''''">
              <a:rPr lang="ja-JP" altLang="en-US" sz="1000" smtClean="0"/>
              <a:pPr/>
              <a:t>2.1</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249F4F38-D6DC-8AD3-F58C-5F2915739A7E}"/>
              </a:ext>
            </a:extLst>
          </p:cNvPr>
          <p:cNvSpPr>
            <a:spLocks/>
          </p:cNvSpPr>
          <p:nvPr>
            <p:custDataLst>
              <p:tags r:id="rId97"/>
            </p:custDataLst>
          </p:nvPr>
        </p:nvSpPr>
        <p:spPr bwMode="gray">
          <a:xfrm>
            <a:off x="5829299" y="52879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415E3A-3C28-462E-B9D0-B339782EFDA9}" type="datetime'''''''1''''''''''''''.''''''''''''''''''''''''''''2'''''''">
              <a:rPr lang="ja-JP" altLang="en-US" sz="1000" smtClean="0"/>
              <a:pPr/>
              <a:t>1.2</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22E46F2B-D4ED-BB8C-326F-55F5538EFB3D}"/>
              </a:ext>
            </a:extLst>
          </p:cNvPr>
          <p:cNvSpPr>
            <a:spLocks/>
          </p:cNvSpPr>
          <p:nvPr>
            <p:custDataLst>
              <p:tags r:id="rId98"/>
            </p:custDataLst>
          </p:nvPr>
        </p:nvSpPr>
        <p:spPr bwMode="gray">
          <a:xfrm>
            <a:off x="7680324" y="54435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D5185-7385-4DE7-B010-8B34AEA13F80}" type="datetime'''''''''''''''''''''''''2''.''5'''''''''''''''''''''''''''">
              <a:rPr lang="ja-JP" altLang="en-US" sz="1000" smtClean="0"/>
              <a:pPr/>
              <a:t>2.5</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056E8508-4692-DB18-1425-0DCC816E1F4A}"/>
              </a:ext>
            </a:extLst>
          </p:cNvPr>
          <p:cNvSpPr>
            <a:spLocks/>
          </p:cNvSpPr>
          <p:nvPr>
            <p:custDataLst>
              <p:tags r:id="rId99"/>
            </p:custDataLst>
          </p:nvPr>
        </p:nvSpPr>
        <p:spPr bwMode="gray">
          <a:xfrm>
            <a:off x="7988299" y="48307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F026B-F25F-4765-9A1A-0424E1D2F742}" type="datetime'''''''''''''''''''''''''''''''1''.''6'''''''''''''''''''''''">
              <a:rPr lang="ja-JP" altLang="en-US" sz="1000" smtClean="0"/>
              <a:pPr/>
              <a:t>1.6</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D43F62BE-F3BD-AD15-49C7-5DA98A34783F}"/>
              </a:ext>
            </a:extLst>
          </p:cNvPr>
          <p:cNvSpPr>
            <a:spLocks/>
          </p:cNvSpPr>
          <p:nvPr>
            <p:custDataLst>
              <p:tags r:id="rId100"/>
            </p:custDataLst>
          </p:nvPr>
        </p:nvSpPr>
        <p:spPr bwMode="gray">
          <a:xfrm>
            <a:off x="7988299" y="54625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C0834B-8609-4DB3-ABB0-41796F607D9F}" type="datetime'''''''''''''''''''''2''''.''''''''''3'''''''''''''''''''''''''">
              <a:rPr lang="ja-JP" altLang="en-US" sz="1000" smtClean="0"/>
              <a:pPr/>
              <a:t>2.3</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C809274C-0439-E995-2723-B5360772E270}"/>
              </a:ext>
            </a:extLst>
          </p:cNvPr>
          <p:cNvSpPr>
            <a:spLocks/>
          </p:cNvSpPr>
          <p:nvPr>
            <p:custDataLst>
              <p:tags r:id="rId101"/>
            </p:custDataLst>
          </p:nvPr>
        </p:nvSpPr>
        <p:spPr bwMode="gray">
          <a:xfrm>
            <a:off x="8297862" y="48355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BFC29-138F-4C47-AE0A-70ED3D92384A}" type="datetime'''''''''''''''''''''''''''''''''''''''''1''''.''6'''''''">
              <a:rPr lang="ja-JP" altLang="en-US" sz="1000" smtClean="0"/>
              <a:pPr/>
              <a:t>1.6</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C0C4B889-FE51-351D-C6EF-ABEE356C258C}"/>
              </a:ext>
            </a:extLst>
          </p:cNvPr>
          <p:cNvSpPr>
            <a:spLocks/>
          </p:cNvSpPr>
          <p:nvPr>
            <p:custDataLst>
              <p:tags r:id="rId102"/>
            </p:custDataLst>
          </p:nvPr>
        </p:nvSpPr>
        <p:spPr bwMode="gray">
          <a:xfrm>
            <a:off x="8297862" y="54721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DECBC-E771-4121-B0EC-CB394241AC6E}" type="datetime'''2''''''''''''''''''''''.''''''''''''''''3'''''">
              <a:rPr lang="ja-JP" altLang="en-US" sz="1000" smtClean="0"/>
              <a:pPr/>
              <a:t>2.3</a:t>
            </a:fld>
            <a:endParaRPr kumimoji="1" lang="ja-JP" altLang="en-US" sz="1000" dirty="0">
              <a:sym typeface="+mn-lt"/>
            </a:endParaRPr>
          </a:p>
        </p:txBody>
      </p:sp>
      <p:sp>
        <p:nvSpPr>
          <p:cNvPr id="42" name="テキスト プレースホルダ 9">
            <a:extLst>
              <a:ext uri="{FF2B5EF4-FFF2-40B4-BE49-F238E27FC236}">
                <a16:creationId xmlns:a16="http://schemas.microsoft.com/office/drawing/2014/main" id="{050E4FC5-E127-5F5A-4BE1-FF295C5E2D98}"/>
              </a:ext>
            </a:extLst>
          </p:cNvPr>
          <p:cNvSpPr>
            <a:spLocks/>
          </p:cNvSpPr>
          <p:nvPr>
            <p:custDataLst>
              <p:tags r:id="rId103"/>
            </p:custDataLst>
          </p:nvPr>
        </p:nvSpPr>
        <p:spPr bwMode="gray">
          <a:xfrm>
            <a:off x="1155699" y="57959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DE9BA9-21C9-4593-B882-1A8C36CF7B5A}" type="datetime'0''''''''''''.''''''''''3'''''''''''''''''''''''''''">
              <a:rPr lang="ja-JP" altLang="en-US" sz="1000" smtClean="0">
                <a:effectLst/>
              </a:rPr>
              <a:pPr/>
              <a:t>0.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CA4181D4-D598-0C21-505E-B625CFE43BFD}"/>
              </a:ext>
            </a:extLst>
          </p:cNvPr>
          <p:cNvSpPr>
            <a:spLocks/>
          </p:cNvSpPr>
          <p:nvPr>
            <p:custDataLst>
              <p:tags r:id="rId104"/>
            </p:custDataLst>
          </p:nvPr>
        </p:nvSpPr>
        <p:spPr bwMode="auto">
          <a:xfrm>
            <a:off x="1162050"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71D4B-B3B8-4496-A938-6FFCEAEB5BE8}" type="datetime'''''''''''''2''''''''0''''''''''''''00'''''''">
              <a:rPr lang="ja-JP" altLang="en-US" sz="1000" smtClean="0"/>
              <a:pPr/>
              <a:t>2000</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38506A75-5071-D957-7D51-AD3CBB91BC65}"/>
              </a:ext>
            </a:extLst>
          </p:cNvPr>
          <p:cNvSpPr>
            <a:spLocks/>
          </p:cNvSpPr>
          <p:nvPr>
            <p:custDataLst>
              <p:tags r:id="rId105"/>
            </p:custDataLst>
          </p:nvPr>
        </p:nvSpPr>
        <p:spPr bwMode="gray">
          <a:xfrm>
            <a:off x="1560512"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1C9CA5-39C6-4DF2-9935-4401EE340E37}" type="datetime'''0''''''''''''''.''''''''''''''''5'''''''''''''''''''''''''">
              <a:rPr lang="ja-JP" altLang="en-US" sz="1000" smtClean="0">
                <a:effectLst/>
              </a:rPr>
              <a:pPr/>
              <a:t>0.5</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AEA556D0-FFC7-6DF4-574A-857989D2D25A}"/>
              </a:ext>
            </a:extLst>
          </p:cNvPr>
          <p:cNvSpPr>
            <a:spLocks/>
          </p:cNvSpPr>
          <p:nvPr>
            <p:custDataLst>
              <p:tags r:id="rId106"/>
            </p:custDataLst>
          </p:nvPr>
        </p:nvSpPr>
        <p:spPr bwMode="gray">
          <a:xfrm>
            <a:off x="1463674" y="58118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6F867-3C70-4900-9C5E-F12D8FE9BA55}" type="datetime'''''''''0''''''''''''''''''''''.''''''2'''''''''''''">
              <a:rPr lang="ja-JP" altLang="en-US" sz="1000" smtClean="0">
                <a:effectLst/>
              </a:rPr>
              <a:pPr/>
              <a:t>0.2</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D9DD8680-3252-5093-D7E4-4847A4A3DA5B}"/>
              </a:ext>
            </a:extLst>
          </p:cNvPr>
          <p:cNvSpPr>
            <a:spLocks/>
          </p:cNvSpPr>
          <p:nvPr>
            <p:custDataLst>
              <p:tags r:id="rId107"/>
            </p:custDataLst>
          </p:nvPr>
        </p:nvSpPr>
        <p:spPr bwMode="auto">
          <a:xfrm>
            <a:off x="1539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E35A8-705C-44CF-864D-E00E4D359346}" type="datetime'''''''''''''''''''''0''''''''''''''''''''''1'''">
              <a:rPr lang="ja-JP" altLang="en-US" sz="1000" smtClean="0"/>
              <a:pPr/>
              <a:t>01</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B26A457B-4081-E95B-1DD7-F51040E5B31C}"/>
              </a:ext>
            </a:extLst>
          </p:cNvPr>
          <p:cNvSpPr>
            <a:spLocks/>
          </p:cNvSpPr>
          <p:nvPr>
            <p:custDataLst>
              <p:tags r:id="rId108"/>
            </p:custDataLst>
          </p:nvPr>
        </p:nvSpPr>
        <p:spPr bwMode="gray">
          <a:xfrm>
            <a:off x="1870074" y="568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26FFAA-9C42-4EEA-95F1-C6298C19BBE1}" type="datetime'''''''''''0''''''.5'''''''''''''''''''''''''''''''''">
              <a:rPr lang="ja-JP" altLang="en-US" sz="1000" smtClean="0"/>
              <a:pPr/>
              <a:t>0.5</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AA367E6D-8D8A-CDEE-A642-C1C232395E21}"/>
              </a:ext>
            </a:extLst>
          </p:cNvPr>
          <p:cNvSpPr>
            <a:spLocks/>
          </p:cNvSpPr>
          <p:nvPr>
            <p:custDataLst>
              <p:tags r:id="rId109"/>
            </p:custDataLst>
          </p:nvPr>
        </p:nvSpPr>
        <p:spPr bwMode="gray">
          <a:xfrm>
            <a:off x="7680324" y="47863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FDF7EC-E890-4E6E-B300-6EE64271E1C0}" type="datetime'''''''''''1''''.''''''''''''''6'''''''''''''''''''''''''">
              <a:rPr lang="ja-JP" altLang="en-US" sz="1000" smtClean="0"/>
              <a:pPr/>
              <a:t>1.6</a:t>
            </a:fld>
            <a:endParaRPr kumimoji="1" lang="ja-JP" altLang="en-US" sz="1000" dirty="0">
              <a:sym typeface="+mn-lt"/>
            </a:endParaRPr>
          </a:p>
        </p:txBody>
      </p:sp>
      <p:cxnSp>
        <p:nvCxnSpPr>
          <p:cNvPr id="140" name="Straight Connector 139">
            <a:extLst>
              <a:ext uri="{FF2B5EF4-FFF2-40B4-BE49-F238E27FC236}">
                <a16:creationId xmlns:a16="http://schemas.microsoft.com/office/drawing/2014/main" id="{06368E45-580A-1E80-D38A-BCBB1887A637}"/>
              </a:ext>
            </a:extLst>
          </p:cNvPr>
          <p:cNvCxnSpPr/>
          <p:nvPr>
            <p:custDataLst>
              <p:tags r:id="rId110"/>
            </p:custDataLst>
          </p:nvPr>
        </p:nvCxnSpPr>
        <p:spPr bwMode="gray">
          <a:xfrm>
            <a:off x="8170863" y="3055938"/>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 name="Oval 140">
            <a:extLst>
              <a:ext uri="{FF2B5EF4-FFF2-40B4-BE49-F238E27FC236}">
                <a16:creationId xmlns:a16="http://schemas.microsoft.com/office/drawing/2014/main" id="{849D1C60-9C03-9294-9352-0BA1D07B348D}"/>
              </a:ext>
            </a:extLst>
          </p:cNvPr>
          <p:cNvSpPr/>
          <p:nvPr>
            <p:custDataLst>
              <p:tags r:id="rId111"/>
            </p:custDataLst>
          </p:nvPr>
        </p:nvSpPr>
        <p:spPr bwMode="gray">
          <a:xfrm>
            <a:off x="8242300" y="3024188"/>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テキスト プレースホルダ 9">
            <a:extLst>
              <a:ext uri="{FF2B5EF4-FFF2-40B4-BE49-F238E27FC236}">
                <a16:creationId xmlns:a16="http://schemas.microsoft.com/office/drawing/2014/main" id="{022422BE-D642-CE72-FE4F-46BDDCFF8450}"/>
              </a:ext>
            </a:extLst>
          </p:cNvPr>
          <p:cNvSpPr>
            <a:spLocks/>
          </p:cNvSpPr>
          <p:nvPr>
            <p:custDataLst>
              <p:tags r:id="rId112"/>
            </p:custDataLst>
          </p:nvPr>
        </p:nvSpPr>
        <p:spPr bwMode="auto">
          <a:xfrm>
            <a:off x="8432800" y="29987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9FE4A0-658D-48E2-9808-025C45C32054}"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143" name="Rectangle 142">
            <a:extLst>
              <a:ext uri="{FF2B5EF4-FFF2-40B4-BE49-F238E27FC236}">
                <a16:creationId xmlns:a16="http://schemas.microsoft.com/office/drawing/2014/main" id="{2207C722-10C2-C24C-1DA8-E8BBEFF12CE0}"/>
              </a:ext>
            </a:extLst>
          </p:cNvPr>
          <p:cNvSpPr/>
          <p:nvPr>
            <p:custDataLst>
              <p:tags r:id="rId113"/>
            </p:custDataLst>
          </p:nvPr>
        </p:nvSpPr>
        <p:spPr bwMode="gray">
          <a:xfrm>
            <a:off x="8124825" y="2487613"/>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Rectangle 143">
            <a:extLst>
              <a:ext uri="{FF2B5EF4-FFF2-40B4-BE49-F238E27FC236}">
                <a16:creationId xmlns:a16="http://schemas.microsoft.com/office/drawing/2014/main" id="{295FCAEC-1087-4D98-93F9-94F5C99B90D9}"/>
              </a:ext>
            </a:extLst>
          </p:cNvPr>
          <p:cNvSpPr/>
          <p:nvPr>
            <p:custDataLst>
              <p:tags r:id="rId114"/>
            </p:custDataLst>
          </p:nvPr>
        </p:nvSpPr>
        <p:spPr bwMode="gray">
          <a:xfrm>
            <a:off x="8124825" y="2674938"/>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テキスト プレースホルダ 9">
            <a:extLst>
              <a:ext uri="{FF2B5EF4-FFF2-40B4-BE49-F238E27FC236}">
                <a16:creationId xmlns:a16="http://schemas.microsoft.com/office/drawing/2014/main" id="{58FC266A-2DA3-4411-42B6-3D94970BD10B}"/>
              </a:ext>
            </a:extLst>
          </p:cNvPr>
          <p:cNvSpPr>
            <a:spLocks/>
          </p:cNvSpPr>
          <p:nvPr>
            <p:custDataLst>
              <p:tags r:id="rId115"/>
            </p:custDataLst>
          </p:nvPr>
        </p:nvSpPr>
        <p:spPr bwMode="auto">
          <a:xfrm>
            <a:off x="8335963" y="24844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753E11-8D14-40D5-95D0-5ABD14A00B6C}" type="datetime'''''政''''''''''''府''''''以外''''''の''医''''''療''費''''''''''''支出'">
              <a:rPr lang="ja-JP" altLang="en-US" sz="900" smtClean="0"/>
              <a:pPr/>
              <a:t>政府以外の医療費支出</a:t>
            </a:fld>
            <a:endParaRPr kumimoji="0" lang="ja-JP" altLang="en-US" sz="900" dirty="0">
              <a:sym typeface="+mn-lt"/>
            </a:endParaRPr>
          </a:p>
        </p:txBody>
      </p:sp>
      <p:sp>
        <p:nvSpPr>
          <p:cNvPr id="146" name="テキスト プレースホルダ 9">
            <a:extLst>
              <a:ext uri="{FF2B5EF4-FFF2-40B4-BE49-F238E27FC236}">
                <a16:creationId xmlns:a16="http://schemas.microsoft.com/office/drawing/2014/main" id="{74FDFEDD-4348-5B4A-2C1F-98400495AA76}"/>
              </a:ext>
            </a:extLst>
          </p:cNvPr>
          <p:cNvSpPr>
            <a:spLocks/>
          </p:cNvSpPr>
          <p:nvPr>
            <p:custDataLst>
              <p:tags r:id="rId116"/>
            </p:custDataLst>
          </p:nvPr>
        </p:nvSpPr>
        <p:spPr bwMode="auto">
          <a:xfrm>
            <a:off x="8335963" y="26717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2F0127-1535-4AB7-A214-F894AFA32F91}" type="datetime'''''政''''''''''''''''''''''''''府の''''''''医''療費''''''支''出'''''">
              <a:rPr lang="ja-JP" altLang="en-US" sz="900" smtClean="0"/>
              <a:pPr/>
              <a:t>政府の医療費支出</a:t>
            </a:fld>
            <a:endParaRPr kumimoji="0" lang="ja-JP" altLang="en-US" sz="900" dirty="0">
              <a:sym typeface="+mn-lt"/>
            </a:endParaRPr>
          </a:p>
        </p:txBody>
      </p:sp>
      <p:graphicFrame>
        <p:nvGraphicFramePr>
          <p:cNvPr id="402" name="Chart 401">
            <a:extLst>
              <a:ext uri="{FF2B5EF4-FFF2-40B4-BE49-F238E27FC236}">
                <a16:creationId xmlns:a16="http://schemas.microsoft.com/office/drawing/2014/main" id="{60280708-74AF-C402-EF5B-896A948EF2E9}"/>
              </a:ext>
            </a:extLst>
          </p:cNvPr>
          <p:cNvGraphicFramePr/>
          <p:nvPr>
            <p:custDataLst>
              <p:tags r:id="rId117"/>
            </p:custDataLst>
            <p:extLst>
              <p:ext uri="{D42A27DB-BD31-4B8C-83A1-F6EECF244321}">
                <p14:modId xmlns:p14="http://schemas.microsoft.com/office/powerpoint/2010/main" val="1279406472"/>
              </p:ext>
            </p:extLst>
          </p:nvPr>
        </p:nvGraphicFramePr>
        <p:xfrm>
          <a:off x="1165225" y="1635125"/>
          <a:ext cx="7148513" cy="1444625"/>
        </p:xfrm>
        <a:graphic>
          <a:graphicData uri="http://schemas.openxmlformats.org/drawingml/2006/chart">
            <c:chart xmlns:c="http://schemas.openxmlformats.org/drawingml/2006/chart" xmlns:r="http://schemas.openxmlformats.org/officeDocument/2006/relationships" r:id="rId226"/>
          </a:graphicData>
        </a:graphic>
      </p:graphicFrame>
      <p:graphicFrame>
        <p:nvGraphicFramePr>
          <p:cNvPr id="398" name="Chart 397">
            <a:extLst>
              <a:ext uri="{FF2B5EF4-FFF2-40B4-BE49-F238E27FC236}">
                <a16:creationId xmlns:a16="http://schemas.microsoft.com/office/drawing/2014/main" id="{C7415CA5-D019-1B82-4ED2-2CE7995AF2AC}"/>
              </a:ext>
            </a:extLst>
          </p:cNvPr>
          <p:cNvGraphicFramePr/>
          <p:nvPr>
            <p:custDataLst>
              <p:tags r:id="rId118"/>
            </p:custDataLst>
            <p:extLst>
              <p:ext uri="{D42A27DB-BD31-4B8C-83A1-F6EECF244321}">
                <p14:modId xmlns:p14="http://schemas.microsoft.com/office/powerpoint/2010/main" val="112669792"/>
              </p:ext>
            </p:extLst>
          </p:nvPr>
        </p:nvGraphicFramePr>
        <p:xfrm>
          <a:off x="1071563" y="2254250"/>
          <a:ext cx="7089775" cy="1389063"/>
        </p:xfrm>
        <a:graphic>
          <a:graphicData uri="http://schemas.openxmlformats.org/drawingml/2006/chart">
            <c:chart xmlns:c="http://schemas.openxmlformats.org/drawingml/2006/chart" xmlns:r="http://schemas.openxmlformats.org/officeDocument/2006/relationships" r:id="rId227"/>
          </a:graphicData>
        </a:graphic>
      </p:graphicFrame>
      <p:sp>
        <p:nvSpPr>
          <p:cNvPr id="149" name="テキスト プレースホルダ 9">
            <a:extLst>
              <a:ext uri="{FF2B5EF4-FFF2-40B4-BE49-F238E27FC236}">
                <a16:creationId xmlns:a16="http://schemas.microsoft.com/office/drawing/2014/main" id="{40C6E8A0-CCC0-E440-3B61-212C6F6F72D2}"/>
              </a:ext>
            </a:extLst>
          </p:cNvPr>
          <p:cNvSpPr>
            <a:spLocks/>
          </p:cNvSpPr>
          <p:nvPr>
            <p:custDataLst>
              <p:tags r:id="rId119"/>
            </p:custDataLst>
          </p:nvPr>
        </p:nvSpPr>
        <p:spPr bwMode="gray">
          <a:xfrm>
            <a:off x="955675" y="3484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F3570D4-8DF8-44EE-B367-01FE26A2C4B0}" type="datetime'''''0'''''''''''''''''''''''''''''''''''''">
              <a:rPr lang="ja-JP" altLang="en-US" sz="1000" smtClean="0"/>
              <a:pPr/>
              <a:t>0</a:t>
            </a:fld>
            <a:endParaRPr lang="ja-JP" altLang="en-US" sz="1000" dirty="0">
              <a:sym typeface="+mn-lt"/>
            </a:endParaRPr>
          </a:p>
        </p:txBody>
      </p:sp>
      <p:sp>
        <p:nvSpPr>
          <p:cNvPr id="340" name="テキスト プレースホルダ 9">
            <a:extLst>
              <a:ext uri="{FF2B5EF4-FFF2-40B4-BE49-F238E27FC236}">
                <a16:creationId xmlns:a16="http://schemas.microsoft.com/office/drawing/2014/main" id="{5B8892E0-6C83-DC9A-97AA-E1CC231F0A11}"/>
              </a:ext>
            </a:extLst>
          </p:cNvPr>
          <p:cNvSpPr>
            <a:spLocks/>
          </p:cNvSpPr>
          <p:nvPr>
            <p:custDataLst>
              <p:tags r:id="rId120"/>
            </p:custDataLst>
          </p:nvPr>
        </p:nvSpPr>
        <p:spPr bwMode="gray">
          <a:xfrm>
            <a:off x="955675" y="32385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F8D966E-0129-4DCF-8CFF-FD48A71C18C4}"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11C21693-D25C-458E-E2DE-7A5E6F6BB3E7}"/>
              </a:ext>
            </a:extLst>
          </p:cNvPr>
          <p:cNvSpPr>
            <a:spLocks/>
          </p:cNvSpPr>
          <p:nvPr>
            <p:custDataLst>
              <p:tags r:id="rId121"/>
            </p:custDataLst>
          </p:nvPr>
        </p:nvSpPr>
        <p:spPr bwMode="gray">
          <a:xfrm>
            <a:off x="885825" y="2994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7814CC-65FD-4151-983D-7F21DF8E180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432C5A80-D7CE-6796-28B5-9D44916386D1}"/>
              </a:ext>
            </a:extLst>
          </p:cNvPr>
          <p:cNvSpPr>
            <a:spLocks/>
          </p:cNvSpPr>
          <p:nvPr>
            <p:custDataLst>
              <p:tags r:id="rId122"/>
            </p:custDataLst>
          </p:nvPr>
        </p:nvSpPr>
        <p:spPr bwMode="gray">
          <a:xfrm>
            <a:off x="885825" y="2749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17295D-3A19-49B9-A793-3189E5A4CE98}"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4A898CA7-5CB5-BFB5-30BD-902F4903070C}"/>
              </a:ext>
            </a:extLst>
          </p:cNvPr>
          <p:cNvSpPr>
            <a:spLocks/>
          </p:cNvSpPr>
          <p:nvPr>
            <p:custDataLst>
              <p:tags r:id="rId123"/>
            </p:custDataLst>
          </p:nvPr>
        </p:nvSpPr>
        <p:spPr bwMode="gray">
          <a:xfrm>
            <a:off x="885825" y="2505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9F8D4C-6468-4513-986B-0CFE7DE71085}"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B98A5A13-645F-0F16-EA1F-3DABC8DC01B0}"/>
              </a:ext>
            </a:extLst>
          </p:cNvPr>
          <p:cNvSpPr>
            <a:spLocks/>
          </p:cNvSpPr>
          <p:nvPr>
            <p:custDataLst>
              <p:tags r:id="rId124"/>
            </p:custDataLst>
          </p:nvPr>
        </p:nvSpPr>
        <p:spPr bwMode="gray">
          <a:xfrm>
            <a:off x="885825" y="226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E269FA-757A-4C57-A386-ADF5A3C524EF}"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56B42460-A6BD-8B83-BF95-ED5E651B5FF5}"/>
              </a:ext>
            </a:extLst>
          </p:cNvPr>
          <p:cNvSpPr>
            <a:spLocks/>
          </p:cNvSpPr>
          <p:nvPr>
            <p:custDataLst>
              <p:tags r:id="rId125"/>
            </p:custDataLst>
          </p:nvPr>
        </p:nvSpPr>
        <p:spPr bwMode="gray">
          <a:xfrm>
            <a:off x="1149350"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FE412-A3CF-4854-A16B-879B9ADF7946}" type="datetime'''''''''''''''2''.''''''''''''2'''">
              <a:rPr lang="ja-JP" altLang="en-US" sz="1000" smtClean="0">
                <a:effectLst/>
              </a:rPr>
              <a:pPr/>
              <a:t>2.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26765405-21AF-3C6C-F2D2-16F13BA972DF}"/>
              </a:ext>
            </a:extLst>
          </p:cNvPr>
          <p:cNvSpPr>
            <a:spLocks/>
          </p:cNvSpPr>
          <p:nvPr>
            <p:custDataLst>
              <p:tags r:id="rId126"/>
            </p:custDataLst>
          </p:nvPr>
        </p:nvSpPr>
        <p:spPr bwMode="auto">
          <a:xfrm>
            <a:off x="1152525" y="3640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192F8-7CC5-445D-BBAE-EBCB92C49B26}" type="datetime'''''2''''''''''''''''''0''''0''''''''''''0'''''''''''''''''">
              <a:rPr lang="ja-JP" altLang="en-US" sz="1000" smtClean="0"/>
              <a:pPr/>
              <a:t>2000</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083B2C91-4E80-BDD0-64D8-2174FEEAB604}"/>
              </a:ext>
            </a:extLst>
          </p:cNvPr>
          <p:cNvSpPr>
            <a:spLocks/>
          </p:cNvSpPr>
          <p:nvPr>
            <p:custDataLst>
              <p:tags r:id="rId127"/>
            </p:custDataLst>
          </p:nvPr>
        </p:nvSpPr>
        <p:spPr bwMode="gray">
          <a:xfrm>
            <a:off x="1528763" y="3306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12DE98-4A18-4162-9666-D4F4905CA605}" type="datetime'''''''''''''''''''4.''''''''''''''''''''''1'''''''''">
              <a:rPr lang="ja-JP" altLang="en-US" sz="1000" smtClean="0">
                <a:effectLst/>
              </a:rPr>
              <a:pPr/>
              <a:t>4.1</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50000B48-8CE6-B228-E724-41140D3388A7}"/>
              </a:ext>
            </a:extLst>
          </p:cNvPr>
          <p:cNvSpPr>
            <a:spLocks/>
          </p:cNvSpPr>
          <p:nvPr>
            <p:custDataLst>
              <p:tags r:id="rId128"/>
            </p:custDataLst>
          </p:nvPr>
        </p:nvSpPr>
        <p:spPr bwMode="gray">
          <a:xfrm>
            <a:off x="1438275" y="34448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6FAE1-DD9A-46FD-A99C-8343D201BD35}" type="datetime'''''''''1''''''.6'''''''''''''''''''''''''''''''">
              <a:rPr lang="ja-JP" altLang="en-US" sz="1000" smtClean="0">
                <a:effectLst/>
              </a:rPr>
              <a:pPr/>
              <a:t>1.6</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C2FAD47E-A8C1-7207-33FF-53DE2EC157F6}"/>
              </a:ext>
            </a:extLst>
          </p:cNvPr>
          <p:cNvSpPr>
            <a:spLocks/>
          </p:cNvSpPr>
          <p:nvPr>
            <p:custDataLst>
              <p:tags r:id="rId129"/>
            </p:custDataLst>
          </p:nvPr>
        </p:nvSpPr>
        <p:spPr bwMode="auto">
          <a:xfrm>
            <a:off x="15113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8F7A3-F672-498D-AE5D-0430224C8DAC}" type="datetime'''''''''''''''''0''''''''1'''''''''''''''''''''''''">
              <a:rPr lang="ja-JP" altLang="en-US" sz="1000" smtClean="0"/>
              <a:pPr/>
              <a:t>01</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082454A2-785F-BE10-D916-46F1B9E44363}"/>
              </a:ext>
            </a:extLst>
          </p:cNvPr>
          <p:cNvSpPr>
            <a:spLocks/>
          </p:cNvSpPr>
          <p:nvPr>
            <p:custDataLst>
              <p:tags r:id="rId130"/>
            </p:custDataLst>
          </p:nvPr>
        </p:nvSpPr>
        <p:spPr bwMode="gray">
          <a:xfrm>
            <a:off x="1770063"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265DD-6B03-4510-B2E5-181D629BDAC7}" type="datetime'''''''''4''''''''''''''.''3'''''''''''''''''''''''''">
              <a:rPr lang="ja-JP" altLang="en-US" sz="1000" smtClean="0">
                <a:effectLst/>
              </a:rPr>
              <a:pPr/>
              <a:t>4.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AFD5719C-03E4-635B-3C77-120F2484A897}"/>
              </a:ext>
            </a:extLst>
          </p:cNvPr>
          <p:cNvSpPr>
            <a:spLocks/>
          </p:cNvSpPr>
          <p:nvPr>
            <p:custDataLst>
              <p:tags r:id="rId131"/>
            </p:custDataLst>
          </p:nvPr>
        </p:nvSpPr>
        <p:spPr bwMode="gray">
          <a:xfrm>
            <a:off x="1770063" y="34353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D5CB9E-F252-49C0-8EE9-F375E1958505}" type="datetime'2''''''''''''''''''''''''''''.''0'''''''''''''''''''''">
              <a:rPr lang="ja-JP" altLang="en-US" sz="1000" smtClean="0">
                <a:effectLst/>
              </a:rPr>
              <a:pPr/>
              <a:t>2.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6CD8343E-9A2C-DA64-C510-2339B591A6AA}"/>
              </a:ext>
            </a:extLst>
          </p:cNvPr>
          <p:cNvSpPr>
            <a:spLocks/>
          </p:cNvSpPr>
          <p:nvPr>
            <p:custDataLst>
              <p:tags r:id="rId132"/>
            </p:custDataLst>
          </p:nvPr>
        </p:nvSpPr>
        <p:spPr bwMode="auto">
          <a:xfrm>
            <a:off x="17986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485D3-55BF-40B7-970E-DEEC2698DB5D}" type="datetime'''''''0''''''''''''''''2'''''''''''''''''''">
              <a:rPr lang="ja-JP" altLang="en-US" sz="1000" smtClean="0"/>
              <a:pPr/>
              <a:t>02</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F7DA92F9-B530-69EC-70F2-BD55B94D08F7}"/>
              </a:ext>
            </a:extLst>
          </p:cNvPr>
          <p:cNvSpPr>
            <a:spLocks/>
          </p:cNvSpPr>
          <p:nvPr>
            <p:custDataLst>
              <p:tags r:id="rId133"/>
            </p:custDataLst>
          </p:nvPr>
        </p:nvSpPr>
        <p:spPr bwMode="gray">
          <a:xfrm>
            <a:off x="2058988" y="32480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5E0AE8-733F-4156-BE44-6E1DFFFC0528}" type="datetime'''''''''''''''''''''''4''.''''''''''''''4'''">
              <a:rPr lang="ja-JP" altLang="en-US" sz="1000" smtClean="0">
                <a:effectLst/>
              </a:rPr>
              <a:pPr/>
              <a:t>4.4</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4D306A7C-9066-94AF-756D-F8B42D7349FE}"/>
              </a:ext>
            </a:extLst>
          </p:cNvPr>
          <p:cNvSpPr>
            <a:spLocks/>
          </p:cNvSpPr>
          <p:nvPr>
            <p:custDataLst>
              <p:tags r:id="rId134"/>
            </p:custDataLst>
          </p:nvPr>
        </p:nvSpPr>
        <p:spPr bwMode="gray">
          <a:xfrm>
            <a:off x="2058988" y="3419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BF927-C23B-4B22-A624-E375F43B7768}" type="datetime'''''''2''''''''''''''''''''.''''''6'''''''''''''''''''''''''">
              <a:rPr lang="ja-JP" altLang="en-US" sz="1000" smtClean="0">
                <a:effectLst/>
              </a:rPr>
              <a:pPr/>
              <a:t>2.6</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42B94E9B-5AC7-46F9-BC7B-7EDDEF2FB853}"/>
              </a:ext>
            </a:extLst>
          </p:cNvPr>
          <p:cNvSpPr>
            <a:spLocks/>
          </p:cNvSpPr>
          <p:nvPr>
            <p:custDataLst>
              <p:tags r:id="rId135"/>
            </p:custDataLst>
          </p:nvPr>
        </p:nvSpPr>
        <p:spPr bwMode="auto">
          <a:xfrm>
            <a:off x="20875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F40A0-6E35-43C5-BBBF-035CE77D7DC2}" type="datetime'''''''''''''''''''03'''''''''''''''''''''''''''''''''">
              <a:rPr lang="ja-JP" altLang="en-US" sz="1000" smtClean="0"/>
              <a:pPr/>
              <a:t>03</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292A55E-A69B-23DE-FCFE-DF2AC78172F8}"/>
              </a:ext>
            </a:extLst>
          </p:cNvPr>
          <p:cNvSpPr>
            <a:spLocks/>
          </p:cNvSpPr>
          <p:nvPr>
            <p:custDataLst>
              <p:tags r:id="rId136"/>
            </p:custDataLst>
          </p:nvPr>
        </p:nvSpPr>
        <p:spPr bwMode="gray">
          <a:xfrm>
            <a:off x="2347913" y="3263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7892C0-ACEA-41DF-88A3-FF4DA3C04E90}" type="datetime'''''''''''''''''''''''''4''.''''''''''''''6'''''">
              <a:rPr lang="ja-JP" altLang="en-US" sz="1000" smtClean="0">
                <a:effectLst/>
              </a:rPr>
              <a:pPr/>
              <a:t>4.6</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368FCECE-ED7A-BB95-0C3D-4BDB1D589C30}"/>
              </a:ext>
            </a:extLst>
          </p:cNvPr>
          <p:cNvSpPr>
            <a:spLocks/>
          </p:cNvSpPr>
          <p:nvPr>
            <p:custDataLst>
              <p:tags r:id="rId137"/>
            </p:custDataLst>
          </p:nvPr>
        </p:nvSpPr>
        <p:spPr bwMode="gray">
          <a:xfrm>
            <a:off x="2347913"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71C55-E217-48E3-8AEB-1C88EE7DE8F8}" type="datetime'''''''''''''''''''2''''''.''''''''''''''''''''2'''''''">
              <a:rPr lang="ja-JP" altLang="en-US" sz="1000" smtClean="0">
                <a:effectLst/>
              </a:rPr>
              <a:pPr/>
              <a:t>2.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3CE8F1C9-20DA-6231-890F-EC1099C9DBEA}"/>
              </a:ext>
            </a:extLst>
          </p:cNvPr>
          <p:cNvSpPr>
            <a:spLocks/>
          </p:cNvSpPr>
          <p:nvPr>
            <p:custDataLst>
              <p:tags r:id="rId138"/>
            </p:custDataLst>
          </p:nvPr>
        </p:nvSpPr>
        <p:spPr bwMode="auto">
          <a:xfrm>
            <a:off x="23764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0D91B-4CA9-422A-8914-28A7768179D7}" type="datetime'''''''''''''''''''''''''''''''''''''''0''''''''4'''''''''''''">
              <a:rPr lang="ja-JP" altLang="en-US" sz="1000" smtClean="0"/>
              <a:pPr/>
              <a:t>04</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3E5B80A8-F662-70D3-0960-1CF81FEBE4B8}"/>
              </a:ext>
            </a:extLst>
          </p:cNvPr>
          <p:cNvSpPr>
            <a:spLocks/>
          </p:cNvSpPr>
          <p:nvPr>
            <p:custDataLst>
              <p:tags r:id="rId139"/>
            </p:custDataLst>
          </p:nvPr>
        </p:nvSpPr>
        <p:spPr bwMode="gray">
          <a:xfrm>
            <a:off x="2636838" y="32559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B9AD1A-2347-4484-A0E7-D96A22EF1E75}" type="datetime'''4''''''''.7'''''''''''''''''''''''''''''''''''''''''''''''">
              <a:rPr lang="ja-JP" altLang="en-US" sz="1000" smtClean="0">
                <a:effectLst/>
              </a:rPr>
              <a:pPr/>
              <a:t>4.7</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B96CD64D-9C37-C86C-FA49-79E4FE0A6987}"/>
              </a:ext>
            </a:extLst>
          </p:cNvPr>
          <p:cNvSpPr>
            <a:spLocks/>
          </p:cNvSpPr>
          <p:nvPr>
            <p:custDataLst>
              <p:tags r:id="rId140"/>
            </p:custDataLst>
          </p:nvPr>
        </p:nvSpPr>
        <p:spPr bwMode="gray">
          <a:xfrm>
            <a:off x="2636838" y="3427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450EE3-B868-4253-9DBF-262EE5167FB1}" type="datetime'''''''''2''''''''''''''''''.''''''''''''''3'''">
              <a:rPr lang="ja-JP" altLang="en-US" sz="1000" smtClean="0">
                <a:effectLst/>
              </a:rPr>
              <a:pPr/>
              <a:t>2.3</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EE5C04F4-43B1-AA5D-D8D3-470B4C7CF207}"/>
              </a:ext>
            </a:extLst>
          </p:cNvPr>
          <p:cNvSpPr>
            <a:spLocks/>
          </p:cNvSpPr>
          <p:nvPr>
            <p:custDataLst>
              <p:tags r:id="rId141"/>
            </p:custDataLst>
          </p:nvPr>
        </p:nvSpPr>
        <p:spPr bwMode="auto">
          <a:xfrm>
            <a:off x="26654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3F53DD-CA31-472B-AED8-D1937C380676}" type="datetime'''''''''''''''''''0''''''''''''''''''''5'''''''''''''''''">
              <a:rPr lang="ja-JP" altLang="en-US" sz="1000" smtClean="0"/>
              <a:pPr/>
              <a:t>05</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7B8B13E3-48CC-62AD-0C41-557F1DC59B38}"/>
              </a:ext>
            </a:extLst>
          </p:cNvPr>
          <p:cNvSpPr>
            <a:spLocks/>
          </p:cNvSpPr>
          <p:nvPr>
            <p:custDataLst>
              <p:tags r:id="rId142"/>
            </p:custDataLst>
          </p:nvPr>
        </p:nvSpPr>
        <p:spPr bwMode="gray">
          <a:xfrm>
            <a:off x="2924175" y="3243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380442-7469-4B63-A855-34CB4319CD07}" type="datetime'''''''''''''''''''''''''4''''''''''''''''''''''''.''''''''9'">
              <a:rPr lang="ja-JP" altLang="en-US" sz="1000" smtClean="0">
                <a:effectLst/>
              </a:rPr>
              <a:pPr/>
              <a:t>4.9</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42D7A4C7-C788-703C-26F3-D665BA7EEB93}"/>
              </a:ext>
            </a:extLst>
          </p:cNvPr>
          <p:cNvSpPr>
            <a:spLocks/>
          </p:cNvSpPr>
          <p:nvPr>
            <p:custDataLst>
              <p:tags r:id="rId143"/>
            </p:custDataLst>
          </p:nvPr>
        </p:nvSpPr>
        <p:spPr bwMode="gray">
          <a:xfrm>
            <a:off x="2924175" y="34226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7CC47-A3B8-4D8E-8CAF-F9E8345744ED}" type="datetime'''''''''''''''''''''''''2''''''''''.''''''''''''''5'''''">
              <a:rPr lang="ja-JP" altLang="en-US" sz="1000" smtClean="0">
                <a:effectLst/>
              </a:rPr>
              <a:pPr/>
              <a:t>2.5</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666EB646-0933-0F0B-90B8-5B247698D123}"/>
              </a:ext>
            </a:extLst>
          </p:cNvPr>
          <p:cNvSpPr>
            <a:spLocks/>
          </p:cNvSpPr>
          <p:nvPr>
            <p:custDataLst>
              <p:tags r:id="rId144"/>
            </p:custDataLst>
          </p:nvPr>
        </p:nvSpPr>
        <p:spPr bwMode="auto">
          <a:xfrm>
            <a:off x="295275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D910DB-45EB-4BFA-8D86-3A80D7BCDBAC}" type="datetime'''''''''''''''''''''''''''''''''''''''''''''''0''''''''6'''''">
              <a:rPr lang="ja-JP" altLang="en-US" sz="1000" smtClean="0"/>
              <a:pPr/>
              <a:t>06</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03B03DDE-5C61-3CB8-524D-521A02475A5A}"/>
              </a:ext>
            </a:extLst>
          </p:cNvPr>
          <p:cNvSpPr>
            <a:spLocks/>
          </p:cNvSpPr>
          <p:nvPr>
            <p:custDataLst>
              <p:tags r:id="rId145"/>
            </p:custDataLst>
          </p:nvPr>
        </p:nvSpPr>
        <p:spPr bwMode="gray">
          <a:xfrm>
            <a:off x="3213100" y="322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126B4D-86E6-4DE9-83DB-E8E5093D076E}" type="datetime'''''''5.''''''''''''''''''2'''''''''''">
              <a:rPr lang="ja-JP" altLang="en-US" sz="1000" smtClean="0">
                <a:effectLst/>
              </a:rPr>
              <a:pPr/>
              <a:t>5.2</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BC9AF5CC-8786-1E23-46FD-27C0CA37E764}"/>
              </a:ext>
            </a:extLst>
          </p:cNvPr>
          <p:cNvSpPr>
            <a:spLocks/>
          </p:cNvSpPr>
          <p:nvPr>
            <p:custDataLst>
              <p:tags r:id="rId146"/>
            </p:custDataLst>
          </p:nvPr>
        </p:nvSpPr>
        <p:spPr bwMode="gray">
          <a:xfrm>
            <a:off x="3213100" y="3419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7D2973-A6C4-4776-B8CD-763BBD124DCC}" type="datetime'''2''''''''''.''''''''''''6'''''">
              <a:rPr lang="ja-JP" altLang="en-US" sz="1000" smtClean="0">
                <a:effectLst/>
              </a:rPr>
              <a:pPr/>
              <a:t>2.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C3F3FD50-BAE8-1AFE-6156-48C40E5D319E}"/>
              </a:ext>
            </a:extLst>
          </p:cNvPr>
          <p:cNvSpPr>
            <a:spLocks/>
          </p:cNvSpPr>
          <p:nvPr>
            <p:custDataLst>
              <p:tags r:id="rId147"/>
            </p:custDataLst>
          </p:nvPr>
        </p:nvSpPr>
        <p:spPr bwMode="auto">
          <a:xfrm>
            <a:off x="324167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0A441-AA9A-47FE-97AC-035F110D15EF}" type="datetime'0''''''''''''7'''''''''''''''''''''''''''''''''''''''''''">
              <a:rPr lang="ja-JP" altLang="en-US" sz="1000" smtClean="0"/>
              <a:pPr/>
              <a:t>0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454AA093-86B1-17B4-4A5F-212E6E57B304}"/>
              </a:ext>
            </a:extLst>
          </p:cNvPr>
          <p:cNvSpPr>
            <a:spLocks/>
          </p:cNvSpPr>
          <p:nvPr>
            <p:custDataLst>
              <p:tags r:id="rId148"/>
            </p:custDataLst>
          </p:nvPr>
        </p:nvSpPr>
        <p:spPr bwMode="gray">
          <a:xfrm>
            <a:off x="3502025" y="31845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52F7FB-B506-46FF-A3FD-F2C075EC5E97}" type="datetime'''''''''5''''''''''''''.''''''''''''''6'''''''''''''''''">
              <a:rPr lang="ja-JP" altLang="en-US" sz="1000" smtClean="0">
                <a:effectLst/>
              </a:rPr>
              <a:pPr/>
              <a:t>5.6</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267631AA-8F90-CFDE-9262-364293697BC0}"/>
              </a:ext>
            </a:extLst>
          </p:cNvPr>
          <p:cNvSpPr>
            <a:spLocks/>
          </p:cNvSpPr>
          <p:nvPr>
            <p:custDataLst>
              <p:tags r:id="rId149"/>
            </p:custDataLst>
          </p:nvPr>
        </p:nvSpPr>
        <p:spPr bwMode="gray">
          <a:xfrm>
            <a:off x="3502025" y="3402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A57C1-EA08-4F46-896A-25E108D886C6}" type="datetime'''''''3''''.3'''''''''''''''''''''''''''''''">
              <a:rPr lang="ja-JP" altLang="en-US" sz="1000" smtClean="0">
                <a:effectLst/>
              </a:rPr>
              <a:pPr/>
              <a:t>3.3</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D7338326-6535-2471-0146-27D22F61A7D4}"/>
              </a:ext>
            </a:extLst>
          </p:cNvPr>
          <p:cNvSpPr>
            <a:spLocks/>
          </p:cNvSpPr>
          <p:nvPr>
            <p:custDataLst>
              <p:tags r:id="rId150"/>
            </p:custDataLst>
          </p:nvPr>
        </p:nvSpPr>
        <p:spPr bwMode="auto">
          <a:xfrm>
            <a:off x="35306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90D66F-7CEF-4B53-9403-EBE5607DA4E0}" type="datetime'''''''''''''''''''''''''''''''''''''0''''''''''''''''''''''8'">
              <a:rPr lang="ja-JP" altLang="en-US" sz="1000" smtClean="0"/>
              <a:pPr/>
              <a:t>08</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33A3FB46-B97D-01EA-FDAB-67C6919CEEFE}"/>
              </a:ext>
            </a:extLst>
          </p:cNvPr>
          <p:cNvSpPr>
            <a:spLocks/>
          </p:cNvSpPr>
          <p:nvPr>
            <p:custDataLst>
              <p:tags r:id="rId151"/>
            </p:custDataLst>
          </p:nvPr>
        </p:nvSpPr>
        <p:spPr bwMode="gray">
          <a:xfrm>
            <a:off x="3790950" y="31718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A314B-F433-4938-BA55-4CE934308188}" type="datetime'''''6''''''''.''''''''''''''''2'''''''''''''''''''''''''">
              <a:rPr lang="ja-JP" altLang="en-US" sz="1000" smtClean="0">
                <a:effectLst/>
              </a:rPr>
              <a:pPr/>
              <a:t>6.2</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59B39D21-A412-A2A8-260F-EE44C6121428}"/>
              </a:ext>
            </a:extLst>
          </p:cNvPr>
          <p:cNvSpPr>
            <a:spLocks/>
          </p:cNvSpPr>
          <p:nvPr>
            <p:custDataLst>
              <p:tags r:id="rId152"/>
            </p:custDataLst>
          </p:nvPr>
        </p:nvSpPr>
        <p:spPr bwMode="gray">
          <a:xfrm>
            <a:off x="3790950" y="3403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72258-B527-481D-8E19-72992F761311}" type="datetime'''''''''3''.''''''''''''''''''''3'''''''''''''''''''''''">
              <a:rPr lang="ja-JP" altLang="en-US" sz="1000" smtClean="0">
                <a:effectLst/>
              </a:rPr>
              <a:pPr/>
              <a:t>3.3</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CAAF57E-6BCA-417A-1ED2-37B8FE3DED7D}"/>
              </a:ext>
            </a:extLst>
          </p:cNvPr>
          <p:cNvSpPr>
            <a:spLocks/>
          </p:cNvSpPr>
          <p:nvPr>
            <p:custDataLst>
              <p:tags r:id="rId153"/>
            </p:custDataLst>
          </p:nvPr>
        </p:nvSpPr>
        <p:spPr bwMode="auto">
          <a:xfrm>
            <a:off x="38195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9358A-E114-4D1F-A45F-D14E5AB3F080}" type="datetime'''''''''0''''''''''''''''''''''''''''''''''9'''''''''''">
              <a:rPr lang="ja-JP" altLang="en-US" sz="1000" smtClean="0"/>
              <a:pPr/>
              <a:t>09</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29977D3E-C3B6-CC12-51FD-B5A996C4502C}"/>
              </a:ext>
            </a:extLst>
          </p:cNvPr>
          <p:cNvSpPr>
            <a:spLocks/>
          </p:cNvSpPr>
          <p:nvPr>
            <p:custDataLst>
              <p:tags r:id="rId154"/>
            </p:custDataLst>
          </p:nvPr>
        </p:nvSpPr>
        <p:spPr bwMode="gray">
          <a:xfrm>
            <a:off x="4078288" y="314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54625-CCE5-4A16-8DC8-9E3320A38935}" type="datetime'''''6''''''''''''''''''''''''''''''.''''''''''''''''''''''5'''">
              <a:rPr lang="ja-JP" altLang="en-US" sz="1000" smtClean="0">
                <a:effectLst/>
              </a:rPr>
              <a:pPr/>
              <a:t>6.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318BD1DC-84CF-0368-03F4-FA3E333989FD}"/>
              </a:ext>
            </a:extLst>
          </p:cNvPr>
          <p:cNvSpPr>
            <a:spLocks/>
          </p:cNvSpPr>
          <p:nvPr>
            <p:custDataLst>
              <p:tags r:id="rId155"/>
            </p:custDataLst>
          </p:nvPr>
        </p:nvSpPr>
        <p:spPr bwMode="gray">
          <a:xfrm>
            <a:off x="4078288" y="3394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DE986-73AE-40CD-95A7-D0E3F692AFD8}" type="datetime'''''''''''''''3''''''''''.7'">
              <a:rPr lang="ja-JP" altLang="en-US" sz="1000" smtClean="0">
                <a:effectLst/>
              </a:rPr>
              <a:pPr/>
              <a:t>3.7</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C2E8942A-D57E-23D9-9062-BA9940A0193D}"/>
              </a:ext>
            </a:extLst>
          </p:cNvPr>
          <p:cNvSpPr>
            <a:spLocks/>
          </p:cNvSpPr>
          <p:nvPr>
            <p:custDataLst>
              <p:tags r:id="rId156"/>
            </p:custDataLst>
          </p:nvPr>
        </p:nvSpPr>
        <p:spPr bwMode="auto">
          <a:xfrm>
            <a:off x="41068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AD9DB-B9DE-4271-BECC-161A8B6B8CFC}" type="datetime'''1''''0'''''''''''''">
              <a:rPr lang="ja-JP" altLang="en-US" sz="1000" smtClean="0"/>
              <a:pPr/>
              <a:t>1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5A0140C5-886C-EE90-32C1-9B0554A6AAC0}"/>
              </a:ext>
            </a:extLst>
          </p:cNvPr>
          <p:cNvSpPr>
            <a:spLocks/>
          </p:cNvSpPr>
          <p:nvPr>
            <p:custDataLst>
              <p:tags r:id="rId157"/>
            </p:custDataLst>
          </p:nvPr>
        </p:nvSpPr>
        <p:spPr bwMode="gray">
          <a:xfrm>
            <a:off x="4367213" y="31242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5B0EE-5DAD-4190-AC69-852725ED46D7}" type="datetime'6''''''''''''''.''''''''''7'''''''''">
              <a:rPr lang="ja-JP" altLang="en-US" sz="1000" smtClean="0">
                <a:effectLst/>
              </a:rPr>
              <a:pPr/>
              <a:t>6.7</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D010D794-B9B1-4572-4D06-B65E019D1393}"/>
              </a:ext>
            </a:extLst>
          </p:cNvPr>
          <p:cNvSpPr>
            <a:spLocks/>
          </p:cNvSpPr>
          <p:nvPr>
            <p:custDataLst>
              <p:tags r:id="rId158"/>
            </p:custDataLst>
          </p:nvPr>
        </p:nvSpPr>
        <p:spPr bwMode="gray">
          <a:xfrm>
            <a:off x="4367213" y="3386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A090FB-B99D-416A-95BF-8E2A2CE2340B}" type="datetime'''''''4''''''''''''''''''''''.''''''''''0'''''''''''''''''''">
              <a:rPr lang="ja-JP" altLang="en-US" sz="1000" smtClean="0">
                <a:effectLst/>
              </a:rPr>
              <a:pPr/>
              <a:t>4.0</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D11D5683-98B2-DD46-BD59-C9A517C06F66}"/>
              </a:ext>
            </a:extLst>
          </p:cNvPr>
          <p:cNvSpPr>
            <a:spLocks/>
          </p:cNvSpPr>
          <p:nvPr>
            <p:custDataLst>
              <p:tags r:id="rId159"/>
            </p:custDataLst>
          </p:nvPr>
        </p:nvSpPr>
        <p:spPr bwMode="auto">
          <a:xfrm>
            <a:off x="43957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76D3-65A2-45D0-8CBA-B1DD7E8E3B1C}" type="datetime'11'''''''''''''''''''''''''''''">
              <a:rPr lang="ja-JP" altLang="en-US" sz="1000" smtClean="0"/>
              <a:pPr/>
              <a:t>11</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EA4055E0-7994-0050-0376-395AF5E659A1}"/>
              </a:ext>
            </a:extLst>
          </p:cNvPr>
          <p:cNvSpPr>
            <a:spLocks/>
          </p:cNvSpPr>
          <p:nvPr>
            <p:custDataLst>
              <p:tags r:id="rId160"/>
            </p:custDataLst>
          </p:nvPr>
        </p:nvSpPr>
        <p:spPr bwMode="gray">
          <a:xfrm>
            <a:off x="4656138" y="3081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EFD12-702A-46B7-B162-6E18023587A9}" type="datetime'''''7''''''''''''''''''''''''''''''''''.''''''1'''''''''''''''">
              <a:rPr lang="ja-JP" altLang="en-US" sz="1000" smtClean="0">
                <a:effectLst/>
              </a:rPr>
              <a:pPr/>
              <a:t>7.1</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65358A44-98D6-96E4-C718-D788FBDB3364}"/>
              </a:ext>
            </a:extLst>
          </p:cNvPr>
          <p:cNvSpPr>
            <a:spLocks/>
          </p:cNvSpPr>
          <p:nvPr>
            <p:custDataLst>
              <p:tags r:id="rId161"/>
            </p:custDataLst>
          </p:nvPr>
        </p:nvSpPr>
        <p:spPr bwMode="gray">
          <a:xfrm>
            <a:off x="4656138" y="3370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0D6F5-EC6B-4ECC-89F9-09A21F703842}" type="datetime'''''''''''4''''''''''''''''''''''''''''''''''.''''''''6'''''">
              <a:rPr lang="ja-JP" altLang="en-US" sz="1000" smtClean="0">
                <a:effectLst/>
              </a:rPr>
              <a:pPr/>
              <a:t>4.6</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91CA8B43-7BB1-7401-B561-04C36FFAF5C2}"/>
              </a:ext>
            </a:extLst>
          </p:cNvPr>
          <p:cNvSpPr>
            <a:spLocks/>
          </p:cNvSpPr>
          <p:nvPr>
            <p:custDataLst>
              <p:tags r:id="rId162"/>
            </p:custDataLst>
          </p:nvPr>
        </p:nvSpPr>
        <p:spPr bwMode="auto">
          <a:xfrm>
            <a:off x="46847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0AF5DF-0524-4911-82FA-7AB63057115B}" type="datetime'''''''''''''''''''''''''1''2'''''''''''''''''''''''''''">
              <a:rPr lang="ja-JP" altLang="en-US" sz="1000" smtClean="0"/>
              <a:pPr/>
              <a:t>12</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2BA05B6B-2D20-0F66-4C4C-E94C4B5F0A77}"/>
              </a:ext>
            </a:extLst>
          </p:cNvPr>
          <p:cNvSpPr>
            <a:spLocks/>
          </p:cNvSpPr>
          <p:nvPr>
            <p:custDataLst>
              <p:tags r:id="rId163"/>
            </p:custDataLst>
          </p:nvPr>
        </p:nvSpPr>
        <p:spPr bwMode="gray">
          <a:xfrm>
            <a:off x="4945063" y="3009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1E3D3E-B037-4036-92DC-261C26CBB5A6}" type="datetime'8''''''''''''''''''''''.0'''''''''''''''''''''''''''''''''''''">
              <a:rPr lang="ja-JP" altLang="en-US" sz="1000" smtClean="0">
                <a:effectLst/>
              </a:rPr>
              <a:pPr/>
              <a:t>8.0</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A9825927-5CD0-7F29-D80C-8058D519FE3B}"/>
              </a:ext>
            </a:extLst>
          </p:cNvPr>
          <p:cNvSpPr>
            <a:spLocks/>
          </p:cNvSpPr>
          <p:nvPr>
            <p:custDataLst>
              <p:tags r:id="rId164"/>
            </p:custDataLst>
          </p:nvPr>
        </p:nvSpPr>
        <p:spPr bwMode="gray">
          <a:xfrm>
            <a:off x="4945063" y="33448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519AC-B589-4613-B3EF-CC21221607AA}" type="datetime'5''.''''''''''''''''''''''''''7'''''''">
              <a:rPr lang="ja-JP" altLang="en-US" sz="1000" smtClean="0">
                <a:effectLst/>
              </a:rPr>
              <a:pPr/>
              <a:t>5.7</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09891C49-22CD-179A-D153-1D39806E029E}"/>
              </a:ext>
            </a:extLst>
          </p:cNvPr>
          <p:cNvSpPr>
            <a:spLocks/>
          </p:cNvSpPr>
          <p:nvPr>
            <p:custDataLst>
              <p:tags r:id="rId165"/>
            </p:custDataLst>
          </p:nvPr>
        </p:nvSpPr>
        <p:spPr bwMode="auto">
          <a:xfrm>
            <a:off x="49736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9127CF-E6F2-4367-80C5-B3A93DFA089F}" type="datetime'''''''''''1''''3'''''">
              <a:rPr lang="ja-JP" altLang="en-US" sz="1000" smtClean="0"/>
              <a:pPr/>
              <a:t>1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69AC2174-A12C-3DC9-BEBB-AE110E9DCBC8}"/>
              </a:ext>
            </a:extLst>
          </p:cNvPr>
          <p:cNvSpPr>
            <a:spLocks/>
          </p:cNvSpPr>
          <p:nvPr>
            <p:custDataLst>
              <p:tags r:id="rId166"/>
            </p:custDataLst>
          </p:nvPr>
        </p:nvSpPr>
        <p:spPr bwMode="gray">
          <a:xfrm>
            <a:off x="5232400" y="2952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C2813-1A72-453D-A6DE-6792951C2C3E}" type="datetime'''''8''''''.''''''''''2'''''''''''''''''''''''''''''''''''''">
              <a:rPr lang="ja-JP" altLang="en-US" sz="1000" smtClean="0">
                <a:effectLst/>
              </a:rPr>
              <a:pPr/>
              <a:t>8.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1419FDD6-81FC-8417-D4DB-A87506D6BD26}"/>
              </a:ext>
            </a:extLst>
          </p:cNvPr>
          <p:cNvSpPr>
            <a:spLocks/>
          </p:cNvSpPr>
          <p:nvPr>
            <p:custDataLst>
              <p:tags r:id="rId167"/>
            </p:custDataLst>
          </p:nvPr>
        </p:nvSpPr>
        <p:spPr bwMode="gray">
          <a:xfrm>
            <a:off x="5232400" y="33194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8AD4A9-1999-4680-9E78-5FD61272F79D}" type="datetime'''''''''6.''''''''''''''''''''''''''''''''''''''''''7'">
              <a:rPr lang="ja-JP" altLang="en-US" sz="1000" smtClean="0">
                <a:effectLst/>
              </a:rPr>
              <a:pPr/>
              <a:t>6.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524D28BC-C65D-AA37-DF06-E24BF4AB0FD6}"/>
              </a:ext>
            </a:extLst>
          </p:cNvPr>
          <p:cNvSpPr>
            <a:spLocks/>
          </p:cNvSpPr>
          <p:nvPr>
            <p:custDataLst>
              <p:tags r:id="rId168"/>
            </p:custDataLst>
          </p:nvPr>
        </p:nvSpPr>
        <p:spPr bwMode="auto">
          <a:xfrm>
            <a:off x="526097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49658-33FF-4ADD-AC5C-78327F994867}" type="datetime'''''''''''''''''''''''''''''''''''1''''''4'''''">
              <a:rPr lang="ja-JP" altLang="en-US" sz="1000" smtClean="0"/>
              <a:pPr/>
              <a:t>14</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E2449898-6690-226B-D0F9-C0DDBCCD6D67}"/>
              </a:ext>
            </a:extLst>
          </p:cNvPr>
          <p:cNvSpPr>
            <a:spLocks/>
          </p:cNvSpPr>
          <p:nvPr>
            <p:custDataLst>
              <p:tags r:id="rId169"/>
            </p:custDataLst>
          </p:nvPr>
        </p:nvSpPr>
        <p:spPr bwMode="gray">
          <a:xfrm>
            <a:off x="5521325" y="28844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F7989-A723-41A7-986E-4154E486D52D}" type="datetime'''''''8''''''''.''''''''''''''''''8'''''">
              <a:rPr lang="ja-JP" altLang="en-US" sz="1000" smtClean="0">
                <a:effectLst/>
              </a:rPr>
              <a:pPr/>
              <a:t>8.8</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9AFFAC9-76D1-7323-D4E6-41973B2E7B7E}"/>
              </a:ext>
            </a:extLst>
          </p:cNvPr>
          <p:cNvSpPr>
            <a:spLocks/>
          </p:cNvSpPr>
          <p:nvPr>
            <p:custDataLst>
              <p:tags r:id="rId170"/>
            </p:custDataLst>
          </p:nvPr>
        </p:nvSpPr>
        <p:spPr bwMode="gray">
          <a:xfrm>
            <a:off x="5521325" y="3292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537D84-2610-4CEF-ACDD-0534A36FC342}" type="datetime'''''''''''''''''''''7''''''''''''''''''.''''''''''''''8'''''''">
              <a:rPr lang="ja-JP" altLang="en-US" sz="1000" smtClean="0">
                <a:effectLst/>
              </a:rPr>
              <a:pPr/>
              <a:t>7.8</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E74AE995-4D3E-7A57-A22A-2713590CC71B}"/>
              </a:ext>
            </a:extLst>
          </p:cNvPr>
          <p:cNvSpPr>
            <a:spLocks/>
          </p:cNvSpPr>
          <p:nvPr>
            <p:custDataLst>
              <p:tags r:id="rId171"/>
            </p:custDataLst>
          </p:nvPr>
        </p:nvSpPr>
        <p:spPr bwMode="auto">
          <a:xfrm>
            <a:off x="55499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70F99B-433A-4096-A467-DF5A1D13461D}" type="datetime'''''''''''''1''''''''''''''''''''''''''5'''''''''''">
              <a:rPr lang="ja-JP" altLang="en-US" sz="1000" smtClean="0"/>
              <a:pPr/>
              <a:t>15</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1856EBA5-4A44-C838-D7F8-A904CDED1A67}"/>
              </a:ext>
            </a:extLst>
          </p:cNvPr>
          <p:cNvSpPr>
            <a:spLocks/>
          </p:cNvSpPr>
          <p:nvPr>
            <p:custDataLst>
              <p:tags r:id="rId172"/>
            </p:custDataLst>
          </p:nvPr>
        </p:nvSpPr>
        <p:spPr bwMode="gray">
          <a:xfrm>
            <a:off x="5810250" y="2832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4ACFC8-CBAB-47E0-B216-55BAF271A4EB}" type="datetime'''''''''''''''''9''''''''''''''''''''.''''''''''''''5'''''">
              <a:rPr lang="ja-JP" altLang="en-US" sz="1000" smtClean="0">
                <a:effectLst/>
              </a:rPr>
              <a:pPr/>
              <a:t>9.5</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52024D52-E27C-D567-190B-061A676B5E6F}"/>
              </a:ext>
            </a:extLst>
          </p:cNvPr>
          <p:cNvSpPr>
            <a:spLocks/>
          </p:cNvSpPr>
          <p:nvPr>
            <p:custDataLst>
              <p:tags r:id="rId173"/>
            </p:custDataLst>
          </p:nvPr>
        </p:nvSpPr>
        <p:spPr bwMode="gray">
          <a:xfrm>
            <a:off x="5810250" y="3275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36D2B5-81F2-40CB-B36E-F25CB3FC5A99}" type="datetime'''''''''''''''''''''''''''''''''''''''8''.''6'''''''">
              <a:rPr lang="ja-JP" altLang="en-US" sz="1000" smtClean="0">
                <a:effectLst/>
              </a:rPr>
              <a:pPr/>
              <a:t>8.6</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AAAC7AF7-730A-0532-40CF-ACC30C1ABB00}"/>
              </a:ext>
            </a:extLst>
          </p:cNvPr>
          <p:cNvSpPr>
            <a:spLocks/>
          </p:cNvSpPr>
          <p:nvPr>
            <p:custDataLst>
              <p:tags r:id="rId174"/>
            </p:custDataLst>
          </p:nvPr>
        </p:nvSpPr>
        <p:spPr bwMode="auto">
          <a:xfrm>
            <a:off x="58388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49CA8D-A0CF-4C86-8B73-8805B1A05442}" type="datetime'''''''1''''''''''6'''''''''''''''''">
              <a:rPr lang="ja-JP" altLang="en-US" sz="1000" smtClean="0"/>
              <a:pPr/>
              <a:t>16</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49D788A7-E3C4-760C-7920-8FCEAA6FA8EC}"/>
              </a:ext>
            </a:extLst>
          </p:cNvPr>
          <p:cNvSpPr>
            <a:spLocks/>
          </p:cNvSpPr>
          <p:nvPr>
            <p:custDataLst>
              <p:tags r:id="rId175"/>
            </p:custDataLst>
          </p:nvPr>
        </p:nvSpPr>
        <p:spPr bwMode="gray">
          <a:xfrm>
            <a:off x="6099174" y="28003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A9212-C0E5-40AF-893E-F6A9DEC47767}" type="datetime'9''''''''''''''''''.''''''''''''''''''''''''''''''''''''7'''">
              <a:rPr lang="ja-JP" altLang="en-US" sz="1000" smtClean="0">
                <a:effectLst/>
              </a:rPr>
              <a:pPr/>
              <a:t>9.7</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4D20883E-F093-1C2F-1D59-4B63360CD0AD}"/>
              </a:ext>
            </a:extLst>
          </p:cNvPr>
          <p:cNvSpPr>
            <a:spLocks/>
          </p:cNvSpPr>
          <p:nvPr>
            <p:custDataLst>
              <p:tags r:id="rId176"/>
            </p:custDataLst>
          </p:nvPr>
        </p:nvSpPr>
        <p:spPr bwMode="gray">
          <a:xfrm>
            <a:off x="6099174" y="32607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27662E-5E25-4FC5-8C84-552CF0EDAE37}" type="datetime'''''''''''''''''9''''.''''''1'''''''''''''''''''''''">
              <a:rPr lang="ja-JP" altLang="en-US" sz="1000" smtClean="0">
                <a:effectLst/>
              </a:rPr>
              <a:pPr/>
              <a:t>9.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A5DC89B-182C-5250-A92E-7CA6D9D05B9B}"/>
              </a:ext>
            </a:extLst>
          </p:cNvPr>
          <p:cNvSpPr>
            <a:spLocks/>
          </p:cNvSpPr>
          <p:nvPr>
            <p:custDataLst>
              <p:tags r:id="rId177"/>
            </p:custDataLst>
          </p:nvPr>
        </p:nvSpPr>
        <p:spPr bwMode="auto">
          <a:xfrm>
            <a:off x="612775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B0D1BD-3406-43AD-831F-ACB7774BC1E2}" type="datetime'1''''7'''''''''''''''''''''''''''''''''''''''''">
              <a:rPr lang="ja-JP" altLang="en-US" sz="1000" smtClean="0"/>
              <a:pPr/>
              <a:t>17</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B15AFBBF-02DB-E7E1-3459-5C30EE22DB4A}"/>
              </a:ext>
            </a:extLst>
          </p:cNvPr>
          <p:cNvSpPr>
            <a:spLocks/>
          </p:cNvSpPr>
          <p:nvPr>
            <p:custDataLst>
              <p:tags r:id="rId178"/>
            </p:custDataLst>
          </p:nvPr>
        </p:nvSpPr>
        <p:spPr bwMode="gray">
          <a:xfrm>
            <a:off x="6386512" y="2816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BB714F-EF41-4128-BF97-C1D98A29EA89}" type="datetime'''9''''''''''''''''''''''''''''''.''''1'">
              <a:rPr lang="ja-JP" altLang="en-US" sz="1000" smtClean="0">
                <a:effectLst/>
              </a:rPr>
              <a:pPr/>
              <a:t>9.1</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FA9A9611-5D40-D6CA-B7C3-36D1FF63AB4D}"/>
              </a:ext>
            </a:extLst>
          </p:cNvPr>
          <p:cNvSpPr>
            <a:spLocks/>
          </p:cNvSpPr>
          <p:nvPr>
            <p:custDataLst>
              <p:tags r:id="rId179"/>
            </p:custDataLst>
          </p:nvPr>
        </p:nvSpPr>
        <p:spPr bwMode="gray">
          <a:xfrm>
            <a:off x="6386512" y="32607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93F79-2DB0-4D02-89EB-FEE6958D47CF}" type="datetime'''''''''''''''''''''''''''''''''''''''''9.''''''''''1'''''''">
              <a:rPr lang="ja-JP" altLang="en-US" sz="1000" smtClean="0">
                <a:effectLst/>
              </a:rPr>
              <a:pPr/>
              <a:t>9.1</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6CA4D06F-E525-7029-880F-6A8C5C80B62D}"/>
              </a:ext>
            </a:extLst>
          </p:cNvPr>
          <p:cNvSpPr>
            <a:spLocks/>
          </p:cNvSpPr>
          <p:nvPr>
            <p:custDataLst>
              <p:tags r:id="rId180"/>
            </p:custDataLst>
          </p:nvPr>
        </p:nvSpPr>
        <p:spPr bwMode="auto">
          <a:xfrm>
            <a:off x="64150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2302A-6FFA-4DFA-848C-8D2C27B7073F}" type="datetime'1''''''''''''''''8'''">
              <a:rPr lang="ja-JP" altLang="en-US" sz="1000" smtClean="0"/>
              <a:pPr/>
              <a:t>1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544926B2-8A54-75E0-99C7-FC2906ABAEEF}"/>
              </a:ext>
            </a:extLst>
          </p:cNvPr>
          <p:cNvSpPr>
            <a:spLocks/>
          </p:cNvSpPr>
          <p:nvPr>
            <p:custDataLst>
              <p:tags r:id="rId181"/>
            </p:custDataLst>
          </p:nvPr>
        </p:nvSpPr>
        <p:spPr bwMode="gray">
          <a:xfrm>
            <a:off x="6675437" y="27432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431CF-79F6-46B4-AA78-C095E852A3FC}" type="datetime'''''''''''''''''''''''9''.''''''''6'''''">
              <a:rPr lang="ja-JP" altLang="en-US" sz="1000" smtClean="0">
                <a:effectLst/>
              </a:rPr>
              <a:pPr/>
              <a:t>9.6</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3BE3057E-16AC-B447-70BA-02C8029EBAD9}"/>
              </a:ext>
            </a:extLst>
          </p:cNvPr>
          <p:cNvSpPr>
            <a:spLocks/>
          </p:cNvSpPr>
          <p:nvPr>
            <p:custDataLst>
              <p:tags r:id="rId182"/>
            </p:custDataLst>
          </p:nvPr>
        </p:nvSpPr>
        <p:spPr bwMode="gray">
          <a:xfrm>
            <a:off x="6640513" y="3230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6AE19-CA2C-4499-856C-A942BC9A2D39}" type="datetime'''''''''''''''''1''0''''''''''''.3'''''''">
              <a:rPr lang="ja-JP" altLang="en-US" sz="1000" smtClean="0">
                <a:effectLst/>
              </a:rPr>
              <a:pPr/>
              <a:t>10.3</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FA74402-338C-4DF2-B3A5-2EE4524C623B}"/>
              </a:ext>
            </a:extLst>
          </p:cNvPr>
          <p:cNvSpPr>
            <a:spLocks/>
          </p:cNvSpPr>
          <p:nvPr>
            <p:custDataLst>
              <p:tags r:id="rId183"/>
            </p:custDataLst>
          </p:nvPr>
        </p:nvSpPr>
        <p:spPr bwMode="auto">
          <a:xfrm>
            <a:off x="67040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49D6F-D3B5-4A91-B573-71AD5A9BEBA7}" type="datetime'''1''''''''''''''''''''''''''9'''''''''''''''''''''''''''''''">
              <a:rPr lang="ja-JP" altLang="en-US" sz="1000" smtClean="0"/>
              <a:pPr/>
              <a:t>19</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D621FD63-6093-8422-01FB-0D2133DB95E4}"/>
              </a:ext>
            </a:extLst>
          </p:cNvPr>
          <p:cNvSpPr>
            <a:spLocks/>
          </p:cNvSpPr>
          <p:nvPr>
            <p:custDataLst>
              <p:tags r:id="rId184"/>
            </p:custDataLst>
          </p:nvPr>
        </p:nvSpPr>
        <p:spPr bwMode="gray">
          <a:xfrm>
            <a:off x="6964362" y="2514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D760E-4A83-47DD-9EEC-A791BBAD7ABE}" type="datetime'''''''9''''''.''''''''''''9'''''''''''''''''''''">
              <a:rPr lang="ja-JP" altLang="en-US" sz="1000" smtClean="0">
                <a:effectLst/>
              </a:rPr>
              <a:pPr/>
              <a:t>9.9</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440DC84A-16CE-C56D-4E36-2DCD21E0B8CD}"/>
              </a:ext>
            </a:extLst>
          </p:cNvPr>
          <p:cNvSpPr>
            <a:spLocks/>
          </p:cNvSpPr>
          <p:nvPr>
            <p:custDataLst>
              <p:tags r:id="rId185"/>
            </p:custDataLst>
          </p:nvPr>
        </p:nvSpPr>
        <p:spPr bwMode="gray">
          <a:xfrm>
            <a:off x="6929438" y="3121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A4209A-0FBB-4049-8D37-98440B052132}" type="datetime'''''''''''1''''''''''''4''''''''.''''''''''''8'''''''''">
              <a:rPr lang="ja-JP" altLang="en-US" sz="1000" smtClean="0">
                <a:effectLst/>
              </a:rPr>
              <a:pPr/>
              <a:t>14.8</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66FC6089-BF3F-5D17-DC68-97F52F0C0D83}"/>
              </a:ext>
            </a:extLst>
          </p:cNvPr>
          <p:cNvSpPr>
            <a:spLocks/>
          </p:cNvSpPr>
          <p:nvPr>
            <p:custDataLst>
              <p:tags r:id="rId186"/>
            </p:custDataLst>
          </p:nvPr>
        </p:nvSpPr>
        <p:spPr bwMode="auto">
          <a:xfrm>
            <a:off x="69929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78ECEC-FF8A-4730-BB2B-F17C79506E4F}" type="datetime'''''''''''''''''''''''''2''''''''0'''">
              <a:rPr lang="ja-JP" altLang="en-US" sz="1000" smtClean="0"/>
              <a:pPr/>
              <a:t>2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D0F04445-6077-D370-933E-38E536AD5810}"/>
              </a:ext>
            </a:extLst>
          </p:cNvPr>
          <p:cNvSpPr>
            <a:spLocks/>
          </p:cNvSpPr>
          <p:nvPr>
            <p:custDataLst>
              <p:tags r:id="rId187"/>
            </p:custDataLst>
          </p:nvPr>
        </p:nvSpPr>
        <p:spPr bwMode="gray">
          <a:xfrm>
            <a:off x="7253287" y="25177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A671D-73B6-4CCD-B7A8-1FBE29196960}" type="datetime'''''''''''''9''''''''''''''''''.''''''''6'''''">
              <a:rPr lang="ja-JP" altLang="en-US" sz="1000" smtClean="0">
                <a:effectLst/>
              </a:rPr>
              <a:pPr/>
              <a:t>9.6</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4C86D13F-8325-D9F6-5929-0060073CC57F}"/>
              </a:ext>
            </a:extLst>
          </p:cNvPr>
          <p:cNvSpPr>
            <a:spLocks/>
          </p:cNvSpPr>
          <p:nvPr>
            <p:custDataLst>
              <p:tags r:id="rId188"/>
            </p:custDataLst>
          </p:nvPr>
        </p:nvSpPr>
        <p:spPr bwMode="gray">
          <a:xfrm>
            <a:off x="7218363" y="3117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87381-2DDB-4070-8956-F74168EAA3EE}" type="datetime'1''''''''''4''''''''''''''''''.''''''''9'''''''''">
              <a:rPr lang="ja-JP" altLang="en-US" sz="1000" smtClean="0">
                <a:effectLst/>
              </a:rPr>
              <a:pPr/>
              <a:t>14.9</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297A6CCA-4520-46EA-47EC-E60DE3BABFA0}"/>
              </a:ext>
            </a:extLst>
          </p:cNvPr>
          <p:cNvSpPr>
            <a:spLocks/>
          </p:cNvSpPr>
          <p:nvPr>
            <p:custDataLst>
              <p:tags r:id="rId189"/>
            </p:custDataLst>
          </p:nvPr>
        </p:nvSpPr>
        <p:spPr bwMode="auto">
          <a:xfrm>
            <a:off x="72818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B674F1-D949-43F1-99B8-0A9D09BB0E2D}" type="datetime'''''''''''''''''''''''''''''''''''''''''2''''''''''''''''1'">
              <a:rPr lang="ja-JP" altLang="en-US" sz="1000" smtClean="0"/>
              <a:pPr/>
              <a:t>21</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122DC64F-2CBC-6DD2-E409-A4DC3F3F31E6}"/>
              </a:ext>
            </a:extLst>
          </p:cNvPr>
          <p:cNvSpPr>
            <a:spLocks/>
          </p:cNvSpPr>
          <p:nvPr>
            <p:custDataLst>
              <p:tags r:id="rId190"/>
            </p:custDataLst>
          </p:nvPr>
        </p:nvSpPr>
        <p:spPr bwMode="gray">
          <a:xfrm>
            <a:off x="7540624" y="2641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62979-7EB1-4421-B48E-0BCC48640AAE}" type="datetime'8.''''''''''''''''''''6'''">
              <a:rPr lang="ja-JP" altLang="en-US" sz="1000" smtClean="0">
                <a:effectLst/>
              </a:rPr>
              <a:pPr/>
              <a:t>8.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FD7A3A49-CBB3-F13C-E34B-D16F3E0E7EDB}"/>
              </a:ext>
            </a:extLst>
          </p:cNvPr>
          <p:cNvSpPr>
            <a:spLocks/>
          </p:cNvSpPr>
          <p:nvPr>
            <p:custDataLst>
              <p:tags r:id="rId191"/>
            </p:custDataLst>
          </p:nvPr>
        </p:nvSpPr>
        <p:spPr bwMode="gray">
          <a:xfrm>
            <a:off x="7505700" y="31670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CD8148-C21F-4B45-9C7E-D5562648F3BC}" type="datetime'''''''1''''''''''''''''2''.''''''''''9'''''">
              <a:rPr lang="ja-JP" altLang="en-US" sz="1000" smtClean="0">
                <a:effectLst/>
              </a:rPr>
              <a:pPr/>
              <a:t>12.9</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A4CAD6CA-C8C9-614D-640A-BA27DAF4AE2C}"/>
              </a:ext>
            </a:extLst>
          </p:cNvPr>
          <p:cNvSpPr>
            <a:spLocks/>
          </p:cNvSpPr>
          <p:nvPr>
            <p:custDataLst>
              <p:tags r:id="rId192"/>
            </p:custDataLst>
          </p:nvPr>
        </p:nvSpPr>
        <p:spPr bwMode="auto">
          <a:xfrm>
            <a:off x="75692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4F73A3-63C3-460E-A8A8-40E669978D33}" type="datetime'''''''''''''''''''''''''''2''''''''''''''''''''2'''''''''">
              <a:rPr lang="ja-JP" altLang="en-US" sz="1000" smtClean="0"/>
              <a:pPr/>
              <a:t>22</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CBBA8886-114D-CD39-2FDA-069A902B7A28}"/>
              </a:ext>
            </a:extLst>
          </p:cNvPr>
          <p:cNvSpPr>
            <a:spLocks/>
          </p:cNvSpPr>
          <p:nvPr>
            <p:custDataLst>
              <p:tags r:id="rId193"/>
            </p:custDataLst>
          </p:nvPr>
        </p:nvSpPr>
        <p:spPr bwMode="gray">
          <a:xfrm>
            <a:off x="7829549" y="26019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74220-5E35-4EA8-8977-C37F0D0D849A}" type="datetime'9''''''''''''''''''''''''''''''''''''.''''''''4'''''''''''''''">
              <a:rPr lang="ja-JP" altLang="en-US" sz="1000" smtClean="0">
                <a:effectLst/>
              </a:rPr>
              <a:pPr/>
              <a:t>9.4</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00B14F0D-1A8D-0A56-98D4-81EDA40F2A74}"/>
              </a:ext>
            </a:extLst>
          </p:cNvPr>
          <p:cNvSpPr>
            <a:spLocks/>
          </p:cNvSpPr>
          <p:nvPr>
            <p:custDataLst>
              <p:tags r:id="rId194"/>
            </p:custDataLst>
          </p:nvPr>
        </p:nvSpPr>
        <p:spPr bwMode="gray">
          <a:xfrm>
            <a:off x="7794625" y="3159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C0E32-7CE4-4F50-BC73-D80B44287CA3}" type="datetime'''1''''''''''''''''3''''''.''''''''''''3'''''''''">
              <a:rPr lang="ja-JP" altLang="en-US" sz="1000" smtClean="0">
                <a:effectLst/>
              </a:rPr>
              <a:pPr/>
              <a:t>13.3</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4329B786-D44E-4F7E-C0B8-2BEB7EA03E45}"/>
              </a:ext>
            </a:extLst>
          </p:cNvPr>
          <p:cNvSpPr>
            <a:spLocks/>
          </p:cNvSpPr>
          <p:nvPr>
            <p:custDataLst>
              <p:tags r:id="rId195"/>
            </p:custDataLst>
          </p:nvPr>
        </p:nvSpPr>
        <p:spPr bwMode="auto">
          <a:xfrm>
            <a:off x="78581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A37230-F3AD-4FE2-BCCA-D47B83636909}" type="datetime'2''''3'''''''''''''''''''''''''''''''''''''">
              <a:rPr lang="ja-JP" altLang="en-US" sz="1000" smtClean="0"/>
              <a:pPr/>
              <a:t>23</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6CE34A5B-09BF-CF99-5026-F190CF7078A2}"/>
              </a:ext>
            </a:extLst>
          </p:cNvPr>
          <p:cNvSpPr>
            <a:spLocks/>
          </p:cNvSpPr>
          <p:nvPr>
            <p:custDataLst>
              <p:tags r:id="rId196"/>
            </p:custDataLst>
          </p:nvPr>
        </p:nvSpPr>
        <p:spPr bwMode="gray">
          <a:xfrm>
            <a:off x="1239838"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3B7359-343C-4A35-B125-63E755151E83}" type="datetime'''''''''''3.''''''''''''''''''''''''''''''''''''9'''">
              <a:rPr lang="ja-JP" altLang="en-US" sz="1000" smtClean="0">
                <a:effectLst/>
              </a:rPr>
              <a:pPr/>
              <a:t>3.9</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EAA9E070-5645-5AEB-DCC4-BC8EA9B6285D}"/>
              </a:ext>
            </a:extLst>
          </p:cNvPr>
          <p:cNvSpPr>
            <a:spLocks/>
          </p:cNvSpPr>
          <p:nvPr>
            <p:custDataLst>
              <p:tags r:id="rId197"/>
            </p:custDataLst>
          </p:nvPr>
        </p:nvSpPr>
        <p:spPr bwMode="gray">
          <a:xfrm>
            <a:off x="1482724" y="3105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C8C59-AFBD-411C-96FB-9D0A4940FFB0}" type="datetime'''''''5''''.''''''7'''''''">
              <a:rPr lang="ja-JP" altLang="en-US" sz="1000" smtClean="0"/>
              <a:pPr/>
              <a:t>5.7</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CFB5F6AF-0596-8946-C20A-8D348786CB4F}"/>
              </a:ext>
            </a:extLst>
          </p:cNvPr>
          <p:cNvSpPr>
            <a:spLocks/>
          </p:cNvSpPr>
          <p:nvPr>
            <p:custDataLst>
              <p:tags r:id="rId198"/>
            </p:custDataLst>
          </p:nvPr>
        </p:nvSpPr>
        <p:spPr bwMode="gray">
          <a:xfrm>
            <a:off x="1770062" y="3074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A3806-070D-4C4F-999C-76A4D967E8C0}" type="datetime'''''''''''''''''6''''.''''''''''''3'''''''''''''">
              <a:rPr lang="ja-JP" altLang="en-US" sz="1000" smtClean="0"/>
              <a:pPr/>
              <a:t>6.3</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9C5D0E7-065F-FDAF-3AA1-354DEF4C2BFE}"/>
              </a:ext>
            </a:extLst>
          </p:cNvPr>
          <p:cNvSpPr>
            <a:spLocks/>
          </p:cNvSpPr>
          <p:nvPr>
            <p:custDataLst>
              <p:tags r:id="rId199"/>
            </p:custDataLst>
          </p:nvPr>
        </p:nvSpPr>
        <p:spPr bwMode="gray">
          <a:xfrm>
            <a:off x="2058987" y="3038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103A25-E82D-41ED-8934-E66A4DD24132}" type="datetime'''''''''7''''''''''.''''''0'''''''''''''''''''''''">
              <a:rPr lang="ja-JP" altLang="en-US" sz="1000" smtClean="0"/>
              <a:pPr/>
              <a:t>7.0</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15998B69-915E-E72D-DE3F-4A0E3E894981}"/>
              </a:ext>
            </a:extLst>
          </p:cNvPr>
          <p:cNvSpPr>
            <a:spLocks/>
          </p:cNvSpPr>
          <p:nvPr>
            <p:custDataLst>
              <p:tags r:id="rId200"/>
            </p:custDataLst>
          </p:nvPr>
        </p:nvSpPr>
        <p:spPr bwMode="gray">
          <a:xfrm>
            <a:off x="2347912" y="3051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EED7B-59B6-4841-91B8-6F69BFCEB97C}" type="datetime'''''''''''''6''''''''''''.''''''''8'''''''''''''''''''''''">
              <a:rPr lang="ja-JP" altLang="en-US" sz="1000" smtClean="0"/>
              <a:pPr/>
              <a:t>6.8</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3924C508-7FC3-FEA1-C2B4-4E0F046C0874}"/>
              </a:ext>
            </a:extLst>
          </p:cNvPr>
          <p:cNvSpPr>
            <a:spLocks/>
          </p:cNvSpPr>
          <p:nvPr>
            <p:custDataLst>
              <p:tags r:id="rId201"/>
            </p:custDataLst>
          </p:nvPr>
        </p:nvSpPr>
        <p:spPr bwMode="gray">
          <a:xfrm>
            <a:off x="2636837"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9E656-4AAD-4429-BB1D-CA3D13B39ACB}" type="datetime'''''''''''''''''''''''''7''''''''''''''''''.''''''''0'''''''''">
              <a:rPr lang="ja-JP" altLang="en-US" sz="1000" smtClean="0"/>
              <a:pPr/>
              <a:t>7.0</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23E0BA35-FC8C-F66C-AC3F-A8C7C812C799}"/>
              </a:ext>
            </a:extLst>
          </p:cNvPr>
          <p:cNvSpPr>
            <a:spLocks/>
          </p:cNvSpPr>
          <p:nvPr>
            <p:custDataLst>
              <p:tags r:id="rId202"/>
            </p:custDataLst>
          </p:nvPr>
        </p:nvSpPr>
        <p:spPr bwMode="gray">
          <a:xfrm>
            <a:off x="2924174" y="3022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81FA4-9238-44DF-8C85-9BFAF814D418}" type="datetime'''''''''''''''7''.''''''''''''''''''''4'''''''''''''''''''''''">
              <a:rPr lang="ja-JP" altLang="en-US" sz="1000" smtClean="0"/>
              <a:pPr/>
              <a:t>7.4</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65CD2ED0-9D76-DCE6-2554-B1E5FF379B00}"/>
              </a:ext>
            </a:extLst>
          </p:cNvPr>
          <p:cNvSpPr>
            <a:spLocks/>
          </p:cNvSpPr>
          <p:nvPr>
            <p:custDataLst>
              <p:tags r:id="rId203"/>
            </p:custDataLst>
          </p:nvPr>
        </p:nvSpPr>
        <p:spPr bwMode="gray">
          <a:xfrm>
            <a:off x="3213099" y="3001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59F74-4492-49E2-A5D1-383664FB2652}" type="datetime'''''''''''''''''''''7''''''.''''''''''''''''''8'''''''''''">
              <a:rPr lang="ja-JP" altLang="en-US" sz="1000" smtClean="0"/>
              <a:pPr/>
              <a:t>7.8</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1F81EC26-07F4-2AC6-3B62-D0E7467ACFF7}"/>
              </a:ext>
            </a:extLst>
          </p:cNvPr>
          <p:cNvSpPr>
            <a:spLocks/>
          </p:cNvSpPr>
          <p:nvPr>
            <p:custDataLst>
              <p:tags r:id="rId204"/>
            </p:custDataLst>
          </p:nvPr>
        </p:nvSpPr>
        <p:spPr bwMode="gray">
          <a:xfrm>
            <a:off x="3502024" y="294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CB1EED-4E84-48BB-8762-199EF52F4C3D}" type="datetime'''''''8''''''''''''''''''''''.9'''''''''''''''''''''">
              <a:rPr lang="ja-JP" altLang="en-US" sz="1000" smtClean="0"/>
              <a:pPr/>
              <a:t>8.9</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DE20B18B-A0A7-837A-8068-91F08862C158}"/>
              </a:ext>
            </a:extLst>
          </p:cNvPr>
          <p:cNvSpPr>
            <a:spLocks/>
          </p:cNvSpPr>
          <p:nvPr>
            <p:custDataLst>
              <p:tags r:id="rId205"/>
            </p:custDataLst>
          </p:nvPr>
        </p:nvSpPr>
        <p:spPr bwMode="gray">
          <a:xfrm>
            <a:off x="3790949" y="2919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ECBE4D-38D2-49CA-9942-3DE8E7847E74}" type="datetime'''''9''''''''''''''''''''''''''''.''''''''''''''''''''5'''''">
              <a:rPr lang="ja-JP" altLang="en-US" sz="1000" smtClean="0"/>
              <a:pPr/>
              <a:t>9.5</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697361B4-04F9-69CA-1B24-A82B2E8B62A7}"/>
              </a:ext>
            </a:extLst>
          </p:cNvPr>
          <p:cNvSpPr>
            <a:spLocks/>
          </p:cNvSpPr>
          <p:nvPr>
            <p:custDataLst>
              <p:tags r:id="rId206"/>
            </p:custDataLst>
          </p:nvPr>
        </p:nvSpPr>
        <p:spPr bwMode="gray">
          <a:xfrm>
            <a:off x="4043363" y="2881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23FB0D-3DC5-4E86-8975-2A9A9B03EFC7}" type="datetime'''1''''''''''0''''''''.''2'">
              <a:rPr lang="ja-JP" altLang="en-US" sz="1000" smtClean="0"/>
              <a:pPr/>
              <a:t>10.2</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AEA7368-52A5-8CB2-A931-A9368C5A388D}"/>
              </a:ext>
            </a:extLst>
          </p:cNvPr>
          <p:cNvSpPr>
            <a:spLocks/>
          </p:cNvSpPr>
          <p:nvPr>
            <p:custDataLst>
              <p:tags r:id="rId207"/>
            </p:custDataLst>
          </p:nvPr>
        </p:nvSpPr>
        <p:spPr bwMode="gray">
          <a:xfrm>
            <a:off x="4332288" y="2859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11DE0-E454-4C92-A2F0-5A6C2ED83581}" type="datetime'''''''''''1''''''''''''''0''''''.''''''''''''''''''''7'">
              <a:rPr lang="ja-JP" altLang="en-US" sz="1000" smtClean="0"/>
              <a:pPr/>
              <a:t>10.7</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8632C417-8FDB-4B01-9B4E-EB9325A5F109}"/>
              </a:ext>
            </a:extLst>
          </p:cNvPr>
          <p:cNvSpPr>
            <a:spLocks/>
          </p:cNvSpPr>
          <p:nvPr>
            <p:custDataLst>
              <p:tags r:id="rId208"/>
            </p:custDataLst>
          </p:nvPr>
        </p:nvSpPr>
        <p:spPr bwMode="gray">
          <a:xfrm>
            <a:off x="1193799" y="3086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E884B-3A51-43EA-B4F0-9C4722E821ED}" type="datetime'''''''''''''''''6''.''''''''''1'''''''''''''''''''''''">
              <a:rPr lang="ja-JP" altLang="en-US" sz="1000" smtClean="0"/>
              <a:pPr/>
              <a:t>6.1</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F15108BC-9673-4EEF-6CAC-14FAE805F363}"/>
              </a:ext>
            </a:extLst>
          </p:cNvPr>
          <p:cNvSpPr>
            <a:spLocks/>
          </p:cNvSpPr>
          <p:nvPr>
            <p:custDataLst>
              <p:tags r:id="rId209"/>
            </p:custDataLst>
          </p:nvPr>
        </p:nvSpPr>
        <p:spPr bwMode="gray">
          <a:xfrm>
            <a:off x="4910138" y="2713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755333-FA6C-4250-A76F-30431C7EBE20}" type="datetime'''''''''''''''''''''''1''''''3''''''''''''''.''7'''''''">
              <a:rPr lang="ja-JP" altLang="en-US" sz="1000" smtClean="0"/>
              <a:pPr/>
              <a:t>13.7</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0F35290A-84A3-0CAE-9CB8-5A077C688466}"/>
              </a:ext>
            </a:extLst>
          </p:cNvPr>
          <p:cNvSpPr>
            <a:spLocks/>
          </p:cNvSpPr>
          <p:nvPr>
            <p:custDataLst>
              <p:tags r:id="rId210"/>
            </p:custDataLst>
          </p:nvPr>
        </p:nvSpPr>
        <p:spPr bwMode="gray">
          <a:xfrm>
            <a:off x="5197475" y="2651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49137B-8D5B-46FC-B37E-3B608B1CCDA0}" type="datetime'''''''''''''''''''''''''1''''4.''''''''''''''''9'''''''''">
              <a:rPr lang="ja-JP" altLang="en-US" sz="1000" smtClean="0"/>
              <a:pPr/>
              <a:t>14.9</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CB0F04C2-94D4-2F0F-D33D-C0AA3BDC3CC7}"/>
              </a:ext>
            </a:extLst>
          </p:cNvPr>
          <p:cNvSpPr>
            <a:spLocks/>
          </p:cNvSpPr>
          <p:nvPr>
            <p:custDataLst>
              <p:tags r:id="rId211"/>
            </p:custDataLst>
          </p:nvPr>
        </p:nvSpPr>
        <p:spPr bwMode="gray">
          <a:xfrm>
            <a:off x="5486400" y="2568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8A6625-F3E5-4B9F-B44D-3E214A5F4BCB}" type="datetime'''''''''''''''''''''''''''1''''6.''''''''''6'''">
              <a:rPr lang="ja-JP" altLang="en-US" sz="1000" smtClean="0"/>
              <a:pPr/>
              <a:t>16.6</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C59F1238-A5E3-77F3-C141-228A1FEDC54C}"/>
              </a:ext>
            </a:extLst>
          </p:cNvPr>
          <p:cNvSpPr>
            <a:spLocks/>
          </p:cNvSpPr>
          <p:nvPr>
            <p:custDataLst>
              <p:tags r:id="rId212"/>
            </p:custDataLst>
          </p:nvPr>
        </p:nvSpPr>
        <p:spPr bwMode="gray">
          <a:xfrm>
            <a:off x="5775325" y="2497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13D8C-869E-4B8A-949D-1D6EF7D7C3EB}" type="datetime'''''''''''1''''8''''.''''''''''''1'">
              <a:rPr lang="ja-JP" altLang="en-US" sz="1000" smtClean="0"/>
              <a:pPr/>
              <a:t>18.1</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B18653DB-6C8D-1580-FE47-EF6DE1E1F2D7}"/>
              </a:ext>
            </a:extLst>
          </p:cNvPr>
          <p:cNvSpPr>
            <a:spLocks/>
          </p:cNvSpPr>
          <p:nvPr>
            <p:custDataLst>
              <p:tags r:id="rId213"/>
            </p:custDataLst>
          </p:nvPr>
        </p:nvSpPr>
        <p:spPr bwMode="gray">
          <a:xfrm>
            <a:off x="6064250" y="2462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90E8FA-CCB1-4A90-9FEE-9293C8BE3111}" type="datetime'''''''''''1''''''''''''''''''''''''''''''''''''''''8.''8'''">
              <a:rPr lang="ja-JP" altLang="en-US" sz="1000" smtClean="0"/>
              <a:pPr/>
              <a:t>18.8</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C94152FE-94A4-13B0-0FD1-CB6D5A700222}"/>
              </a:ext>
            </a:extLst>
          </p:cNvPr>
          <p:cNvSpPr>
            <a:spLocks/>
          </p:cNvSpPr>
          <p:nvPr>
            <p:custDataLst>
              <p:tags r:id="rId214"/>
            </p:custDataLst>
          </p:nvPr>
        </p:nvSpPr>
        <p:spPr bwMode="gray">
          <a:xfrm>
            <a:off x="6351588" y="2493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3FDA8-6932-4035-A544-5419EC28E585}" type="datetime'''''1''''''''''''''8''.2'''''''''''''''''''''''''''''">
              <a:rPr lang="ja-JP" altLang="en-US" sz="1000" smtClean="0"/>
              <a:pPr/>
              <a:t>18.2</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6BEA1CED-8A11-6646-7BBF-99A204CDDB3E}"/>
              </a:ext>
            </a:extLst>
          </p:cNvPr>
          <p:cNvSpPr>
            <a:spLocks/>
          </p:cNvSpPr>
          <p:nvPr>
            <p:custDataLst>
              <p:tags r:id="rId215"/>
            </p:custDataLst>
          </p:nvPr>
        </p:nvSpPr>
        <p:spPr bwMode="gray">
          <a:xfrm>
            <a:off x="6640513" y="2408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94AEC1-9583-4497-AF6D-3EE965FD108C}" type="datetime'1''9''''''''''''''''.''9'''''''''''''''''">
              <a:rPr lang="ja-JP" altLang="en-US" sz="1000" smtClean="0"/>
              <a:pPr/>
              <a:t>19.9</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9D2AF13C-CAD3-87FC-E05A-E2105AF9D681}"/>
              </a:ext>
            </a:extLst>
          </p:cNvPr>
          <p:cNvSpPr>
            <a:spLocks/>
          </p:cNvSpPr>
          <p:nvPr>
            <p:custDataLst>
              <p:tags r:id="rId216"/>
            </p:custDataLst>
          </p:nvPr>
        </p:nvSpPr>
        <p:spPr bwMode="gray">
          <a:xfrm>
            <a:off x="6929438" y="2170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F77238-2A66-46B2-87A5-5F5F4A27B5B4}" type="datetime'''''2''''4''''''''''''''''''''''''''''.''8'''''''''">
              <a:rPr lang="ja-JP" altLang="en-US" sz="1000" smtClean="0"/>
              <a:pPr/>
              <a:t>24.8</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F7BFF178-7235-86D5-F331-2CB500D43EBC}"/>
              </a:ext>
            </a:extLst>
          </p:cNvPr>
          <p:cNvSpPr>
            <a:spLocks/>
          </p:cNvSpPr>
          <p:nvPr>
            <p:custDataLst>
              <p:tags r:id="rId217"/>
            </p:custDataLst>
          </p:nvPr>
        </p:nvSpPr>
        <p:spPr bwMode="gray">
          <a:xfrm>
            <a:off x="7218363" y="2181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A2099B-AAFD-46E3-9C89-A559B22DF87B}" type="datetime'''''''''''''''''''''24.''''''''''''''''''''''''''''''''5'''">
              <a:rPr lang="ja-JP" altLang="en-US" sz="1000" smtClean="0"/>
              <a:pPr/>
              <a:t>24.5</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0ADA0724-2645-BB14-8A8D-F239B2AD42EF}"/>
              </a:ext>
            </a:extLst>
          </p:cNvPr>
          <p:cNvSpPr>
            <a:spLocks/>
          </p:cNvSpPr>
          <p:nvPr>
            <p:custDataLst>
              <p:tags r:id="rId218"/>
            </p:custDataLst>
          </p:nvPr>
        </p:nvSpPr>
        <p:spPr bwMode="gray">
          <a:xfrm>
            <a:off x="7505700" y="2330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994CE-C8B9-4C02-874F-645C9362EF90}" type="datetime'''''''''''''''''''''''''''''''''''''''''21''''''.''''5'''''">
              <a:rPr lang="ja-JP" altLang="en-US" sz="1000" smtClean="0"/>
              <a:pPr/>
              <a:t>21.5</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49184FD0-7764-B8E6-C50F-EA53502F95B8}"/>
              </a:ext>
            </a:extLst>
          </p:cNvPr>
          <p:cNvSpPr>
            <a:spLocks/>
          </p:cNvSpPr>
          <p:nvPr>
            <p:custDataLst>
              <p:tags r:id="rId219"/>
            </p:custDataLst>
          </p:nvPr>
        </p:nvSpPr>
        <p:spPr bwMode="gray">
          <a:xfrm>
            <a:off x="7794625" y="2270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A0A726-867F-4F13-9D20-2EEF1C7ED49F}" type="datetime'''''22''.''''''''''''''''7'''''''''''''''''''''''''''''''">
              <a:rPr lang="ja-JP" altLang="en-US" sz="1000" smtClean="0"/>
              <a:pPr/>
              <a:t>22.7</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6DBD6873-B47E-3975-393A-B39671052953}"/>
              </a:ext>
            </a:extLst>
          </p:cNvPr>
          <p:cNvSpPr>
            <a:spLocks/>
          </p:cNvSpPr>
          <p:nvPr>
            <p:custDataLst>
              <p:tags r:id="rId220"/>
            </p:custDataLst>
          </p:nvPr>
        </p:nvSpPr>
        <p:spPr bwMode="gray">
          <a:xfrm>
            <a:off x="4621213" y="2805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8005A9-6471-4280-87DD-BE5CFADB40B2}" type="datetime'''1''''''''''''1''''''.''''''''''''''''''''8'">
              <a:rPr lang="ja-JP" altLang="en-US" sz="1000" smtClean="0"/>
              <a:pPr/>
              <a:t>11.8</a:t>
            </a:fld>
            <a:endParaRPr kumimoji="1" lang="ja-JP" altLang="en-US" sz="1000" dirty="0">
              <a:sym typeface="+mn-lt"/>
            </a:endParaRPr>
          </a:p>
        </p:txBody>
      </p:sp>
    </p:spTree>
    <p:extLst>
      <p:ext uri="{BB962C8B-B14F-4D97-AF65-F5344CB8AC3E}">
        <p14:creationId xmlns:p14="http://schemas.microsoft.com/office/powerpoint/2010/main" val="3582578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3756896"/>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耐久消費財購入指数</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398069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管理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00537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資優遇措置</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0806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74091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996279885"/>
              </p:ext>
            </p:extLst>
          </p:nvPr>
        </p:nvGraphicFramePr>
        <p:xfrm>
          <a:off x="5205528" y="1152000"/>
          <a:ext cx="4500000" cy="551704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71628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58148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288474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25392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29824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58915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45025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医療機関区分と施設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5141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主な公的および民間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771833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現地の臨床工学技士や理学療法士などの資格の有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情報・個人情報保護に関する法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61914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5666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792745"/>
                  </a:ext>
                </a:extLst>
              </a:tr>
            </a:tbl>
          </a:graphicData>
        </a:graphic>
      </p:graphicFrame>
      <p:cxnSp>
        <p:nvCxnSpPr>
          <p:cNvPr id="9" name="Straight Connector 8">
            <a:extLst>
              <a:ext uri="{FF2B5EF4-FFF2-40B4-BE49-F238E27FC236}">
                <a16:creationId xmlns:a16="http://schemas.microsoft.com/office/drawing/2014/main" id="{CB446258-9FDF-4541-ABF8-9B39F218550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272052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sp>
        <p:nvSpPr>
          <p:cNvPr id="44" name="テキスト プレースホルダ 9">
            <a:extLst>
              <a:ext uri="{FF2B5EF4-FFF2-40B4-BE49-F238E27FC236}">
                <a16:creationId xmlns:a16="http://schemas.microsoft.com/office/drawing/2014/main" id="{97171047-717D-424C-84FF-075707A768A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43FC5C-B0DC-4ACC-88C0-5CAB81396669}" type="datetime'''''''1''''1''''''''''''''.8''''''''''''%'">
              <a:rPr lang="en-US" altLang="en-US" smtClean="0">
                <a:effectLst/>
                <a:sym typeface="+mn-lt"/>
              </a:rPr>
              <a:pPr marL="0" indent="0" algn="ctr">
                <a:spcBef>
                  <a:spcPct val="0"/>
                </a:spcBef>
                <a:buNone/>
              </a:pPr>
              <a:t>11.8%</a:t>
            </a:fld>
            <a:endParaRPr lang="ja-JP" altLang="en-US" dirty="0">
              <a:sym typeface="+mn-lt"/>
            </a:endParaRPr>
          </a:p>
        </p:txBody>
      </p:sp>
      <p:sp>
        <p:nvSpPr>
          <p:cNvPr id="37" name="テキスト ボックス 36"/>
          <p:cNvSpPr txBox="1"/>
          <p:nvPr/>
        </p:nvSpPr>
        <p:spPr>
          <a:xfrm>
            <a:off x="224999" y="110199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総死亡率に占める非感染症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減少した。一方で、感染症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増加した。</a:t>
            </a: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defTabSz="361950"/>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79">
            <a:extLst>
              <a:ext uri="{FF2B5EF4-FFF2-40B4-BE49-F238E27FC236}">
                <a16:creationId xmlns:a16="http://schemas.microsoft.com/office/drawing/2014/main" id="{DAB2B5DC-1575-3D56-8057-9CA3755C299D}"/>
              </a:ext>
            </a:extLst>
          </p:cNvPr>
          <p:cNvGraphicFramePr/>
          <p:nvPr>
            <p:custDataLst>
              <p:tags r:id="rId3"/>
            </p:custDataLst>
            <p:extLst>
              <p:ext uri="{D42A27DB-BD31-4B8C-83A1-F6EECF244321}">
                <p14:modId xmlns:p14="http://schemas.microsoft.com/office/powerpoint/2010/main" val="3252440085"/>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4" name="テキスト プレースホルダ 9">
            <a:extLst>
              <a:ext uri="{FF2B5EF4-FFF2-40B4-BE49-F238E27FC236}">
                <a16:creationId xmlns:a16="http://schemas.microsoft.com/office/drawing/2014/main" id="{26A07621-1768-63A6-81E3-B26AB1AC8A07}"/>
              </a:ext>
            </a:extLst>
          </p:cNvPr>
          <p:cNvSpPr>
            <a:spLocks/>
          </p:cNvSpPr>
          <p:nvPr>
            <p:custDataLst>
              <p:tags r:id="rId4"/>
            </p:custDataLst>
          </p:nvPr>
        </p:nvSpPr>
        <p:spPr bwMode="gray">
          <a:xfrm>
            <a:off x="1404938" y="3621088"/>
            <a:ext cx="633413"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dirty="0">
                <a:effectLst/>
                <a:sym typeface="+mn-lt"/>
              </a:rPr>
              <a:t>18.9%</a:t>
            </a:r>
            <a:endParaRPr lang="ja-JP" altLang="en-US" dirty="0">
              <a:sym typeface="+mn-lt"/>
            </a:endParaRPr>
          </a:p>
        </p:txBody>
      </p:sp>
      <p:sp>
        <p:nvSpPr>
          <p:cNvPr id="41" name="テキスト プレースホルダ 9">
            <a:extLst>
              <a:ext uri="{FF2B5EF4-FFF2-40B4-BE49-F238E27FC236}">
                <a16:creationId xmlns:a16="http://schemas.microsoft.com/office/drawing/2014/main" id="{50CEFEE3-2AA8-48CF-BF05-6D328DE7A20F}"/>
              </a:ext>
            </a:extLst>
          </p:cNvPr>
          <p:cNvSpPr>
            <a:spLocks/>
          </p:cNvSpPr>
          <p:nvPr>
            <p:custDataLst>
              <p:tags r:id="rId5"/>
            </p:custDataLst>
          </p:nvPr>
        </p:nvSpPr>
        <p:spPr bwMode="gray">
          <a:xfrm>
            <a:off x="1825624" y="3282519"/>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65350C-CD3C-4C59-B7E5-A7FE08066A1F}" type="datetime'''7''.4''''''''''%'''''''''''''''''''''''''">
              <a:rPr lang="en-US" altLang="en-US" smtClean="0">
                <a:effectLst/>
              </a:rPr>
              <a:pPr/>
              <a:t>7.4%</a:t>
            </a:fld>
            <a:endParaRPr lang="ja-JP" altLang="en-US" dirty="0">
              <a:sym typeface="+mn-lt"/>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62C1E640-2AAE-5BC9-762F-C82555683073}"/>
              </a:ext>
            </a:extLst>
          </p:cNvPr>
          <p:cNvSpPr/>
          <p:nvPr>
            <p:custDataLst>
              <p:tags r:id="rId6"/>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9659C2D2-1BF3-ABCA-44F2-8A25313B0049}"/>
              </a:ext>
            </a:extLst>
          </p:cNvPr>
          <p:cNvSpPr/>
          <p:nvPr>
            <p:custDataLst>
              <p:tags r:id="rId7"/>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2C1A5E65-9890-7774-611C-B43708F18B07}"/>
              </a:ext>
            </a:extLst>
          </p:cNvPr>
          <p:cNvSpPr/>
          <p:nvPr>
            <p:custDataLst>
              <p:tags r:id="rId8"/>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テキスト プレースホルダ 9">
            <a:extLst>
              <a:ext uri="{FF2B5EF4-FFF2-40B4-BE49-F238E27FC236}">
                <a16:creationId xmlns:a16="http://schemas.microsoft.com/office/drawing/2014/main" id="{9A3BFB07-5BC6-A327-0750-A822B467FA38}"/>
              </a:ext>
            </a:extLst>
          </p:cNvPr>
          <p:cNvSpPr>
            <a:spLocks/>
          </p:cNvSpPr>
          <p:nvPr>
            <p:custDataLst>
              <p:tags r:id="rId9"/>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F583626-4F3D-499E-AE5B-D7D9332C16A4}" type="datetime'''''''非''''''''''''''''''''''感''''''''''染''症'''''''''">
              <a:rPr lang="ja-JP" altLang="en-US" sz="1400" b="1" smtClean="0">
                <a:effectLst/>
                <a:sym typeface="+mn-lt"/>
              </a:rPr>
              <a:pPr marL="0" lvl="0" indent="0">
                <a:spcBef>
                  <a:spcPct val="0"/>
                </a:spcBef>
                <a:buNone/>
              </a:pPr>
              <a:t>非感染症</a:t>
            </a:fld>
            <a:endParaRPr kumimoji="1" lang="ja-JP" altLang="en-US" sz="1400" b="1" dirty="0">
              <a:sym typeface="+mn-lt"/>
            </a:endParaRPr>
          </a:p>
        </p:txBody>
      </p:sp>
      <p:sp>
        <p:nvSpPr>
          <p:cNvPr id="21" name="テキスト プレースホルダ 9">
            <a:extLst>
              <a:ext uri="{FF2B5EF4-FFF2-40B4-BE49-F238E27FC236}">
                <a16:creationId xmlns:a16="http://schemas.microsoft.com/office/drawing/2014/main" id="{A1F9F050-0FD4-1574-22FD-824CA1235373}"/>
              </a:ext>
            </a:extLst>
          </p:cNvPr>
          <p:cNvSpPr>
            <a:spLocks/>
          </p:cNvSpPr>
          <p:nvPr>
            <p:custDataLst>
              <p:tags r:id="rId10"/>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B412B31-9BD2-4971-9586-816F06EB0438}" type="datetime'''感''''''''''''''''染''''症'''''''''''''''''''''''''''''''''">
              <a:rPr lang="ja-JP" altLang="en-US" sz="1400" b="1" smtClean="0">
                <a:effectLst/>
                <a:sym typeface="+mn-lt"/>
              </a:rPr>
              <a:pPr marL="0" lvl="0" indent="0">
                <a:spcBef>
                  <a:spcPct val="0"/>
                </a:spcBef>
                <a:buNone/>
              </a:pPr>
              <a:t>感染症</a:t>
            </a:fld>
            <a:endParaRPr kumimoji="1" lang="ja-JP" altLang="en-US" sz="1400" b="1" dirty="0">
              <a:sym typeface="+mn-lt"/>
            </a:endParaRPr>
          </a:p>
        </p:txBody>
      </p:sp>
      <p:sp>
        <p:nvSpPr>
          <p:cNvPr id="22" name="テキスト プレースホルダ 9">
            <a:extLst>
              <a:ext uri="{FF2B5EF4-FFF2-40B4-BE49-F238E27FC236}">
                <a16:creationId xmlns:a16="http://schemas.microsoft.com/office/drawing/2014/main" id="{53707659-5E03-88F3-8832-9A0E2FF8CFA7}"/>
              </a:ext>
            </a:extLst>
          </p:cNvPr>
          <p:cNvSpPr>
            <a:spLocks/>
          </p:cNvSpPr>
          <p:nvPr>
            <p:custDataLst>
              <p:tags r:id="rId11"/>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E126161-CEAB-4561-8706-1F01598306B5}" type="datetime'事''''''''''''''''''''''''''''''''''故''''''等'''''''''">
              <a:rPr lang="ja-JP" altLang="en-US" sz="1400" b="1" smtClean="0">
                <a:effectLst/>
                <a:sym typeface="+mn-lt"/>
              </a:rPr>
              <a:pPr marL="0" lvl="0" indent="0">
                <a:spcBef>
                  <a:spcPct val="0"/>
                </a:spcBef>
                <a:buNone/>
              </a:pPr>
              <a:t>事故等</a:t>
            </a:fld>
            <a:endParaRPr kumimoji="1" lang="ja-JP" altLang="en-US" sz="1400" b="1" dirty="0">
              <a:sym typeface="+mn-lt"/>
            </a:endParaRPr>
          </a:p>
        </p:txBody>
      </p:sp>
      <p:graphicFrame>
        <p:nvGraphicFramePr>
          <p:cNvPr id="79" name="Chart 78">
            <a:extLst>
              <a:ext uri="{FF2B5EF4-FFF2-40B4-BE49-F238E27FC236}">
                <a16:creationId xmlns:a16="http://schemas.microsoft.com/office/drawing/2014/main" id="{D5E585CB-A183-97FC-31B9-8D0EFF2226FA}"/>
              </a:ext>
            </a:extLst>
          </p:cNvPr>
          <p:cNvGraphicFramePr/>
          <p:nvPr>
            <p:custDataLst>
              <p:tags r:id="rId12"/>
            </p:custDataLst>
            <p:extLst>
              <p:ext uri="{D42A27DB-BD31-4B8C-83A1-F6EECF244321}">
                <p14:modId xmlns:p14="http://schemas.microsoft.com/office/powerpoint/2010/main" val="1203111141"/>
              </p:ext>
            </p:ext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72" name="テキスト プレースホルダ 9">
            <a:extLst>
              <a:ext uri="{FF2B5EF4-FFF2-40B4-BE49-F238E27FC236}">
                <a16:creationId xmlns:a16="http://schemas.microsoft.com/office/drawing/2014/main" id="{808F4FFF-00C7-5AD4-DDB6-A55CDE56DDD9}"/>
              </a:ext>
            </a:extLst>
          </p:cNvPr>
          <p:cNvSpPr>
            <a:spLocks/>
          </p:cNvSpPr>
          <p:nvPr>
            <p:custDataLst>
              <p:tags r:id="rId13"/>
            </p:custDataLst>
          </p:nvPr>
        </p:nvSpPr>
        <p:spPr bwMode="gray">
          <a:xfrm>
            <a:off x="6897687" y="324326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2A393-9978-403D-80C6-3C590B3A1A2F}" type="datetime'3''''''''''''.''''''''''5''''%'''''''''''''''''''''">
              <a:rPr lang="en-US" altLang="en-US" smtClean="0">
                <a:effectLst/>
                <a:sym typeface="+mn-lt"/>
              </a:rPr>
              <a:pPr marL="0" lvl="0" indent="0" algn="ctr">
                <a:spcBef>
                  <a:spcPct val="0"/>
                </a:spcBef>
                <a:buNone/>
              </a:pPr>
              <a:t>3.5%</a:t>
            </a:fld>
            <a:endParaRPr kumimoji="1" lang="ja-JP" altLang="en-US" dirty="0">
              <a:sym typeface="+mn-lt"/>
            </a:endParaRPr>
          </a:p>
        </p:txBody>
      </p:sp>
      <p:sp>
        <p:nvSpPr>
          <p:cNvPr id="73" name="テキスト プレースホルダ 9">
            <a:extLst>
              <a:ext uri="{FF2B5EF4-FFF2-40B4-BE49-F238E27FC236}">
                <a16:creationId xmlns:a16="http://schemas.microsoft.com/office/drawing/2014/main" id="{7AC0D587-C8A1-3725-A823-E63799727442}"/>
              </a:ext>
            </a:extLst>
          </p:cNvPr>
          <p:cNvSpPr>
            <a:spLocks/>
          </p:cNvSpPr>
          <p:nvPr>
            <p:custDataLst>
              <p:tags r:id="rId14"/>
            </p:custDataLst>
          </p:nvPr>
        </p:nvSpPr>
        <p:spPr bwMode="gray">
          <a:xfrm>
            <a:off x="6996112" y="348773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A332D-40AA-4127-8B71-1375A9E74094}" type="datetime'''''0''''.0''''''''''''''''''''''''''''''''''''%'''">
              <a:rPr lang="en-US" altLang="en-US" smtClean="0">
                <a:effectLst/>
                <a:sym typeface="+mn-lt"/>
              </a:rPr>
              <a:pPr marL="0" lvl="0" indent="0" algn="ctr">
                <a:spcBef>
                  <a:spcPct val="0"/>
                </a:spcBef>
                <a:buNone/>
              </a:pPr>
              <a:t>0.0%</a:t>
            </a:fld>
            <a:endParaRPr kumimoji="1" lang="ja-JP" altLang="en-US" dirty="0">
              <a:sym typeface="+mn-lt"/>
            </a:endParaRPr>
          </a:p>
        </p:txBody>
      </p:sp>
      <p:sp>
        <p:nvSpPr>
          <p:cNvPr id="42" name="Rectangle 41">
            <a:extLst>
              <a:ext uri="{FF2B5EF4-FFF2-40B4-BE49-F238E27FC236}">
                <a16:creationId xmlns:a16="http://schemas.microsoft.com/office/drawing/2014/main" id="{F3240FA7-7C59-E826-53D0-3622732EE308}"/>
              </a:ext>
            </a:extLst>
          </p:cNvPr>
          <p:cNvSpPr/>
          <p:nvPr>
            <p:custDataLst>
              <p:tags r:id="rId15"/>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Rectangle 42">
            <a:extLst>
              <a:ext uri="{FF2B5EF4-FFF2-40B4-BE49-F238E27FC236}">
                <a16:creationId xmlns:a16="http://schemas.microsoft.com/office/drawing/2014/main" id="{F9E55110-FABE-0035-0991-E1C60FF11B74}"/>
              </a:ext>
            </a:extLst>
          </p:cNvPr>
          <p:cNvSpPr/>
          <p:nvPr>
            <p:custDataLst>
              <p:tags r:id="rId16"/>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Rectangle 44">
            <a:extLst>
              <a:ext uri="{FF2B5EF4-FFF2-40B4-BE49-F238E27FC236}">
                <a16:creationId xmlns:a16="http://schemas.microsoft.com/office/drawing/2014/main" id="{7A68391C-D767-0262-1F2E-14B43AB89C70}"/>
              </a:ext>
            </a:extLst>
          </p:cNvPr>
          <p:cNvSpPr/>
          <p:nvPr>
            <p:custDataLst>
              <p:tags r:id="rId17"/>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Rectangle 64">
            <a:extLst>
              <a:ext uri="{FF2B5EF4-FFF2-40B4-BE49-F238E27FC236}">
                <a16:creationId xmlns:a16="http://schemas.microsoft.com/office/drawing/2014/main" id="{431B5909-E269-DF2B-1F52-501AC1A19488}"/>
              </a:ext>
            </a:extLst>
          </p:cNvPr>
          <p:cNvSpPr/>
          <p:nvPr>
            <p:custDataLst>
              <p:tags r:id="rId18"/>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a:extLst>
              <a:ext uri="{FF2B5EF4-FFF2-40B4-BE49-F238E27FC236}">
                <a16:creationId xmlns:a16="http://schemas.microsoft.com/office/drawing/2014/main" id="{368029A3-F031-9744-B6B9-F4A0159BDE53}"/>
              </a:ext>
            </a:extLst>
          </p:cNvPr>
          <p:cNvSpPr>
            <a:spLocks/>
          </p:cNvSpPr>
          <p:nvPr>
            <p:custDataLst>
              <p:tags r:id="rId19"/>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90800B-A43A-4C46-B1F8-EFD7452AD81A}" type="datetime'''''''''''''非''''感染''症'''''''''''''''''''''">
              <a:rPr lang="ja-JP" altLang="en-US" sz="1400" b="1" smtClean="0"/>
              <a:pPr/>
              <a:t>非感染症</a:t>
            </a:fld>
            <a:endParaRPr kumimoji="1" lang="ja-JP" altLang="en-US" sz="1400" b="1" dirty="0">
              <a:sym typeface="+mn-lt"/>
            </a:endParaRPr>
          </a:p>
        </p:txBody>
      </p:sp>
      <p:sp>
        <p:nvSpPr>
          <p:cNvPr id="48" name="テキスト プレースホルダ 9">
            <a:extLst>
              <a:ext uri="{FF2B5EF4-FFF2-40B4-BE49-F238E27FC236}">
                <a16:creationId xmlns:a16="http://schemas.microsoft.com/office/drawing/2014/main" id="{0B9B996F-FD9D-9B5A-E20D-8F8BCAC52FC1}"/>
              </a:ext>
            </a:extLst>
          </p:cNvPr>
          <p:cNvSpPr>
            <a:spLocks/>
          </p:cNvSpPr>
          <p:nvPr>
            <p:custDataLst>
              <p:tags r:id="rId20"/>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2F32CC0-CD5C-4074-A6C3-2C0AF4A8D69B}" type="datetime'''''''''''''''''''''''''感''''''''''''''''''''''''''染''''''症'">
              <a:rPr lang="ja-JP" altLang="en-US" sz="1400" b="1" smtClean="0"/>
              <a:pPr/>
              <a:t>感染症</a:t>
            </a:fld>
            <a:endParaRPr kumimoji="1" lang="ja-JP" altLang="en-US" sz="1400" b="1" dirty="0">
              <a:sym typeface="+mn-lt"/>
            </a:endParaRPr>
          </a:p>
        </p:txBody>
      </p:sp>
      <p:sp>
        <p:nvSpPr>
          <p:cNvPr id="49" name="テキスト プレースホルダ 9">
            <a:extLst>
              <a:ext uri="{FF2B5EF4-FFF2-40B4-BE49-F238E27FC236}">
                <a16:creationId xmlns:a16="http://schemas.microsoft.com/office/drawing/2014/main" id="{0B3F5156-9E96-20E0-9D0E-A22A1E9E1BD7}"/>
              </a:ext>
            </a:extLst>
          </p:cNvPr>
          <p:cNvSpPr>
            <a:spLocks/>
          </p:cNvSpPr>
          <p:nvPr>
            <p:custDataLst>
              <p:tags r:id="rId21"/>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307A90-5ED1-490B-8E68-D46FF07114AD}" type="datetime'''''''''''''''''''''''''''''''''事故''''等'">
              <a:rPr lang="ja-JP" altLang="en-US" sz="1400" b="1" smtClean="0"/>
              <a:pPr/>
              <a:t>事故等</a:t>
            </a:fld>
            <a:endParaRPr kumimoji="1" lang="ja-JP" altLang="en-US" sz="1400" b="1" dirty="0">
              <a:sym typeface="+mn-lt"/>
            </a:endParaRPr>
          </a:p>
        </p:txBody>
      </p:sp>
      <p:sp>
        <p:nvSpPr>
          <p:cNvPr id="62" name="テキスト プレースホルダ 9">
            <a:extLst>
              <a:ext uri="{FF2B5EF4-FFF2-40B4-BE49-F238E27FC236}">
                <a16:creationId xmlns:a16="http://schemas.microsoft.com/office/drawing/2014/main" id="{6DB46686-7EF3-9BC6-C349-413C2A07B515}"/>
              </a:ext>
            </a:extLst>
          </p:cNvPr>
          <p:cNvSpPr>
            <a:spLocks/>
          </p:cNvSpPr>
          <p:nvPr>
            <p:custDataLst>
              <p:tags r:id="rId22"/>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C0C0BE0-60CC-4C48-8F8A-9AB0008CB382}" type="datetime'''''C''''OVID''-''''19パン''デ''ミ''ックに''''関連す''る''その他の''結''果'">
              <a:rPr lang="en-US" altLang="en-US" sz="1400" b="1" smtClean="0"/>
              <a:pPr/>
              <a:t>COVID-19パンデミックに関連するその他の結果</a:t>
            </a:fld>
            <a:endParaRPr kumimoji="1" lang="ja-JP" altLang="en-US" sz="1400" b="1" dirty="0">
              <a:sym typeface="+mn-lt"/>
            </a:endParaRPr>
          </a:p>
        </p:txBody>
      </p:sp>
    </p:spTree>
    <p:extLst>
      <p:ext uri="{BB962C8B-B14F-4D97-AF65-F5344CB8AC3E}">
        <p14:creationId xmlns:p14="http://schemas.microsoft.com/office/powerpoint/2010/main" val="2203850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3491782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484784"/>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1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循環器系の疾患、腫瘍、呼吸器系の疾患は死亡原因の上位</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を維持してい</a:t>
            </a:r>
            <a:r>
              <a:rPr lang="ja-JP" altLang="en-US" sz="1400" noProof="1">
                <a:solidFill>
                  <a:srgbClr val="000000"/>
                </a:solidFill>
                <a:latin typeface="Arial"/>
                <a:ea typeface="ＭＳ Ｐゴシック"/>
              </a:rPr>
              <a:t>る</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484784"/>
            <a:ext cx="50437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14</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700375302"/>
              </p:ext>
            </p:extLst>
          </p:nvPr>
        </p:nvGraphicFramePr>
        <p:xfrm>
          <a:off x="200025" y="1988840"/>
          <a:ext cx="4072396" cy="411275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73647">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26,442</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14,387</a:t>
                      </a:r>
                      <a:r>
                        <a:rPr lang="en-IN"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en-IN" sz="800" b="1" i="0" u="none" strike="noStrike" kern="1200" dirty="0">
                          <a:solidFill>
                            <a:srgbClr val="000000"/>
                          </a:solidFill>
                          <a:effectLst/>
                          <a:latin typeface="+mn-lt"/>
                          <a:ea typeface="+mn-ea"/>
                          <a:cs typeface="+mn-cs"/>
                        </a:rPr>
                        <a:t>12,051</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74320">
                <a:tc>
                  <a:txBody>
                    <a:bodyPr/>
                    <a:lstStyle/>
                    <a:p>
                      <a:pPr algn="l" fontAlgn="b"/>
                      <a:r>
                        <a:rPr lang="ja-JP" altLang="en-US" sz="1000" b="0" i="0" u="none" strike="noStrike" noProof="1">
                          <a:solidFill>
                            <a:srgbClr val="000000"/>
                          </a:solidFill>
                          <a:effectLst/>
                          <a:latin typeface="+mn-ea"/>
                          <a:ea typeface="+mn-ea"/>
                        </a:rPr>
                        <a:t>① 循環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1.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3.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9.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algn="l" fontAlgn="b"/>
                      <a:r>
                        <a:rPr lang="ja-JP" altLang="en-US" sz="1000" b="0" i="0" u="none" strike="noStrike" noProof="1">
                          <a:solidFill>
                            <a:srgbClr val="000000"/>
                          </a:solidFill>
                          <a:effectLst/>
                          <a:latin typeface="+mn-ea"/>
                          <a:ea typeface="+mn-ea"/>
                        </a:rPr>
                        <a:t>②腫瘍</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7.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algn="l" fontAlgn="b"/>
                      <a:r>
                        <a:rPr lang="ja-JP" altLang="en-US" sz="1000" noProof="1">
                          <a:latin typeface="+mn-ea"/>
                          <a:ea typeface="+mn-ea"/>
                        </a:rPr>
                        <a:t>③呼吸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4.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5.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algn="l" fontAlgn="b"/>
                      <a:r>
                        <a:rPr lang="ja-JP" altLang="en-US" sz="1000" b="0" i="0" u="none" strike="noStrike" noProof="1">
                          <a:solidFill>
                            <a:srgbClr val="000000"/>
                          </a:solidFill>
                          <a:effectLst/>
                          <a:latin typeface="+mn-ea"/>
                          <a:ea typeface="+mn-ea"/>
                        </a:rPr>
                        <a:t>④泌尿生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6.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algn="l" fontAlgn="t"/>
                      <a:r>
                        <a:rPr lang="ja-JP" altLang="en-US" sz="1000" noProof="1">
                          <a:latin typeface="+mn-ea"/>
                          <a:ea typeface="+mn-ea"/>
                        </a:rPr>
                        <a:t>⑤消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algn="l" fontAlgn="t"/>
                      <a:r>
                        <a:rPr lang="ja-JP" altLang="en-US" sz="1000" noProof="1">
                          <a:latin typeface="+mn-ea"/>
                          <a:ea typeface="+mn-ea"/>
                        </a:rPr>
                        <a:t>⑥罹患率および死亡率の外因</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0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6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40800">
                <a:tc>
                  <a:txBody>
                    <a:bodyPr/>
                    <a:lstStyle/>
                    <a:p>
                      <a:pPr algn="l" fontAlgn="b"/>
                      <a:r>
                        <a:rPr lang="ja-JP" altLang="en-US" sz="1000" b="0" i="0" u="none" strike="noStrike" noProof="1">
                          <a:solidFill>
                            <a:srgbClr val="000000"/>
                          </a:solidFill>
                          <a:effectLst/>
                          <a:latin typeface="+mn-ea"/>
                          <a:ea typeface="+mn-ea"/>
                        </a:rPr>
                        <a:t>⑦特定の感染症および寄生虫病</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40800">
                <a:tc>
                  <a:txBody>
                    <a:bodyPr/>
                    <a:lstStyle/>
                    <a:p>
                      <a:pPr algn="l" fontAlgn="t"/>
                      <a:r>
                        <a:rPr lang="ja-JP" altLang="en-US" sz="1000" noProof="1">
                          <a:latin typeface="+mn-ea"/>
                          <a:ea typeface="+mn-ea"/>
                        </a:rPr>
                        <a:t>⑧</a:t>
                      </a:r>
                      <a:r>
                        <a:rPr lang="zh-TW" altLang="en-US" sz="1000" noProof="1">
                          <a:latin typeface="+mn-ea"/>
                          <a:ea typeface="+mn-ea"/>
                        </a:rPr>
                        <a:t>内分泌疾患、栄養疾患、代謝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ea"/>
                          <a:ea typeface="+mn-ea"/>
                          <a:cs typeface="+mn-cs"/>
                        </a:rPr>
                        <a:t>⑨神経系および感覚器の疾患</a:t>
                      </a:r>
                      <a:endParaRPr kumimoji="1" lang="en-IN" sz="1000" b="0" i="0" u="none" strike="noStrike" kern="1200" noProof="1">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40800">
                <a:tc>
                  <a:txBody>
                    <a:bodyPr/>
                    <a:lstStyle/>
                    <a:p>
                      <a:pPr algn="l" fontAlgn="t"/>
                      <a:r>
                        <a:rPr lang="ja-JP" altLang="en-US" sz="1000" b="0" i="0" u="none" strike="noStrike" noProof="1">
                          <a:solidFill>
                            <a:srgbClr val="000000"/>
                          </a:solidFill>
                          <a:effectLst/>
                          <a:latin typeface="+mn-ea"/>
                          <a:ea typeface="+mn-ea"/>
                        </a:rPr>
                        <a:t>⑩先天性奇形、変形、および染色体異常</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40800">
                <a:tc>
                  <a:txBody>
                    <a:bodyPr/>
                    <a:lstStyle/>
                    <a:p>
                      <a:pPr algn="l" fontAlgn="t"/>
                      <a:r>
                        <a:rPr lang="en-IN" sz="1000" b="0" i="0" u="none" strike="noStrike" noProof="1">
                          <a:solidFill>
                            <a:srgbClr val="000000"/>
                          </a:solidFill>
                          <a:effectLst/>
                          <a:latin typeface="+mn-ea"/>
                          <a:ea typeface="+mn-ea"/>
                        </a:rPr>
                        <a:t>⑪ </a:t>
                      </a:r>
                      <a:r>
                        <a:rPr lang="ja-JP" altLang="en-US" sz="1000" b="0" i="0" u="none" strike="noStrike" noProof="1">
                          <a:solidFill>
                            <a:srgbClr val="000000"/>
                          </a:solidFill>
                          <a:effectLst/>
                          <a:latin typeface="+mn-ea"/>
                          <a:ea typeface="+mn-ea"/>
                        </a:rPr>
                        <a:t>周産期に発生する特定の疾患</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r h="274320">
                <a:tc>
                  <a:txBody>
                    <a:bodyPr/>
                    <a:lstStyle/>
                    <a:p>
                      <a:pPr algn="l" fontAlgn="t"/>
                      <a:r>
                        <a:rPr kumimoji="1" lang="en-IN" sz="1000" b="0" i="0" u="none" strike="noStrike" kern="1200" dirty="0">
                          <a:solidFill>
                            <a:srgbClr val="000000"/>
                          </a:solidFill>
                          <a:effectLst/>
                          <a:latin typeface="+mn-ea"/>
                          <a:ea typeface="+mn-ea"/>
                          <a:cs typeface="+mn-cs"/>
                        </a:rPr>
                        <a:t>⑫</a:t>
                      </a:r>
                      <a:r>
                        <a:rPr kumimoji="1" lang="ja-JP" altLang="en-US" sz="1000" b="0" i="0" u="none" strike="noStrike" kern="1200" dirty="0">
                          <a:solidFill>
                            <a:srgbClr val="000000"/>
                          </a:solidFill>
                          <a:effectLst/>
                          <a:latin typeface="+mn-ea"/>
                          <a:ea typeface="+mn-ea"/>
                          <a:cs typeface="+mn-cs"/>
                        </a:rPr>
                        <a:t>血液および造血器官の疾患</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9847409"/>
                  </a:ext>
                </a:extLst>
              </a:tr>
              <a:tr h="274320">
                <a:tc>
                  <a:txBody>
                    <a:bodyPr/>
                    <a:lstStyle/>
                    <a:p>
                      <a:pPr algn="l" fontAlgn="t"/>
                      <a:r>
                        <a:rPr kumimoji="1" lang="en-IN" sz="1000" b="0" i="0" u="none" strike="noStrike" kern="1200" dirty="0">
                          <a:solidFill>
                            <a:srgbClr val="000000"/>
                          </a:solidFill>
                          <a:effectLst/>
                          <a:latin typeface="+mn-ea"/>
                          <a:ea typeface="+mn-ea"/>
                          <a:cs typeface="+mn-cs"/>
                        </a:rPr>
                        <a:t>⑬</a:t>
                      </a:r>
                      <a:r>
                        <a:rPr kumimoji="1" lang="ja-JP" altLang="en-US" sz="1000" b="0" i="0" u="none" strike="noStrike" kern="1200" dirty="0">
                          <a:solidFill>
                            <a:srgbClr val="000000"/>
                          </a:solidFill>
                          <a:effectLst/>
                          <a:latin typeface="+mn-ea"/>
                          <a:ea typeface="+mn-ea"/>
                          <a:cs typeface="+mn-cs"/>
                        </a:rPr>
                        <a:t>その他**</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39450208"/>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231226" y="1769784"/>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5226167" y="1769784"/>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254577649"/>
              </p:ext>
            </p:extLst>
          </p:nvPr>
        </p:nvGraphicFramePr>
        <p:xfrm>
          <a:off x="7725528" y="2006783"/>
          <a:ext cx="1980000" cy="43334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algn="l" fontAlgn="b"/>
                      <a:r>
                        <a:rPr lang="ja-JP" altLang="en-US" sz="1000" b="0" i="0" u="none" strike="noStrike" dirty="0">
                          <a:solidFill>
                            <a:srgbClr val="000000"/>
                          </a:solidFill>
                          <a:effectLst/>
                          <a:latin typeface="+mn-ea"/>
                          <a:ea typeface="+mn-ea"/>
                        </a:rPr>
                        <a:t>循環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algn="l" fontAlgn="b"/>
                      <a:r>
                        <a:rPr lang="ja-JP" altLang="en-US" sz="1000" b="0" i="0" u="none" strike="noStrike" dirty="0">
                          <a:solidFill>
                            <a:srgbClr val="000000"/>
                          </a:solidFill>
                          <a:effectLst/>
                          <a:latin typeface="+mn-ea"/>
                          <a:ea typeface="+mn-ea"/>
                        </a:rPr>
                        <a:t>腫瘍</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algn="l" fontAlgn="b"/>
                      <a:r>
                        <a:rPr lang="ja-JP" altLang="en-US" sz="1000" dirty="0">
                          <a:latin typeface="+mn-ea"/>
                          <a:ea typeface="+mn-ea"/>
                        </a:rPr>
                        <a:t>呼吸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algn="l" fontAlgn="b"/>
                      <a:r>
                        <a:rPr lang="ja-JP" altLang="en-US" sz="1000" b="0" i="0" u="none" strike="noStrike" dirty="0">
                          <a:solidFill>
                            <a:srgbClr val="000000"/>
                          </a:solidFill>
                          <a:effectLst/>
                          <a:latin typeface="+mn-ea"/>
                          <a:ea typeface="+mn-ea"/>
                        </a:rPr>
                        <a:t>泌尿生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algn="l" fontAlgn="t"/>
                      <a:r>
                        <a:rPr lang="ja-JP" altLang="en-US" sz="1000" dirty="0">
                          <a:latin typeface="+mn-ea"/>
                          <a:ea typeface="+mn-ea"/>
                        </a:rPr>
                        <a:t>消化器系の疾患</a:t>
                      </a:r>
                      <a:endParaRPr lang="en-US"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algn="l" fontAlgn="t"/>
                      <a:r>
                        <a:rPr lang="ja-JP" altLang="en-US" sz="1000" dirty="0">
                          <a:latin typeface="+mn-ea"/>
                          <a:ea typeface="+mn-ea"/>
                        </a:rPr>
                        <a:t>罹患率および死亡率の外因</a:t>
                      </a:r>
                      <a:endParaRPr lang="en-US"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algn="l" fontAlgn="b"/>
                      <a:r>
                        <a:rPr lang="ja-JP" altLang="en-US" sz="1000" dirty="0">
                          <a:latin typeface="+mn-ea"/>
                          <a:ea typeface="+mn-ea"/>
                        </a:rPr>
                        <a:t>特定の感染症および寄生虫病</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algn="l" fontAlgn="t"/>
                      <a:r>
                        <a:rPr kumimoji="1" lang="zh-TW" altLang="en-US" sz="1000" b="0" i="0" u="none" strike="noStrike" kern="1200" dirty="0">
                          <a:solidFill>
                            <a:srgbClr val="000000"/>
                          </a:solidFill>
                          <a:effectLst/>
                          <a:latin typeface="+mn-ea"/>
                          <a:ea typeface="+mn-ea"/>
                          <a:cs typeface="+mn-cs"/>
                        </a:rPr>
                        <a:t>内分泌疾患、栄養疾患、代謝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00" dirty="0">
                          <a:latin typeface="+mn-ea"/>
                          <a:ea typeface="+mn-ea"/>
                        </a:rPr>
                        <a:t>神経系の疾患</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algn="l" fontAlgn="t"/>
                      <a:r>
                        <a:rPr kumimoji="1" lang="zh-TW" altLang="en-US" sz="1000" b="0" i="0" u="none" strike="noStrike" kern="1200" dirty="0">
                          <a:solidFill>
                            <a:srgbClr val="000000"/>
                          </a:solidFill>
                          <a:effectLst/>
                          <a:latin typeface="+mn-ea"/>
                          <a:ea typeface="+mn-ea"/>
                          <a:cs typeface="+mn-cs"/>
                        </a:rPr>
                        <a:t>先天性奇形、変形、染色体異常</a:t>
                      </a:r>
                      <a:endParaRPr lang="en-US"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0800">
                <a:tc>
                  <a:txBody>
                    <a:bodyPr/>
                    <a:lstStyle/>
                    <a:p>
                      <a:pPr algn="l" fontAlgn="t"/>
                      <a:r>
                        <a:rPr kumimoji="1" lang="ja-JP" altLang="en-US" sz="1000" b="0" i="0" u="none" strike="noStrike" kern="1200" dirty="0">
                          <a:solidFill>
                            <a:srgbClr val="000000"/>
                          </a:solidFill>
                          <a:effectLst/>
                          <a:latin typeface="+mn-ea"/>
                          <a:ea typeface="+mn-ea"/>
                          <a:cs typeface="+mn-cs"/>
                        </a:rPr>
                        <a:t>周産期に由来する特定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33613394"/>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血液および造血器官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4017269"/>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404020"/>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00678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00678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3780585395"/>
              </p:ext>
            </p:extLst>
          </p:nvPr>
        </p:nvGraphicFramePr>
        <p:xfrm>
          <a:off x="4661736" y="1988840"/>
          <a:ext cx="1980000" cy="43334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循環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3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腫瘍</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呼吸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泌尿生殖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罹患率および死亡率の外因</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消化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zh-TW" altLang="en-US" sz="1000" b="0" i="0" u="none" strike="noStrike" kern="1200" dirty="0">
                          <a:solidFill>
                            <a:srgbClr val="000000"/>
                          </a:solidFill>
                          <a:effectLst/>
                          <a:latin typeface="+mn-ea"/>
                          <a:ea typeface="+mn-ea"/>
                          <a:cs typeface="+mn-cs"/>
                        </a:rPr>
                        <a:t>内分泌疾患、栄養疾患、代謝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特定の感染症および寄生虫病</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神経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zh-TW" altLang="en-US" sz="1000" b="0" i="0" u="none" strike="noStrike" kern="1200" dirty="0">
                          <a:solidFill>
                            <a:srgbClr val="000000"/>
                          </a:solidFill>
                          <a:effectLst/>
                          <a:latin typeface="+mn-ea"/>
                          <a:ea typeface="+mn-ea"/>
                          <a:cs typeface="+mn-cs"/>
                        </a:rPr>
                        <a:t>先天性奇形、変形、染色体異常</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周産期に由来する特定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血液および造血器官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100" b="0" i="0" u="none" strike="noStrike" dirty="0">
                          <a:solidFill>
                            <a:srgbClr val="000000"/>
                          </a:solidFill>
                          <a:effectLst/>
                          <a:latin typeface="+mn-ea"/>
                          <a:ea typeface="+mn-ea"/>
                        </a:rPr>
                        <a:t>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33613394"/>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3685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0</a:t>
            </a:r>
            <a:endParaRPr kumimoji="1" lang="en-IN" sz="1000" dirty="0">
              <a:solidFill>
                <a:schemeClr val="bg1"/>
              </a:solidFill>
            </a:endParaRPr>
          </a:p>
        </p:txBody>
      </p:sp>
      <p:sp>
        <p:nvSpPr>
          <p:cNvPr id="37" name="Oval 36">
            <a:extLst>
              <a:ext uri="{FF2B5EF4-FFF2-40B4-BE49-F238E27FC236}">
                <a16:creationId xmlns:a16="http://schemas.microsoft.com/office/drawing/2014/main" id="{2A587C4D-DDDA-C139-84E8-A09CC1F13A14}"/>
              </a:ext>
            </a:extLst>
          </p:cNvPr>
          <p:cNvSpPr/>
          <p:nvPr/>
        </p:nvSpPr>
        <p:spPr>
          <a:xfrm>
            <a:off x="6687035" y="50291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39" name="Oval 38">
            <a:extLst>
              <a:ext uri="{FF2B5EF4-FFF2-40B4-BE49-F238E27FC236}">
                <a16:creationId xmlns:a16="http://schemas.microsoft.com/office/drawing/2014/main" id="{B28F43C9-BAA1-B92D-6B78-8536F556C292}"/>
              </a:ext>
            </a:extLst>
          </p:cNvPr>
          <p:cNvSpPr/>
          <p:nvPr/>
        </p:nvSpPr>
        <p:spPr>
          <a:xfrm>
            <a:off x="6687035" y="468087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8</a:t>
            </a:r>
            <a:endParaRPr kumimoji="1" lang="en-IN" sz="1000" dirty="0">
              <a:solidFill>
                <a:schemeClr val="bg1"/>
              </a:solidFill>
            </a:endParaRPr>
          </a:p>
        </p:txBody>
      </p:sp>
      <p:sp>
        <p:nvSpPr>
          <p:cNvPr id="40" name="Oval 39">
            <a:extLst>
              <a:ext uri="{FF2B5EF4-FFF2-40B4-BE49-F238E27FC236}">
                <a16:creationId xmlns:a16="http://schemas.microsoft.com/office/drawing/2014/main" id="{7D0FAA09-044F-FAF2-75F5-4ABB8BC13808}"/>
              </a:ext>
            </a:extLst>
          </p:cNvPr>
          <p:cNvSpPr/>
          <p:nvPr/>
        </p:nvSpPr>
        <p:spPr>
          <a:xfrm>
            <a:off x="6687035" y="43452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41" name="Oval 40">
            <a:extLst>
              <a:ext uri="{FF2B5EF4-FFF2-40B4-BE49-F238E27FC236}">
                <a16:creationId xmlns:a16="http://schemas.microsoft.com/office/drawing/2014/main" id="{6BEF0C17-8BA5-5869-FCF0-E5E9B6283C0E}"/>
              </a:ext>
            </a:extLst>
          </p:cNvPr>
          <p:cNvSpPr/>
          <p:nvPr/>
        </p:nvSpPr>
        <p:spPr>
          <a:xfrm>
            <a:off x="6687035" y="40270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42" name="Oval 41">
            <a:extLst>
              <a:ext uri="{FF2B5EF4-FFF2-40B4-BE49-F238E27FC236}">
                <a16:creationId xmlns:a16="http://schemas.microsoft.com/office/drawing/2014/main" id="{DFDC8F73-D696-E5B4-A00D-530A42839FEF}"/>
              </a:ext>
            </a:extLst>
          </p:cNvPr>
          <p:cNvSpPr/>
          <p:nvPr/>
        </p:nvSpPr>
        <p:spPr>
          <a:xfrm>
            <a:off x="6687035" y="36543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5</a:t>
            </a:r>
            <a:endParaRPr kumimoji="1" lang="en-IN" sz="1000" dirty="0">
              <a:solidFill>
                <a:schemeClr val="bg1"/>
              </a:solidFill>
            </a:endParaRPr>
          </a:p>
        </p:txBody>
      </p:sp>
      <p:sp>
        <p:nvSpPr>
          <p:cNvPr id="43" name="Oval 42">
            <a:extLst>
              <a:ext uri="{FF2B5EF4-FFF2-40B4-BE49-F238E27FC236}">
                <a16:creationId xmlns:a16="http://schemas.microsoft.com/office/drawing/2014/main" id="{3B6F4453-327B-526D-8991-D90720D7BEC6}"/>
              </a:ext>
            </a:extLst>
          </p:cNvPr>
          <p:cNvSpPr/>
          <p:nvPr/>
        </p:nvSpPr>
        <p:spPr>
          <a:xfrm>
            <a:off x="6687035" y="332156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4</a:t>
            </a:r>
            <a:endParaRPr kumimoji="1" lang="en-IN" sz="1000" dirty="0">
              <a:solidFill>
                <a:schemeClr val="bg1"/>
              </a:solidFill>
            </a:endParaRPr>
          </a:p>
        </p:txBody>
      </p:sp>
      <p:sp>
        <p:nvSpPr>
          <p:cNvPr id="45" name="Oval 44">
            <a:extLst>
              <a:ext uri="{FF2B5EF4-FFF2-40B4-BE49-F238E27FC236}">
                <a16:creationId xmlns:a16="http://schemas.microsoft.com/office/drawing/2014/main" id="{9F4B199A-D979-4D04-C591-1707DEABB29F}"/>
              </a:ext>
            </a:extLst>
          </p:cNvPr>
          <p:cNvSpPr/>
          <p:nvPr/>
        </p:nvSpPr>
        <p:spPr>
          <a:xfrm>
            <a:off x="6695089" y="29949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3</a:t>
            </a:r>
            <a:endParaRPr kumimoji="1" lang="en-IN" sz="1000" dirty="0">
              <a:solidFill>
                <a:schemeClr val="bg1"/>
              </a:solidFill>
            </a:endParaRPr>
          </a:p>
        </p:txBody>
      </p:sp>
      <p:sp>
        <p:nvSpPr>
          <p:cNvPr id="48" name="Oval 47">
            <a:extLst>
              <a:ext uri="{FF2B5EF4-FFF2-40B4-BE49-F238E27FC236}">
                <a16:creationId xmlns:a16="http://schemas.microsoft.com/office/drawing/2014/main" id="{141C221D-1BF6-6949-ECCD-B74A5A7FD84D}"/>
              </a:ext>
            </a:extLst>
          </p:cNvPr>
          <p:cNvSpPr/>
          <p:nvPr/>
        </p:nvSpPr>
        <p:spPr>
          <a:xfrm>
            <a:off x="6695089" y="26549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49" name="Oval 48">
            <a:extLst>
              <a:ext uri="{FF2B5EF4-FFF2-40B4-BE49-F238E27FC236}">
                <a16:creationId xmlns:a16="http://schemas.microsoft.com/office/drawing/2014/main" id="{F5AF1862-6C14-47B5-66B0-759C8F31939F}"/>
              </a:ext>
            </a:extLst>
          </p:cNvPr>
          <p:cNvSpPr/>
          <p:nvPr/>
        </p:nvSpPr>
        <p:spPr>
          <a:xfrm>
            <a:off x="6695089" y="230159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a:t>
            </a:r>
            <a:endParaRPr kumimoji="1" lang="en-IN" sz="1000" dirty="0">
              <a:solidFill>
                <a:schemeClr val="bg1"/>
              </a:solidFill>
            </a:endParaRPr>
          </a:p>
        </p:txBody>
      </p:sp>
      <p:sp>
        <p:nvSpPr>
          <p:cNvPr id="51" name="Oval 50">
            <a:extLst>
              <a:ext uri="{FF2B5EF4-FFF2-40B4-BE49-F238E27FC236}">
                <a16:creationId xmlns:a16="http://schemas.microsoft.com/office/drawing/2014/main" id="{27A1ECC8-0ED0-D209-0757-4834009B7427}"/>
              </a:ext>
            </a:extLst>
          </p:cNvPr>
          <p:cNvSpPr/>
          <p:nvPr/>
        </p:nvSpPr>
        <p:spPr>
          <a:xfrm>
            <a:off x="6687035" y="571624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sp>
        <p:nvSpPr>
          <p:cNvPr id="56" name="Oval 55">
            <a:extLst>
              <a:ext uri="{FF2B5EF4-FFF2-40B4-BE49-F238E27FC236}">
                <a16:creationId xmlns:a16="http://schemas.microsoft.com/office/drawing/2014/main" id="{A93A0FD2-9664-D31C-56F0-7DA9845C5726}"/>
              </a:ext>
            </a:extLst>
          </p:cNvPr>
          <p:cNvSpPr/>
          <p:nvPr/>
        </p:nvSpPr>
        <p:spPr>
          <a:xfrm>
            <a:off x="7281428" y="53685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0</a:t>
            </a:r>
            <a:endParaRPr kumimoji="1" lang="en-IN" sz="1000" dirty="0">
              <a:solidFill>
                <a:schemeClr val="bg1"/>
              </a:solidFill>
            </a:endParaRPr>
          </a:p>
        </p:txBody>
      </p:sp>
      <p:sp>
        <p:nvSpPr>
          <p:cNvPr id="60" name="Oval 59">
            <a:extLst>
              <a:ext uri="{FF2B5EF4-FFF2-40B4-BE49-F238E27FC236}">
                <a16:creationId xmlns:a16="http://schemas.microsoft.com/office/drawing/2014/main" id="{95A504A4-03FE-7787-F90E-B03E4A7BD78E}"/>
              </a:ext>
            </a:extLst>
          </p:cNvPr>
          <p:cNvSpPr/>
          <p:nvPr/>
        </p:nvSpPr>
        <p:spPr>
          <a:xfrm>
            <a:off x="7281428" y="50291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62" name="Oval 61">
            <a:extLst>
              <a:ext uri="{FF2B5EF4-FFF2-40B4-BE49-F238E27FC236}">
                <a16:creationId xmlns:a16="http://schemas.microsoft.com/office/drawing/2014/main" id="{276E4FC4-36BD-BA49-5955-E41923766778}"/>
              </a:ext>
            </a:extLst>
          </p:cNvPr>
          <p:cNvSpPr/>
          <p:nvPr/>
        </p:nvSpPr>
        <p:spPr>
          <a:xfrm>
            <a:off x="7281428" y="468087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8</a:t>
            </a:r>
            <a:endParaRPr kumimoji="1" lang="en-IN" sz="1000" dirty="0">
              <a:solidFill>
                <a:schemeClr val="bg1"/>
              </a:solidFill>
            </a:endParaRPr>
          </a:p>
        </p:txBody>
      </p:sp>
      <p:sp>
        <p:nvSpPr>
          <p:cNvPr id="65" name="Oval 64">
            <a:extLst>
              <a:ext uri="{FF2B5EF4-FFF2-40B4-BE49-F238E27FC236}">
                <a16:creationId xmlns:a16="http://schemas.microsoft.com/office/drawing/2014/main" id="{03D77806-1B96-F6B1-F9A9-975D9F1349B8}"/>
              </a:ext>
            </a:extLst>
          </p:cNvPr>
          <p:cNvSpPr/>
          <p:nvPr/>
        </p:nvSpPr>
        <p:spPr>
          <a:xfrm>
            <a:off x="7281428" y="43452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66" name="Oval 65">
            <a:extLst>
              <a:ext uri="{FF2B5EF4-FFF2-40B4-BE49-F238E27FC236}">
                <a16:creationId xmlns:a16="http://schemas.microsoft.com/office/drawing/2014/main" id="{1473F449-F0B8-16B0-FD96-9DF86C1CC3A9}"/>
              </a:ext>
            </a:extLst>
          </p:cNvPr>
          <p:cNvSpPr/>
          <p:nvPr/>
        </p:nvSpPr>
        <p:spPr>
          <a:xfrm>
            <a:off x="7281428" y="40270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67" name="Oval 66">
            <a:extLst>
              <a:ext uri="{FF2B5EF4-FFF2-40B4-BE49-F238E27FC236}">
                <a16:creationId xmlns:a16="http://schemas.microsoft.com/office/drawing/2014/main" id="{17E5D126-97EA-C3CF-F585-7BC19822C482}"/>
              </a:ext>
            </a:extLst>
          </p:cNvPr>
          <p:cNvSpPr/>
          <p:nvPr/>
        </p:nvSpPr>
        <p:spPr>
          <a:xfrm>
            <a:off x="7281428" y="36543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5</a:t>
            </a:r>
            <a:endParaRPr kumimoji="1" lang="en-IN" sz="1000" dirty="0">
              <a:solidFill>
                <a:schemeClr val="bg1"/>
              </a:solidFill>
            </a:endParaRPr>
          </a:p>
        </p:txBody>
      </p:sp>
      <p:sp>
        <p:nvSpPr>
          <p:cNvPr id="68" name="Oval 67">
            <a:extLst>
              <a:ext uri="{FF2B5EF4-FFF2-40B4-BE49-F238E27FC236}">
                <a16:creationId xmlns:a16="http://schemas.microsoft.com/office/drawing/2014/main" id="{16FD1D00-9232-073E-9A9D-477804770CFA}"/>
              </a:ext>
            </a:extLst>
          </p:cNvPr>
          <p:cNvSpPr/>
          <p:nvPr/>
        </p:nvSpPr>
        <p:spPr>
          <a:xfrm>
            <a:off x="7281428" y="332156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4</a:t>
            </a:r>
            <a:endParaRPr kumimoji="1" lang="en-IN" sz="1000" dirty="0">
              <a:solidFill>
                <a:schemeClr val="bg1"/>
              </a:solidFill>
            </a:endParaRPr>
          </a:p>
        </p:txBody>
      </p:sp>
      <p:sp>
        <p:nvSpPr>
          <p:cNvPr id="69" name="Oval 68">
            <a:extLst>
              <a:ext uri="{FF2B5EF4-FFF2-40B4-BE49-F238E27FC236}">
                <a16:creationId xmlns:a16="http://schemas.microsoft.com/office/drawing/2014/main" id="{CB029234-609E-5A10-EC07-78B6D1FDC047}"/>
              </a:ext>
            </a:extLst>
          </p:cNvPr>
          <p:cNvSpPr/>
          <p:nvPr/>
        </p:nvSpPr>
        <p:spPr>
          <a:xfrm>
            <a:off x="7289482" y="29949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3</a:t>
            </a:r>
            <a:endParaRPr kumimoji="1" lang="en-IN" sz="1000" dirty="0">
              <a:solidFill>
                <a:schemeClr val="bg1"/>
              </a:solidFill>
            </a:endParaRPr>
          </a:p>
        </p:txBody>
      </p:sp>
      <p:sp>
        <p:nvSpPr>
          <p:cNvPr id="70" name="Oval 69">
            <a:extLst>
              <a:ext uri="{FF2B5EF4-FFF2-40B4-BE49-F238E27FC236}">
                <a16:creationId xmlns:a16="http://schemas.microsoft.com/office/drawing/2014/main" id="{04E04966-44FF-9730-7A21-9EF4A6104012}"/>
              </a:ext>
            </a:extLst>
          </p:cNvPr>
          <p:cNvSpPr/>
          <p:nvPr/>
        </p:nvSpPr>
        <p:spPr>
          <a:xfrm>
            <a:off x="7289482" y="26549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71" name="Oval 70">
            <a:extLst>
              <a:ext uri="{FF2B5EF4-FFF2-40B4-BE49-F238E27FC236}">
                <a16:creationId xmlns:a16="http://schemas.microsoft.com/office/drawing/2014/main" id="{DE908E12-CCAD-B1AC-3710-D70106C6F7F3}"/>
              </a:ext>
            </a:extLst>
          </p:cNvPr>
          <p:cNvSpPr/>
          <p:nvPr/>
        </p:nvSpPr>
        <p:spPr>
          <a:xfrm>
            <a:off x="7289482" y="230159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a:t>
            </a:r>
            <a:endParaRPr kumimoji="1" lang="en-IN" sz="1000" dirty="0">
              <a:solidFill>
                <a:schemeClr val="bg1"/>
              </a:solidFill>
            </a:endParaRPr>
          </a:p>
        </p:txBody>
      </p:sp>
      <p:sp>
        <p:nvSpPr>
          <p:cNvPr id="72" name="Oval 71">
            <a:extLst>
              <a:ext uri="{FF2B5EF4-FFF2-40B4-BE49-F238E27FC236}">
                <a16:creationId xmlns:a16="http://schemas.microsoft.com/office/drawing/2014/main" id="{36FEC81C-0EBA-5754-9FE9-7AF29E6E1149}"/>
              </a:ext>
            </a:extLst>
          </p:cNvPr>
          <p:cNvSpPr/>
          <p:nvPr/>
        </p:nvSpPr>
        <p:spPr>
          <a:xfrm>
            <a:off x="7281428" y="571624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cxnSp>
        <p:nvCxnSpPr>
          <p:cNvPr id="74" name="Straight Arrow Connector 73">
            <a:extLst>
              <a:ext uri="{FF2B5EF4-FFF2-40B4-BE49-F238E27FC236}">
                <a16:creationId xmlns:a16="http://schemas.microsoft.com/office/drawing/2014/main" id="{9181BCB7-7428-3EBC-097B-691A4645F6DE}"/>
              </a:ext>
            </a:extLst>
          </p:cNvPr>
          <p:cNvCxnSpPr>
            <a:cxnSpLocks/>
            <a:stCxn id="48" idx="6"/>
            <a:endCxn id="70" idx="2"/>
          </p:cNvCxnSpPr>
          <p:nvPr/>
        </p:nvCxnSpPr>
        <p:spPr>
          <a:xfrm>
            <a:off x="7050413" y="27573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346A20-1B5D-6B27-2711-9EACF6F806EB}"/>
              </a:ext>
            </a:extLst>
          </p:cNvPr>
          <p:cNvCxnSpPr>
            <a:cxnSpLocks/>
          </p:cNvCxnSpPr>
          <p:nvPr/>
        </p:nvCxnSpPr>
        <p:spPr>
          <a:xfrm>
            <a:off x="7050413" y="310148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2245D09-F002-BC43-2178-F4BBE22BBC36}"/>
              </a:ext>
            </a:extLst>
          </p:cNvPr>
          <p:cNvCxnSpPr>
            <a:cxnSpLocks/>
          </p:cNvCxnSpPr>
          <p:nvPr/>
        </p:nvCxnSpPr>
        <p:spPr>
          <a:xfrm>
            <a:off x="7050413" y="3422854"/>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5DBAF0B-3862-58E9-EEFD-99A9D59268A9}"/>
              </a:ext>
            </a:extLst>
          </p:cNvPr>
          <p:cNvCxnSpPr>
            <a:cxnSpLocks/>
            <a:stCxn id="42" idx="6"/>
            <a:endCxn id="66" idx="2"/>
          </p:cNvCxnSpPr>
          <p:nvPr/>
        </p:nvCxnSpPr>
        <p:spPr>
          <a:xfrm>
            <a:off x="7042359" y="3756821"/>
            <a:ext cx="239069" cy="372667"/>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08E2A65-B59B-61A6-1AAA-19B439A0FD54}"/>
              </a:ext>
            </a:extLst>
          </p:cNvPr>
          <p:cNvCxnSpPr>
            <a:cxnSpLocks/>
            <a:stCxn id="41" idx="6"/>
            <a:endCxn id="67" idx="2"/>
          </p:cNvCxnSpPr>
          <p:nvPr/>
        </p:nvCxnSpPr>
        <p:spPr>
          <a:xfrm flipV="1">
            <a:off x="7042359" y="3756821"/>
            <a:ext cx="239069" cy="372667"/>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7A614B6-EBA4-73BC-4FDF-A2039DF6B61F}"/>
              </a:ext>
            </a:extLst>
          </p:cNvPr>
          <p:cNvCxnSpPr>
            <a:cxnSpLocks/>
            <a:stCxn id="40" idx="6"/>
            <a:endCxn id="62" idx="3"/>
          </p:cNvCxnSpPr>
          <p:nvPr/>
        </p:nvCxnSpPr>
        <p:spPr>
          <a:xfrm>
            <a:off x="7042359" y="4447660"/>
            <a:ext cx="291105" cy="40806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4B1078B-DEF9-84DD-FFEF-3F90D44D54D3}"/>
              </a:ext>
            </a:extLst>
          </p:cNvPr>
          <p:cNvCxnSpPr>
            <a:cxnSpLocks/>
            <a:stCxn id="39" idx="6"/>
            <a:endCxn id="65" idx="2"/>
          </p:cNvCxnSpPr>
          <p:nvPr/>
        </p:nvCxnSpPr>
        <p:spPr>
          <a:xfrm flipV="1">
            <a:off x="7042359" y="4447660"/>
            <a:ext cx="239069" cy="335639"/>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2ABC03AF-7274-E7CB-CC39-5792A9CCF180}"/>
              </a:ext>
            </a:extLst>
          </p:cNvPr>
          <p:cNvCxnSpPr>
            <a:cxnSpLocks/>
            <a:stCxn id="37" idx="6"/>
            <a:endCxn id="60" idx="2"/>
          </p:cNvCxnSpPr>
          <p:nvPr/>
        </p:nvCxnSpPr>
        <p:spPr>
          <a:xfrm>
            <a:off x="7042359" y="513162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ABAE9462-D371-2467-B480-A636E43BCF61}"/>
              </a:ext>
            </a:extLst>
          </p:cNvPr>
          <p:cNvCxnSpPr>
            <a:cxnSpLocks/>
            <a:stCxn id="32" idx="6"/>
          </p:cNvCxnSpPr>
          <p:nvPr/>
        </p:nvCxnSpPr>
        <p:spPr>
          <a:xfrm>
            <a:off x="7059378" y="5471017"/>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FAE500F-56A9-B971-5198-18AE8B5BC1FB}"/>
              </a:ext>
            </a:extLst>
          </p:cNvPr>
          <p:cNvCxnSpPr>
            <a:cxnSpLocks/>
          </p:cNvCxnSpPr>
          <p:nvPr/>
        </p:nvCxnSpPr>
        <p:spPr>
          <a:xfrm>
            <a:off x="7042359" y="5818673"/>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55E058B7-BBB5-9D7C-8D26-53E46167C2A1}"/>
              </a:ext>
            </a:extLst>
          </p:cNvPr>
          <p:cNvSpPr/>
          <p:nvPr/>
        </p:nvSpPr>
        <p:spPr>
          <a:xfrm>
            <a:off x="6687033" y="607495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sp>
        <p:nvSpPr>
          <p:cNvPr id="121" name="Oval 120">
            <a:extLst>
              <a:ext uri="{FF2B5EF4-FFF2-40B4-BE49-F238E27FC236}">
                <a16:creationId xmlns:a16="http://schemas.microsoft.com/office/drawing/2014/main" id="{FF77DF51-5FA3-B414-634F-16B0AC86AD86}"/>
              </a:ext>
            </a:extLst>
          </p:cNvPr>
          <p:cNvSpPr/>
          <p:nvPr/>
        </p:nvSpPr>
        <p:spPr>
          <a:xfrm>
            <a:off x="7281426" y="607495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cxnSp>
        <p:nvCxnSpPr>
          <p:cNvPr id="132" name="Straight Arrow Connector 131">
            <a:extLst>
              <a:ext uri="{FF2B5EF4-FFF2-40B4-BE49-F238E27FC236}">
                <a16:creationId xmlns:a16="http://schemas.microsoft.com/office/drawing/2014/main" id="{B9954585-8F7E-DFDD-0566-1FCB5673CA52}"/>
              </a:ext>
            </a:extLst>
          </p:cNvPr>
          <p:cNvCxnSpPr>
            <a:cxnSpLocks/>
          </p:cNvCxnSpPr>
          <p:nvPr/>
        </p:nvCxnSpPr>
        <p:spPr>
          <a:xfrm>
            <a:off x="7042357" y="617738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400350"/>
            <a:ext cx="5270485" cy="144012"/>
          </a:xfrm>
          <a:prstGeom prst="rect">
            <a:avLst/>
          </a:prstGeom>
          <a:noFill/>
        </p:spPr>
        <p:txBody>
          <a:bodyPr wrap="square" lIns="0" tIns="0" rIns="0" bIns="0" rtlCol="0">
            <a:noAutofit/>
          </a:bodyPr>
          <a:lstStyle/>
          <a:p>
            <a:pPr lvl="0">
              <a:defRPr/>
            </a:pPr>
            <a:r>
              <a:rPr lang="ja-JP" altLang="en-US" sz="800" dirty="0">
                <a:solidFill>
                  <a:srgbClr val="000000"/>
                </a:solidFill>
                <a:latin typeface="Yu Gothic UI"/>
                <a:ea typeface="Yu Gothic UI"/>
              </a:rPr>
              <a:t>その他：皮膚および皮下組織の疾患、筋骨格系および結合組織の疾患、妊娠、出産および産褥、他に分類されない症状、徴候および異常な臨床検査値および検査値、耳および乳様突起の疾患、精神および行動の障害、筋骨格系および結合組織の疾患</a:t>
            </a:r>
          </a:p>
        </p:txBody>
      </p:sp>
      <p:sp>
        <p:nvSpPr>
          <p:cNvPr id="138" name="テキスト ボックス 74">
            <a:extLst>
              <a:ext uri="{FF2B5EF4-FFF2-40B4-BE49-F238E27FC236}">
                <a16:creationId xmlns:a16="http://schemas.microsoft.com/office/drawing/2014/main" id="{14063C24-DEAB-C535-5CF1-737A3D2E702D}"/>
              </a:ext>
            </a:extLst>
          </p:cNvPr>
          <p:cNvSpPr txBox="1"/>
          <p:nvPr/>
        </p:nvSpPr>
        <p:spPr>
          <a:xfrm>
            <a:off x="5674942" y="6406160"/>
            <a:ext cx="2808312" cy="144012"/>
          </a:xfrm>
          <a:prstGeom prst="rect">
            <a:avLst/>
          </a:prstGeom>
          <a:noFill/>
        </p:spPr>
        <p:txBody>
          <a:bodyPr wrap="square" lIns="0" tIns="0" rIns="0" bIns="0" rtlCol="0">
            <a:noAutofit/>
          </a:bodyPr>
          <a:lstStyle/>
          <a:p>
            <a:pPr lvl="0">
              <a:defRPr/>
            </a:pPr>
            <a:r>
              <a:rPr lang="ja-JP" altLang="en-US" sz="800" dirty="0">
                <a:solidFill>
                  <a:srgbClr val="000000"/>
                </a:solidFill>
                <a:latin typeface="Yu Gothic UI"/>
                <a:ea typeface="Yu Gothic UI"/>
              </a:rPr>
              <a:t>*男性と女性の合計は死亡者数と一致しないため、出典に記載されているのと同じデータを使用しました。</a:t>
            </a:r>
          </a:p>
        </p:txBody>
      </p:sp>
    </p:spTree>
    <p:extLst>
      <p:ext uri="{BB962C8B-B14F-4D97-AF65-F5344CB8AC3E}">
        <p14:creationId xmlns:p14="http://schemas.microsoft.com/office/powerpoint/2010/main" val="1259682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52AE6-335E-2B7E-2E1C-1B98994E39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1B8889-5F44-FD86-3507-846D9EE29B3F}"/>
              </a:ext>
            </a:extLst>
          </p:cNvPr>
          <p:cNvGraphicFramePr>
            <a:graphicFrameLocks/>
          </p:cNvGraphicFramePr>
          <p:nvPr>
            <p:custDataLst>
              <p:tags r:id="rId1"/>
            </p:custDataLst>
            <p:extLst>
              <p:ext uri="{D42A27DB-BD31-4B8C-83A1-F6EECF244321}">
                <p14:modId xmlns:p14="http://schemas.microsoft.com/office/powerpoint/2010/main" val="15838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B770C8E-A816-5972-0956-7A613353BB28}"/>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DD74EEA-8EE2-E425-4154-1FBAEA04491F}"/>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CEC616E-641E-F836-78D5-C1EB396937C7}"/>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40A7E1-1A94-D67D-FB1B-76CB50DCD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A298C59-3CCA-4CE1-C732-5E459E3AA07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5D99FB50-6FB3-D5DA-74B7-D55CB2931DBD}"/>
              </a:ext>
            </a:extLst>
          </p:cNvPr>
          <p:cNvGraphicFramePr>
            <a:graphicFrameLocks/>
          </p:cNvGraphicFramePr>
          <p:nvPr>
            <p:extLst>
              <p:ext uri="{D42A27DB-BD31-4B8C-83A1-F6EECF244321}">
                <p14:modId xmlns:p14="http://schemas.microsoft.com/office/powerpoint/2010/main" val="760366220"/>
              </p:ext>
            </p:extLst>
          </p:nvPr>
        </p:nvGraphicFramePr>
        <p:xfrm>
          <a:off x="199739" y="2202552"/>
          <a:ext cx="9529530" cy="352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4</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a:solidFill>
                            <a:schemeClr val="tx1"/>
                          </a:solidFill>
                          <a:effectLst/>
                          <a:latin typeface="+mn-lt"/>
                          <a:ea typeface="+mn-ea"/>
                          <a:cs typeface="+mn-cs"/>
                        </a:rPr>
                        <a:t>合計死</a:t>
                      </a:r>
                      <a:r>
                        <a:rPr kumimoji="1" lang="ja-JP" altLang="en-US" sz="1000" b="1" i="0" u="none" strike="noStrike" kern="1200" dirty="0">
                          <a:solidFill>
                            <a:schemeClr val="tx1"/>
                          </a:solidFill>
                          <a:effectLst/>
                          <a:latin typeface="+mn-lt"/>
                          <a:ea typeface="+mn-ea"/>
                          <a:cs typeface="+mn-cs"/>
                        </a:rPr>
                        <a:t>亡者数：</a:t>
                      </a:r>
                      <a:r>
                        <a:rPr kumimoji="1" lang="en-US" altLang="ja-JP" sz="1000" b="1" i="0" u="none" strike="noStrike" kern="1200" dirty="0">
                          <a:solidFill>
                            <a:schemeClr val="tx1"/>
                          </a:solidFill>
                          <a:effectLst/>
                          <a:latin typeface="+mn-lt"/>
                          <a:ea typeface="+mn-ea"/>
                          <a:cs typeface="+mn-cs"/>
                        </a:rPr>
                        <a:t>156</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rPr>
                        <a:t>a. 残りの特定の感染症および寄生虫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4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40.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40.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rPr>
                        <a:t>b. 敗血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33.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27.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38.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rPr>
                        <a:t>c. その他の節足動物媒介性ウイルス性発熱およびウイルス</a:t>
                      </a:r>
                      <a:r>
                        <a:rPr lang="ja" sz="1000" b="0" i="0" u="none" strike="noStrike" dirty="0" err="1">
                          <a:solidFill>
                            <a:srgbClr val="000000"/>
                          </a:solidFill>
                          <a:effectLst/>
                          <a:latin typeface="+mn-lt"/>
                        </a:rPr>
                        <a:t>性出血</a:t>
                      </a:r>
                      <a:r>
                        <a:rPr lang="ja" sz="1000" b="0" i="0" u="none" strike="noStrike" dirty="0">
                          <a:solidFill>
                            <a:srgbClr val="000000"/>
                          </a:solidFill>
                          <a:effectLst/>
                          <a:latin typeface="+mn-lt"/>
                        </a:rPr>
                        <a:t>熱</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6.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9.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rPr>
                        <a:t>2.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rPr>
                        <a:t>d.感染起源と推定される</a:t>
                      </a:r>
                      <a:r>
                        <a:rPr lang="ja" sz="1000" b="0" i="0" u="none" strike="noStrike" dirty="0" err="1">
                          <a:solidFill>
                            <a:srgbClr val="000000"/>
                          </a:solidFill>
                          <a:effectLst/>
                          <a:latin typeface="+mn-lt"/>
                        </a:rPr>
                        <a:t>下痢および胃腸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5.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5.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rPr>
                        <a:t>e. 呼吸器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7.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3.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rPr>
                        <a:t>f. その他の腸管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4.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7.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rPr>
                        <a:t>g. その他の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1.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rPr>
                        <a:t>h. ウイルス性肝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3.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lt"/>
                        </a:rPr>
                        <a:t>i </a:t>
                      </a:r>
                      <a:r>
                        <a:rPr lang="ja" sz="1000" b="0" i="0" u="none" strike="noStrike" dirty="0">
                          <a:solidFill>
                            <a:srgbClr val="000000"/>
                          </a:solidFill>
                          <a:effectLst/>
                          <a:latin typeface="+mn-lt"/>
                        </a:rPr>
                        <a:t>. ヒト免疫不全ウイルス（HIV）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0.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rPr>
                        <a:t>j. コレラ</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rPr>
                        <a:t>k. ペスト</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rPr>
                        <a:t>l. 破傷風</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6B3096F5-81C5-47C7-15B7-18B16D12C350}"/>
              </a:ext>
            </a:extLst>
          </p:cNvPr>
          <p:cNvSpPr txBox="1"/>
          <p:nvPr/>
        </p:nvSpPr>
        <p:spPr>
          <a:xfrm>
            <a:off x="134798" y="1951835"/>
            <a:ext cx="2417448" cy="261610"/>
          </a:xfrm>
          <a:prstGeom prst="rect">
            <a:avLst/>
          </a:prstGeom>
          <a:noFill/>
        </p:spPr>
        <p:txBody>
          <a:bodyPr wrap="square">
            <a:spAutoFit/>
          </a:bodyPr>
          <a:lstStyle/>
          <a:p>
            <a:r>
              <a:rPr lang="ja" altLang="ja-JP" sz="1100" b="1" dirty="0"/>
              <a:t>①特定の感染症および寄生虫病</a:t>
            </a:r>
          </a:p>
        </p:txBody>
      </p:sp>
      <p:sp>
        <p:nvSpPr>
          <p:cNvPr id="21" name="テキスト ボックス 20">
            <a:extLst>
              <a:ext uri="{FF2B5EF4-FFF2-40B4-BE49-F238E27FC236}">
                <a16:creationId xmlns:a16="http://schemas.microsoft.com/office/drawing/2014/main" id="{40D856DD-9B52-FCCD-76B3-5722B4E54DE3}"/>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特定の感染症および寄生虫病の中で、敗血症は死亡原因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3%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最も多い原因となっている。</a:t>
            </a:r>
          </a:p>
        </p:txBody>
      </p:sp>
      <p:sp>
        <p:nvSpPr>
          <p:cNvPr id="9" name="テキスト ボックス 74">
            <a:extLst>
              <a:ext uri="{FF2B5EF4-FFF2-40B4-BE49-F238E27FC236}">
                <a16:creationId xmlns:a16="http://schemas.microsoft.com/office/drawing/2014/main" id="{71766889-B20B-4345-8541-32D8879A8ABF}"/>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89462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0997A-7F77-07CE-05D9-3D71095A172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66AA8D-07FF-A057-18CD-62C5A0A9885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5A1B8889-5F44-FD86-3507-846D9EE29B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D694DA0-C9D3-35F6-E57B-7C695DDD2374}"/>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C0D5D303-59EE-B178-2CA2-B81075BDE1F6}"/>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2D302129-3885-AF55-EAB0-AA6A74B1A42E}"/>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9816C6F7-BBDC-361B-802B-0508BCE0A3E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30607C6-FEEC-702D-4F1E-F61481E42206}"/>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267D1BD3-5A49-C883-A661-3F63E170DD18}"/>
              </a:ext>
            </a:extLst>
          </p:cNvPr>
          <p:cNvGraphicFramePr>
            <a:graphicFrameLocks/>
          </p:cNvGraphicFramePr>
          <p:nvPr>
            <p:extLst>
              <p:ext uri="{D42A27DB-BD31-4B8C-83A1-F6EECF244321}">
                <p14:modId xmlns:p14="http://schemas.microsoft.com/office/powerpoint/2010/main" val="2700634955"/>
              </p:ext>
            </p:extLst>
          </p:nvPr>
        </p:nvGraphicFramePr>
        <p:xfrm>
          <a:off x="199739" y="2202552"/>
          <a:ext cx="9529530" cy="352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4</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6</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rPr>
                        <a:t>m. ジフテリア</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rPr>
                        <a:t>n. 百日咳</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rPr>
                        <a:t>o. 髄膜炎菌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rPr>
                        <a:t>p. 主に性的感染による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rPr>
                        <a:t>q. 急性ポリオ</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rPr>
                        <a:t>r. 狂犬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rPr>
                        <a:t>黄熱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rPr>
                        <a:t>t. 麻疹</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a:solidFill>
                            <a:srgbClr val="000000"/>
                          </a:solidFill>
                          <a:effectLst/>
                          <a:latin typeface="+mn-lt"/>
                        </a:rPr>
                        <a:t>u. マラリア</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rPr>
                        <a:t>v. リーシュマニア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rPr>
                        <a:t>トリパノソーマ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rPr>
                        <a:t>x. 住血吸虫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5F931B95-32F8-30EE-05DE-87DE4B48F8D7}"/>
              </a:ext>
            </a:extLst>
          </p:cNvPr>
          <p:cNvSpPr txBox="1"/>
          <p:nvPr/>
        </p:nvSpPr>
        <p:spPr>
          <a:xfrm>
            <a:off x="134798" y="1951835"/>
            <a:ext cx="2417448" cy="261610"/>
          </a:xfrm>
          <a:prstGeom prst="rect">
            <a:avLst/>
          </a:prstGeom>
          <a:noFill/>
        </p:spPr>
        <p:txBody>
          <a:bodyPr wrap="square">
            <a:spAutoFit/>
          </a:bodyPr>
          <a:lstStyle/>
          <a:p>
            <a:r>
              <a:rPr lang="ja" altLang="ja-JP" sz="1100" b="1" dirty="0"/>
              <a:t>①特定の感染症および寄生虫病</a:t>
            </a:r>
          </a:p>
        </p:txBody>
      </p:sp>
      <p:sp>
        <p:nvSpPr>
          <p:cNvPr id="21" name="テキスト ボックス 20">
            <a:extLst>
              <a:ext uri="{FF2B5EF4-FFF2-40B4-BE49-F238E27FC236}">
                <a16:creationId xmlns:a16="http://schemas.microsoft.com/office/drawing/2014/main" id="{F8A23059-C863-BC4B-85BA-01859191BC5C}"/>
              </a:ext>
            </a:extLst>
          </p:cNvPr>
          <p:cNvSpPr txBox="1"/>
          <p:nvPr/>
        </p:nvSpPr>
        <p:spPr>
          <a:xfrm>
            <a:off x="217314" y="1093093"/>
            <a:ext cx="9505056" cy="21666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noProof="1">
                <a:solidFill>
                  <a:srgbClr val="000000"/>
                </a:solidFill>
              </a:rPr>
              <a:t>特定の感染症および寄生虫病の中で、敗血症は死亡原因の </a:t>
            </a:r>
            <a:r>
              <a:rPr lang="en-US" altLang="ja-JP" sz="1400" noProof="1">
                <a:solidFill>
                  <a:srgbClr val="000000"/>
                </a:solidFill>
              </a:rPr>
              <a:t>33% </a:t>
            </a:r>
            <a:r>
              <a:rPr lang="ja-JP" altLang="en-US" sz="1400" noProof="1">
                <a:solidFill>
                  <a:srgbClr val="000000"/>
                </a:solidFill>
              </a:rPr>
              <a:t>を占め、最も多い原因となっている。</a:t>
            </a:r>
          </a:p>
        </p:txBody>
      </p:sp>
      <p:sp>
        <p:nvSpPr>
          <p:cNvPr id="9" name="テキスト ボックス 74">
            <a:extLst>
              <a:ext uri="{FF2B5EF4-FFF2-40B4-BE49-F238E27FC236}">
                <a16:creationId xmlns:a16="http://schemas.microsoft.com/office/drawing/2014/main" id="{A3A9B940-1DF6-983A-9478-A6A9DA619046}"/>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28515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484B6-11B8-61AC-B549-A99C3A2667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979DB7-8743-2279-AEFA-E858BB6686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3366AA8D-07FF-A057-18CD-62C5A0A988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69BDE0C-3E23-C0A7-CE50-EC62950C4BD0}"/>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38FE0BF-0EC8-EEE9-371D-0C882B2F37E0}"/>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4400D42E-0D71-5EBC-0EA9-7F55292C643C}"/>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682140EF-4516-E0DC-587D-82C30A2D5B4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D62E2EA-2F94-37A5-58EE-D4EE11EB86D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22656FFC-0534-34E8-308D-8F8E9D7A2DCE}"/>
              </a:ext>
            </a:extLst>
          </p:cNvPr>
          <p:cNvGraphicFramePr>
            <a:graphicFrameLocks/>
          </p:cNvGraphicFramePr>
          <p:nvPr>
            <p:extLst>
              <p:ext uri="{D42A27DB-BD31-4B8C-83A1-F6EECF244321}">
                <p14:modId xmlns:p14="http://schemas.microsoft.com/office/powerpoint/2010/main" val="2415196681"/>
              </p:ext>
            </p:extLst>
          </p:nvPr>
        </p:nvGraphicFramePr>
        <p:xfrm>
          <a:off x="199739" y="2202552"/>
          <a:ext cx="9529530" cy="3607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173</a:t>
                      </a:r>
                      <a:r>
                        <a:rPr kumimoji="1" lang="ja-JP" altLang="en-US" sz="1000" b="1" i="0" u="none" strike="noStrike" kern="1200" dirty="0">
                          <a:solidFill>
                            <a:schemeClr val="tx1"/>
                          </a:solidFill>
                          <a:effectLst/>
                          <a:latin typeface="+mn-lt"/>
                          <a:ea typeface="+mn-ea"/>
                          <a:cs typeface="+mn-cs"/>
                        </a:rPr>
                        <a:t>人</a:t>
                      </a:r>
                      <a:r>
                        <a:rPr kumimoji="1" lang="en-US" altLang="ja-JP" sz="1000" b="1" i="0" u="none" strike="noStrike" kern="1200" dirty="0">
                          <a:solidFill>
                            <a:schemeClr val="tx1"/>
                          </a:solidFill>
                          <a:effectLst/>
                          <a:latin typeface="+mn-lt"/>
                          <a:ea typeface="+mn-ea"/>
                          <a:cs typeface="+mn-cs"/>
                        </a:rPr>
                        <a:t>)</a:t>
                      </a:r>
                      <a:endParaRPr kumimoji="1" lang="en-IN" sz="1000" b="1" i="0" u="none" strike="noStrike" kern="1200" dirty="0">
                        <a:solidFill>
                          <a:schemeClr val="tx1"/>
                        </a:solidFill>
                        <a:effectLst/>
                        <a:highlight>
                          <a:srgbClr val="FFFF00"/>
                        </a:highligh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816</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35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a. 気管、気管支、肺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4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9.8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3.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5.0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b. 結腸、直腸、肛門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0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4.4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5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4.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8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14.5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c. 悪性腫瘍の残存</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78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0.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10.87</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d. 肝臓および肝内胆管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6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9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1.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5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e. 膵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63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9.32</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f. 乳が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5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7.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6.18</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g. 胃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3.4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h. 前立腺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6.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lt"/>
                          <a:ea typeface="Yu Gothic" panose="020B0400000000000000" pitchFamily="34" charset="-128"/>
                        </a:rPr>
                        <a:t>i </a:t>
                      </a:r>
                      <a:r>
                        <a:rPr lang="ja" sz="1000" b="0" i="0" u="none" strike="noStrike" dirty="0">
                          <a:solidFill>
                            <a:srgbClr val="000000"/>
                          </a:solidFill>
                          <a:effectLst/>
                          <a:latin typeface="+mn-lt"/>
                          <a:ea typeface="Yu Gothic" panose="020B0400000000000000" pitchFamily="34" charset="-128"/>
                        </a:rPr>
                        <a:t>. 非ホジキンリンパ腫</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9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2.68</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j. 口唇、口腔、咽頭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9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3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70</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k. 腫瘍の残存</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7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4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56</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l. 白血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7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4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8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8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5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m. 卵巣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59</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83721234"/>
                  </a:ext>
                </a:extLst>
              </a:tr>
            </a:tbl>
          </a:graphicData>
        </a:graphic>
      </p:graphicFrame>
      <p:sp>
        <p:nvSpPr>
          <p:cNvPr id="12" name="TextBox 13">
            <a:extLst>
              <a:ext uri="{FF2B5EF4-FFF2-40B4-BE49-F238E27FC236}">
                <a16:creationId xmlns:a16="http://schemas.microsoft.com/office/drawing/2014/main" id="{D2149FDF-24AA-DA21-6DE8-4C41FD5EA079}"/>
              </a:ext>
            </a:extLst>
          </p:cNvPr>
          <p:cNvSpPr txBox="1"/>
          <p:nvPr/>
        </p:nvSpPr>
        <p:spPr>
          <a:xfrm>
            <a:off x="134798" y="1951835"/>
            <a:ext cx="2417448" cy="261610"/>
          </a:xfrm>
          <a:prstGeom prst="rect">
            <a:avLst/>
          </a:prstGeom>
          <a:noFill/>
        </p:spPr>
        <p:txBody>
          <a:bodyPr wrap="square">
            <a:spAutoFit/>
          </a:bodyPr>
          <a:lstStyle/>
          <a:p>
            <a:r>
              <a:rPr lang="ja" altLang="ja-JP" sz="1100" b="1" dirty="0"/>
              <a:t>② 腫瘍</a:t>
            </a:r>
          </a:p>
        </p:txBody>
      </p:sp>
      <p:sp>
        <p:nvSpPr>
          <p:cNvPr id="21" name="テキスト ボックス 20">
            <a:extLst>
              <a:ext uri="{FF2B5EF4-FFF2-40B4-BE49-F238E27FC236}">
                <a16:creationId xmlns:a16="http://schemas.microsoft.com/office/drawing/2014/main" id="{2181DA2F-9CA1-4CE6-C7AA-CB7EF5D32FD1}"/>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新生物のうち、気管、気管支、肺の悪性新生物が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死亡者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32014109-C7E6-BE10-CE10-496BD456BF4B}"/>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01593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CBCF2-F72D-7858-8B07-3AB95B87407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E5965D-7145-2FD7-EF94-5CFDC078E6E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C2979DB7-8743-2279-AEFA-E858BB668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4F69E5D-933A-8BA0-B1C9-64A5BB6A8DC3}"/>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1B9A3C00-9806-891A-BE44-C1FF9DD7BDD0}"/>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157F217B-C1B2-243C-CBD9-DD9B270F0FA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37969A4C-6208-FEBE-C0F7-FEAA4EEA6D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964D7D0-7BA6-A157-14EE-E63DE58C75F2}"/>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E498157A-E78E-E372-FEFE-6D266176A8B0}"/>
              </a:ext>
            </a:extLst>
          </p:cNvPr>
          <p:cNvGraphicFramePr>
            <a:graphicFrameLocks/>
          </p:cNvGraphicFramePr>
          <p:nvPr>
            <p:extLst>
              <p:ext uri="{D42A27DB-BD31-4B8C-83A1-F6EECF244321}">
                <p14:modId xmlns:p14="http://schemas.microsoft.com/office/powerpoint/2010/main" val="1886470496"/>
              </p:ext>
            </p:extLst>
          </p:nvPr>
        </p:nvGraphicFramePr>
        <p:xfrm>
          <a:off x="199739" y="2202552"/>
          <a:ext cx="9529530" cy="2718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173</a:t>
                      </a:r>
                      <a:r>
                        <a:rPr kumimoji="1" lang="ja-JP" altLang="en-US" sz="1000" b="1" i="0" u="none" strike="noStrike" kern="1200" dirty="0">
                          <a:solidFill>
                            <a:schemeClr val="tx1"/>
                          </a:solidFill>
                          <a:effectLst/>
                          <a:latin typeface="+mn-lt"/>
                          <a:ea typeface="+mn-ea"/>
                          <a:cs typeface="+mn-cs"/>
                        </a:rPr>
                        <a:t>人</a:t>
                      </a:r>
                      <a:r>
                        <a:rPr kumimoji="1" lang="en-US" altLang="ja-JP" sz="1000" b="1" i="0" u="none" strike="noStrike" kern="1200" dirty="0">
                          <a:solidFill>
                            <a:schemeClr val="tx1"/>
                          </a:solidFill>
                          <a:effectLst/>
                          <a:latin typeface="+mn-lt"/>
                          <a:ea typeface="+mn-ea"/>
                          <a:cs typeface="+mn-cs"/>
                        </a:rPr>
                        <a:t>)</a:t>
                      </a:r>
                      <a:endParaRPr kumimoji="1" lang="en-IN" sz="1000" b="1" i="0" u="none" strike="noStrike" kern="1200" dirty="0">
                        <a:solidFill>
                          <a:schemeClr val="tx1"/>
                        </a:solidFill>
                        <a:effectLst/>
                        <a:highlight>
                          <a:srgbClr val="FFFF00"/>
                        </a:highligh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816</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35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n. 子宮の他の部分および特定されない部分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1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o. 食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69</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p. 髄膜、脳、および中枢神経系の他の部分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7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6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q. 膀胱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2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5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95</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r. 子宮頸部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35</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多発性骨髄腫および悪性形質細胞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8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7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07</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t. 皮膚の悪性黒色腫</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0.2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u. 喉頭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0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bl>
          </a:graphicData>
        </a:graphic>
      </p:graphicFrame>
      <p:sp>
        <p:nvSpPr>
          <p:cNvPr id="12" name="TextBox 13">
            <a:extLst>
              <a:ext uri="{FF2B5EF4-FFF2-40B4-BE49-F238E27FC236}">
                <a16:creationId xmlns:a16="http://schemas.microsoft.com/office/drawing/2014/main" id="{F1E85E70-E7B5-EE32-4473-AC5828DEE7FC}"/>
              </a:ext>
            </a:extLst>
          </p:cNvPr>
          <p:cNvSpPr txBox="1"/>
          <p:nvPr/>
        </p:nvSpPr>
        <p:spPr>
          <a:xfrm>
            <a:off x="134798" y="1951835"/>
            <a:ext cx="2417448" cy="261610"/>
          </a:xfrm>
          <a:prstGeom prst="rect">
            <a:avLst/>
          </a:prstGeom>
          <a:noFill/>
        </p:spPr>
        <p:txBody>
          <a:bodyPr wrap="square">
            <a:spAutoFit/>
          </a:bodyPr>
          <a:lstStyle/>
          <a:p>
            <a:r>
              <a:rPr lang="ja" altLang="ja-JP" sz="1100" b="1" dirty="0"/>
              <a:t>② 腫瘍</a:t>
            </a:r>
          </a:p>
        </p:txBody>
      </p:sp>
      <p:sp>
        <p:nvSpPr>
          <p:cNvPr id="21" name="テキスト ボックス 20">
            <a:extLst>
              <a:ext uri="{FF2B5EF4-FFF2-40B4-BE49-F238E27FC236}">
                <a16:creationId xmlns:a16="http://schemas.microsoft.com/office/drawing/2014/main" id="{980F1D42-25A8-A7E1-7331-5AFFE80DB80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新生物のうち、気管、気管支、肺の悪性新生物が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死亡者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DFB15B5A-E3DE-5A74-CF2D-186BF4DD924F}"/>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87914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ED2B6-04D5-0FDF-939A-61A5EE98CB4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DF90FF-7891-ECFD-EEBE-48ABC2C5CF8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6E5965D-7145-2FD7-EF94-5CFDC078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AADBADA-609E-0FF3-11E2-FE2BBFBF50B9}"/>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D1C3D9A1-8605-26D3-7873-7DED7997E4F9}"/>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1716397-6E39-49A0-66A2-072D4997D281}"/>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AFE541-6B50-0B0B-B684-E7BA6CC992A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63103ED-8B97-9762-0FE4-E4184277D25B}"/>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62765CB0-346C-B85A-167E-5A392A2EF2C5}"/>
              </a:ext>
            </a:extLst>
          </p:cNvPr>
          <p:cNvGraphicFramePr>
            <a:graphicFrameLocks/>
          </p:cNvGraphicFramePr>
          <p:nvPr>
            <p:extLst>
              <p:ext uri="{D42A27DB-BD31-4B8C-83A1-F6EECF244321}">
                <p14:modId xmlns:p14="http://schemas.microsoft.com/office/powerpoint/2010/main" val="2179683360"/>
              </p:ext>
            </p:extLst>
          </p:nvPr>
        </p:nvGraphicFramePr>
        <p:xfrm>
          <a:off x="199739" y="2202552"/>
          <a:ext cx="9529530" cy="1132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5</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indent="0" algn="l" fontAlgn="b">
                        <a:buNone/>
                      </a:pPr>
                      <a:r>
                        <a:rPr lang="ja" sz="1000" b="0" i="0" u="none" strike="noStrike" dirty="0">
                          <a:solidFill>
                            <a:srgbClr val="000000"/>
                          </a:solidFill>
                          <a:effectLst/>
                          <a:latin typeface="+mn-lt"/>
                          <a:ea typeface="Yu Gothic" panose="020B0400000000000000" pitchFamily="34" charset="-128"/>
                        </a:rPr>
                        <a:t>a. 貧血</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3.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57.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b">
                        <a:buNone/>
                      </a:pPr>
                      <a:r>
                        <a:rPr lang="ja" sz="1000" b="0" i="0" u="none" strike="noStrike" dirty="0">
                          <a:solidFill>
                            <a:srgbClr val="000000"/>
                          </a:solidFill>
                          <a:effectLst/>
                          <a:latin typeface="+mn-lt"/>
                          <a:ea typeface="Yu Gothic" panose="020B0400000000000000" pitchFamily="34" charset="-128"/>
                        </a:rPr>
                        <a:t>b. 血液および造血器官の疾患の残りおよび</a:t>
                      </a:r>
                      <a:br>
                        <a:rPr lang="en-US" sz="1000" b="0" i="0" u="none" strike="noStrike" dirty="0">
                          <a:solidFill>
                            <a:srgbClr val="000000"/>
                          </a:solidFill>
                          <a:effectLst/>
                          <a:latin typeface="+mn-lt"/>
                          <a:ea typeface="Yu Gothic" panose="020B0400000000000000" pitchFamily="34" charset="-128"/>
                        </a:rPr>
                      </a:br>
                      <a:r>
                        <a:rPr lang="ja" sz="1000" b="0" i="0" u="none" strike="noStrike" dirty="0">
                          <a:solidFill>
                            <a:srgbClr val="000000"/>
                          </a:solidFill>
                          <a:effectLst/>
                          <a:latin typeface="+mn-lt"/>
                          <a:ea typeface="Yu Gothic" panose="020B0400000000000000" pitchFamily="34" charset="-128"/>
                        </a:rPr>
                        <a:t>免疫機構に関わる特定の障害</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6.6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2.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2" name="TextBox 13">
            <a:extLst>
              <a:ext uri="{FF2B5EF4-FFF2-40B4-BE49-F238E27FC236}">
                <a16:creationId xmlns:a16="http://schemas.microsoft.com/office/drawing/2014/main" id="{8BC3BCBA-5227-37EB-3119-90B321CBA22F}"/>
              </a:ext>
            </a:extLst>
          </p:cNvPr>
          <p:cNvSpPr txBox="1"/>
          <p:nvPr/>
        </p:nvSpPr>
        <p:spPr>
          <a:xfrm>
            <a:off x="134798" y="1951835"/>
            <a:ext cx="7554506" cy="261610"/>
          </a:xfrm>
          <a:prstGeom prst="rect">
            <a:avLst/>
          </a:prstGeom>
          <a:noFill/>
        </p:spPr>
        <p:txBody>
          <a:bodyPr wrap="square">
            <a:spAutoFit/>
          </a:bodyPr>
          <a:lstStyle/>
          <a:p>
            <a:r>
              <a:rPr lang="ja" altLang="ja-JP" sz="1100" b="1" dirty="0"/>
              <a:t>③血液および造血器官の疾患ならびに免疫機構に関わる特定の障害</a:t>
            </a:r>
          </a:p>
        </p:txBody>
      </p:sp>
      <p:sp>
        <p:nvSpPr>
          <p:cNvPr id="21" name="テキスト ボックス 20">
            <a:extLst>
              <a:ext uri="{FF2B5EF4-FFF2-40B4-BE49-F238E27FC236}">
                <a16:creationId xmlns:a16="http://schemas.microsoft.com/office/drawing/2014/main" id="{269EC541-B715-EDD8-B818-600188E7C64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貧血と糖尿病は、それぞれ血液関連疾患と内分泌・栄養・代謝関連疾患の中で、主な死亡原因となっている。</a:t>
            </a:r>
          </a:p>
        </p:txBody>
      </p:sp>
      <p:sp>
        <p:nvSpPr>
          <p:cNvPr id="9" name="テキスト ボックス 74">
            <a:extLst>
              <a:ext uri="{FF2B5EF4-FFF2-40B4-BE49-F238E27FC236}">
                <a16:creationId xmlns:a16="http://schemas.microsoft.com/office/drawing/2014/main" id="{A54C59AF-D8E1-2B93-FB83-353FFD19CA97}"/>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1D9C24F-B6E6-27EA-A0B4-456E85F8E399}"/>
              </a:ext>
            </a:extLst>
          </p:cNvPr>
          <p:cNvGraphicFramePr>
            <a:graphicFrameLocks/>
          </p:cNvGraphicFramePr>
          <p:nvPr>
            <p:extLst>
              <p:ext uri="{D42A27DB-BD31-4B8C-83A1-F6EECF244321}">
                <p14:modId xmlns:p14="http://schemas.microsoft.com/office/powerpoint/2010/main" val="1006297772"/>
              </p:ext>
            </p:extLst>
          </p:nvPr>
        </p:nvGraphicFramePr>
        <p:xfrm>
          <a:off x="199739" y="4085022"/>
          <a:ext cx="9529530" cy="1219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28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3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5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Yu Gothic UI (body)"/>
                        </a:rPr>
                        <a:t>a. 糖尿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Yu Gothic UI (body)"/>
                        </a:rPr>
                        <a:t>2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Yu Gothic UI (body)"/>
                        </a:rPr>
                        <a:t>90.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1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90.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1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90.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Yu Gothic UI (body)"/>
                        </a:rPr>
                        <a:t>b. 残りの内分泌疾患、栄養疾患、代謝疾患</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Yu Gothic UI (body)"/>
                        </a:rPr>
                        <a:t>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9.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Yu Gothic UI (body)"/>
                        </a:rPr>
                        <a:t>9.4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Yu Gothic UI (body)"/>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10.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54862935"/>
                  </a:ext>
                </a:extLst>
              </a:tr>
              <a:tr h="0">
                <a:tc>
                  <a:txBody>
                    <a:bodyPr/>
                    <a:lstStyle/>
                    <a:p>
                      <a:pPr algn="l" fontAlgn="ctr">
                        <a:buNone/>
                      </a:pPr>
                      <a:r>
                        <a:rPr lang="ja" sz="1000" b="0" i="0" u="none" strike="noStrike" dirty="0">
                          <a:solidFill>
                            <a:srgbClr val="000000"/>
                          </a:solidFill>
                          <a:effectLst/>
                          <a:latin typeface="Yu Gothic UI (body)"/>
                        </a:rPr>
                        <a:t>c. 栄養失調</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0" name="TextBox 13">
            <a:extLst>
              <a:ext uri="{FF2B5EF4-FFF2-40B4-BE49-F238E27FC236}">
                <a16:creationId xmlns:a16="http://schemas.microsoft.com/office/drawing/2014/main" id="{318558DB-7784-A163-B08B-30CB76685987}"/>
              </a:ext>
            </a:extLst>
          </p:cNvPr>
          <p:cNvSpPr txBox="1"/>
          <p:nvPr/>
        </p:nvSpPr>
        <p:spPr>
          <a:xfrm>
            <a:off x="134798" y="3834305"/>
            <a:ext cx="7554506" cy="261610"/>
          </a:xfrm>
          <a:prstGeom prst="rect">
            <a:avLst/>
          </a:prstGeom>
          <a:noFill/>
        </p:spPr>
        <p:txBody>
          <a:bodyPr wrap="square">
            <a:spAutoFit/>
          </a:bodyPr>
          <a:lstStyle/>
          <a:p>
            <a:r>
              <a:rPr lang="ja" altLang="ja-JP" sz="1100" b="1" dirty="0"/>
              <a:t>④ 内分泌・栄養・代謝疾患</a:t>
            </a:r>
          </a:p>
        </p:txBody>
      </p:sp>
    </p:spTree>
    <p:extLst>
      <p:ext uri="{BB962C8B-B14F-4D97-AF65-F5344CB8AC3E}">
        <p14:creationId xmlns:p14="http://schemas.microsoft.com/office/powerpoint/2010/main" val="2118376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FED1A8-8482-4AD4-9B8A-27671E02868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2BFED1A8-8482-4AD4-9B8A-27671E0286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の推移</a:t>
            </a:r>
            <a:endParaRPr lang="en-US" altLang="ja-JP" dirty="0"/>
          </a:p>
        </p:txBody>
      </p:sp>
      <p:sp>
        <p:nvSpPr>
          <p:cNvPr id="29" name="テキスト ボックス 28"/>
          <p:cNvSpPr txBox="1"/>
          <p:nvPr/>
        </p:nvSpPr>
        <p:spPr>
          <a:xfrm>
            <a:off x="308482" y="6597351"/>
            <a:ext cx="9289032" cy="21666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ホームページ、シンガポール統計局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5600" indent="-355600"/>
            <a:endParaRPr lang="ja-JP" altLang="ja-JP" sz="800" dirty="0"/>
          </a:p>
        </p:txBody>
      </p:sp>
      <p:graphicFrame>
        <p:nvGraphicFramePr>
          <p:cNvPr id="7" name="Chart 23">
            <a:extLst>
              <a:ext uri="{FF2B5EF4-FFF2-40B4-BE49-F238E27FC236}">
                <a16:creationId xmlns:a16="http://schemas.microsoft.com/office/drawing/2014/main" id="{E50DA274-4723-0732-7EEC-37B3E4992263}"/>
              </a:ext>
            </a:extLst>
          </p:cNvPr>
          <p:cNvGraphicFramePr/>
          <p:nvPr>
            <p:extLst>
              <p:ext uri="{D42A27DB-BD31-4B8C-83A1-F6EECF244321}">
                <p14:modId xmlns:p14="http://schemas.microsoft.com/office/powerpoint/2010/main" val="1742933323"/>
              </p:ext>
            </p:extLst>
          </p:nvPr>
        </p:nvGraphicFramePr>
        <p:xfrm>
          <a:off x="5065988" y="2797685"/>
          <a:ext cx="4639540" cy="3799667"/>
        </p:xfrm>
        <a:graphic>
          <a:graphicData uri="http://schemas.openxmlformats.org/drawingml/2006/chart">
            <c:chart xmlns:c="http://schemas.openxmlformats.org/drawingml/2006/chart" xmlns:r="http://schemas.openxmlformats.org/officeDocument/2006/relationships" r:id="rId6"/>
          </a:graphicData>
        </a:graphic>
      </p:graphicFrame>
      <p:grpSp>
        <p:nvGrpSpPr>
          <p:cNvPr id="8" name="グループ化 7">
            <a:extLst>
              <a:ext uri="{FF2B5EF4-FFF2-40B4-BE49-F238E27FC236}">
                <a16:creationId xmlns:a16="http://schemas.microsoft.com/office/drawing/2014/main" id="{E12CE2A9-C92D-2609-C343-B31E2464015D}"/>
              </a:ext>
            </a:extLst>
          </p:cNvPr>
          <p:cNvGrpSpPr/>
          <p:nvPr/>
        </p:nvGrpSpPr>
        <p:grpSpPr>
          <a:xfrm>
            <a:off x="200472" y="2331992"/>
            <a:ext cx="4536507" cy="288032"/>
            <a:chOff x="4803500" y="2113806"/>
            <a:chExt cx="2954133" cy="288032"/>
          </a:xfrm>
        </p:grpSpPr>
        <p:cxnSp>
          <p:nvCxnSpPr>
            <p:cNvPr id="9" name="直線コネクタ 18">
              <a:extLst>
                <a:ext uri="{FF2B5EF4-FFF2-40B4-BE49-F238E27FC236}">
                  <a16:creationId xmlns:a16="http://schemas.microsoft.com/office/drawing/2014/main" id="{20F249A1-6279-973A-02CE-AA25F0D04AF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C0AB5674-61DF-7203-E206-971E4D11CF6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数</a:t>
              </a:r>
              <a:r>
                <a:rPr lang="en-US" altLang="ja-JP" sz="1400" noProof="1">
                  <a:solidFill>
                    <a:srgbClr val="000000"/>
                  </a:solidFill>
                  <a:latin typeface="Arial Black" pitchFamily="34" charset="0"/>
                  <a:ea typeface="HGP創英角ｺﾞｼｯｸUB" pitchFamily="50" charset="-128"/>
                </a:rPr>
                <a:t> </a:t>
              </a:r>
              <a:r>
                <a:rPr lang="ja-JP" altLang="en-US" sz="1400" noProof="1">
                  <a:solidFill>
                    <a:srgbClr val="000000"/>
                  </a:solidFill>
                  <a:latin typeface="Arial Black" pitchFamily="34" charset="0"/>
                  <a:ea typeface="HGP創英角ｺﾞｼｯｸUB" pitchFamily="50" charset="-128"/>
                </a:rPr>
                <a:t>（年間）、</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en-US" altLang="ja-JP" sz="1400" noProof="1">
                <a:solidFill>
                  <a:srgbClr val="000000"/>
                </a:solidFill>
                <a:latin typeface="Arial Black" pitchFamily="34" charset="0"/>
                <a:ea typeface="HGP創英角ｺﾞｼｯｸUB" pitchFamily="50" charset="-128"/>
              </a:endParaRPr>
            </a:p>
          </p:txBody>
        </p:sp>
      </p:grpSp>
      <p:grpSp>
        <p:nvGrpSpPr>
          <p:cNvPr id="11" name="グループ化 7">
            <a:extLst>
              <a:ext uri="{FF2B5EF4-FFF2-40B4-BE49-F238E27FC236}">
                <a16:creationId xmlns:a16="http://schemas.microsoft.com/office/drawing/2014/main" id="{89BDAC21-AEEB-D9B7-9C3C-99EBC74BF7EA}"/>
              </a:ext>
            </a:extLst>
          </p:cNvPr>
          <p:cNvGrpSpPr/>
          <p:nvPr/>
        </p:nvGrpSpPr>
        <p:grpSpPr>
          <a:xfrm>
            <a:off x="5169025" y="2331992"/>
            <a:ext cx="4536507" cy="288032"/>
            <a:chOff x="4803500" y="2113806"/>
            <a:chExt cx="2954133" cy="288032"/>
          </a:xfrm>
        </p:grpSpPr>
        <p:cxnSp>
          <p:nvCxnSpPr>
            <p:cNvPr id="13" name="直線コネクタ 21">
              <a:extLst>
                <a:ext uri="{FF2B5EF4-FFF2-40B4-BE49-F238E27FC236}">
                  <a16:creationId xmlns:a16="http://schemas.microsoft.com/office/drawing/2014/main" id="{8FBB3A7B-AA1B-F958-8072-E7DA900CCA8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16563CB1-6AEC-592A-935D-B401BEC87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入院施設の病床数（年間）、</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en-US" altLang="ja-JP" sz="1400" noProof="1">
                <a:solidFill>
                  <a:srgbClr val="000000"/>
                </a:solidFill>
                <a:latin typeface="Arial Black" pitchFamily="34" charset="0"/>
                <a:ea typeface="HGP創英角ｺﾞｼｯｸUB" pitchFamily="50" charset="-128"/>
              </a:endParaRPr>
            </a:p>
          </p:txBody>
        </p:sp>
      </p:grpSp>
      <p:graphicFrame>
        <p:nvGraphicFramePr>
          <p:cNvPr id="15" name="Chart 34">
            <a:extLst>
              <a:ext uri="{FF2B5EF4-FFF2-40B4-BE49-F238E27FC236}">
                <a16:creationId xmlns:a16="http://schemas.microsoft.com/office/drawing/2014/main" id="{A8FB8FEE-F556-FE9B-BA4F-1C08DBF2F403}"/>
              </a:ext>
            </a:extLst>
          </p:cNvPr>
          <p:cNvGraphicFramePr/>
          <p:nvPr>
            <p:extLst>
              <p:ext uri="{D42A27DB-BD31-4B8C-83A1-F6EECF244321}">
                <p14:modId xmlns:p14="http://schemas.microsoft.com/office/powerpoint/2010/main" val="656738896"/>
              </p:ext>
            </p:extLst>
          </p:nvPr>
        </p:nvGraphicFramePr>
        <p:xfrm>
          <a:off x="237267" y="2797684"/>
          <a:ext cx="4639540" cy="3799667"/>
        </p:xfrm>
        <a:graphic>
          <a:graphicData uri="http://schemas.openxmlformats.org/drawingml/2006/chart">
            <c:chart xmlns:c="http://schemas.openxmlformats.org/drawingml/2006/chart" xmlns:r="http://schemas.openxmlformats.org/officeDocument/2006/relationships" r:id="rId7"/>
          </a:graphicData>
        </a:graphic>
      </p:graphicFrame>
      <p:sp>
        <p:nvSpPr>
          <p:cNvPr id="16" name="テキスト ボックス 15">
            <a:extLst>
              <a:ext uri="{FF2B5EF4-FFF2-40B4-BE49-F238E27FC236}">
                <a16:creationId xmlns:a16="http://schemas.microsoft.com/office/drawing/2014/main" id="{966CDC0E-48C9-CA4B-DF2A-D83D456357F8}"/>
              </a:ext>
            </a:extLst>
          </p:cNvPr>
          <p:cNvSpPr txBox="1"/>
          <p:nvPr/>
        </p:nvSpPr>
        <p:spPr>
          <a:xfrm>
            <a:off x="237266" y="2681700"/>
            <a:ext cx="539273" cy="137004"/>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施設数）</a:t>
            </a:r>
          </a:p>
        </p:txBody>
      </p:sp>
      <p:sp>
        <p:nvSpPr>
          <p:cNvPr id="17" name="テキスト ボックス 16">
            <a:extLst>
              <a:ext uri="{FF2B5EF4-FFF2-40B4-BE49-F238E27FC236}">
                <a16:creationId xmlns:a16="http://schemas.microsoft.com/office/drawing/2014/main" id="{292E1DA9-937F-93CA-69EA-56E20AF74C58}"/>
              </a:ext>
            </a:extLst>
          </p:cNvPr>
          <p:cNvSpPr txBox="1"/>
          <p:nvPr/>
        </p:nvSpPr>
        <p:spPr>
          <a:xfrm>
            <a:off x="5127201" y="2679244"/>
            <a:ext cx="539273" cy="137004"/>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病床数）</a:t>
            </a:r>
          </a:p>
        </p:txBody>
      </p:sp>
      <p:sp>
        <p:nvSpPr>
          <p:cNvPr id="20" name="テキスト ボックス 19">
            <a:extLst>
              <a:ext uri="{FF2B5EF4-FFF2-40B4-BE49-F238E27FC236}">
                <a16:creationId xmlns:a16="http://schemas.microsoft.com/office/drawing/2014/main" id="{D012850C-4EC2-3D8F-36B5-6F1A6AD108F5}"/>
              </a:ext>
            </a:extLst>
          </p:cNvPr>
          <p:cNvSpPr txBox="1"/>
          <p:nvPr/>
        </p:nvSpPr>
        <p:spPr>
          <a:xfrm>
            <a:off x="200472" y="980728"/>
            <a:ext cx="9433048"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マリケアは主に民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めるクリニックと公営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lyclin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病院の数に大きな変化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営業停止措置となった私立急性期病院が医療体制を整えて営業を再開したため、急性期病院の数は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戻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は、政府、非営利団体、民間企業が運営する急性期病院、精神科病院、地域病院、介護施設などを含む広範な医療機関ネットワークがある。</a:t>
            </a:r>
          </a:p>
        </p:txBody>
      </p:sp>
    </p:spTree>
    <p:extLst>
      <p:ext uri="{BB962C8B-B14F-4D97-AF65-F5344CB8AC3E}">
        <p14:creationId xmlns:p14="http://schemas.microsoft.com/office/powerpoint/2010/main" val="845221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ED988B-71B5-4EE4-B9F7-5CDAD3E0DF3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E7ED988B-71B5-4EE4-B9F7-5CDAD3E0DF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sz="2000" dirty="0"/>
              <a:t>主な公的および民間医療機関</a:t>
            </a:r>
            <a:endParaRPr lang="en-US" altLang="ja-JP" dirty="0"/>
          </a:p>
        </p:txBody>
      </p:sp>
      <p:sp>
        <p:nvSpPr>
          <p:cNvPr id="15" name="テキスト ボックス 14"/>
          <p:cNvSpPr txBox="1"/>
          <p:nvPr/>
        </p:nvSpPr>
        <p:spPr>
          <a:xfrm>
            <a:off x="204855" y="6453055"/>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ja-JP" altLang="en-US" sz="800" dirty="0" bmk="">
                <a:cs typeface="Arial" panose="020B0604020202020204" pitchFamily="34" charset="0"/>
              </a:rPr>
              <a:t>各病院ホームページ</a:t>
            </a:r>
            <a:endParaRPr lang="ja-JP" altLang="ja-JP" sz="800" dirty="0"/>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の病院は厳密にはすべて私企業による運営であるが、政府が全額出資している</a:t>
            </a:r>
            <a:r>
              <a:rPr lang="en-US" altLang="ja-JP" sz="1400" dirty="0"/>
              <a:t>National Healthcare Group, National University health System, </a:t>
            </a:r>
            <a:r>
              <a:rPr lang="en-US" altLang="ja-JP" sz="1400" dirty="0" err="1"/>
              <a:t>SingHealth</a:t>
            </a:r>
            <a:r>
              <a:rPr lang="ja-JP" altLang="en-US" sz="1400" dirty="0"/>
              <a:t>傘下の病院は「公立病院」の性格を持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病院は国際的に展開している企業グループにより運営されているものが多い。公立病院に比べてベッド数は少ないが、より高度かつ快適な医療サービスを提供することにより、海外からの患者も集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8C1795C0-B97D-47E4-88E1-790410F6BB03}"/>
              </a:ext>
            </a:extLst>
          </p:cNvPr>
          <p:cNvSpPr txBox="1"/>
          <p:nvPr>
            <p:custDataLst>
              <p:tags r:id="rId2"/>
            </p:custDataLst>
          </p:nvPr>
        </p:nvSpPr>
        <p:spPr>
          <a:xfrm>
            <a:off x="812538" y="5599469"/>
            <a:ext cx="648573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Restructur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も呼ばれ、国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所有する私企業として運営されている</a:t>
            </a:r>
            <a:endParaRPr kumimoji="1" lang="en-CA"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表 2">
            <a:extLst>
              <a:ext uri="{FF2B5EF4-FFF2-40B4-BE49-F238E27FC236}">
                <a16:creationId xmlns:a16="http://schemas.microsoft.com/office/drawing/2014/main" id="{05B0BE3A-6EF5-A4BC-4141-02FC5181EEB4}"/>
              </a:ext>
            </a:extLst>
          </p:cNvPr>
          <p:cNvGraphicFramePr>
            <a:graphicFrameLocks noGrp="1"/>
          </p:cNvGraphicFramePr>
          <p:nvPr>
            <p:extLst>
              <p:ext uri="{D42A27DB-BD31-4B8C-83A1-F6EECF244321}">
                <p14:modId xmlns:p14="http://schemas.microsoft.com/office/powerpoint/2010/main" val="419944078"/>
              </p:ext>
            </p:extLst>
          </p:nvPr>
        </p:nvGraphicFramePr>
        <p:xfrm>
          <a:off x="812538" y="2411922"/>
          <a:ext cx="8280920" cy="305308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784381729"/>
                    </a:ext>
                  </a:extLst>
                </a:gridCol>
                <a:gridCol w="2415268">
                  <a:extLst>
                    <a:ext uri="{9D8B030D-6E8A-4147-A177-3AD203B41FA5}">
                      <a16:colId xmlns:a16="http://schemas.microsoft.com/office/drawing/2014/main" val="1276933213"/>
                    </a:ext>
                  </a:extLst>
                </a:gridCol>
                <a:gridCol w="2691299">
                  <a:extLst>
                    <a:ext uri="{9D8B030D-6E8A-4147-A177-3AD203B41FA5}">
                      <a16:colId xmlns:a16="http://schemas.microsoft.com/office/drawing/2014/main" val="3318888120"/>
                    </a:ext>
                  </a:extLst>
                </a:gridCol>
                <a:gridCol w="2070230">
                  <a:extLst>
                    <a:ext uri="{9D8B030D-6E8A-4147-A177-3AD203B41FA5}">
                      <a16:colId xmlns:a16="http://schemas.microsoft.com/office/drawing/2014/main" val="2599503359"/>
                    </a:ext>
                  </a:extLst>
                </a:gridCol>
              </a:tblGrid>
              <a:tr h="275604">
                <a:tc>
                  <a:txBody>
                    <a:bodyPr/>
                    <a:lstStyle/>
                    <a:p>
                      <a:endParaRPr kumimoji="1" lang="ja-JP" altLang="en-US" sz="1200" dirty="0"/>
                    </a:p>
                  </a:txBody>
                  <a:tcPr/>
                </a:tc>
                <a:tc>
                  <a:txBody>
                    <a:bodyPr/>
                    <a:lstStyle/>
                    <a:p>
                      <a:r>
                        <a:rPr kumimoji="1" lang="ja-JP" altLang="en-US" sz="1400" dirty="0"/>
                        <a:t>運営グループ</a:t>
                      </a:r>
                    </a:p>
                  </a:txBody>
                  <a:tcPr/>
                </a:tc>
                <a:tc>
                  <a:txBody>
                    <a:bodyPr/>
                    <a:lstStyle/>
                    <a:p>
                      <a:r>
                        <a:rPr kumimoji="1" lang="ja-JP" altLang="en-US" sz="1400" dirty="0"/>
                        <a:t>病院名</a:t>
                      </a:r>
                    </a:p>
                  </a:txBody>
                  <a:tcPr/>
                </a:tc>
                <a:tc>
                  <a:txBody>
                    <a:bodyPr/>
                    <a:lstStyle/>
                    <a:p>
                      <a:r>
                        <a:rPr kumimoji="1" lang="ja-JP" altLang="en-US" sz="1400" dirty="0"/>
                        <a:t>ベッド数</a:t>
                      </a:r>
                    </a:p>
                  </a:txBody>
                  <a:tcPr/>
                </a:tc>
                <a:extLst>
                  <a:ext uri="{0D108BD9-81ED-4DB2-BD59-A6C34878D82A}">
                    <a16:rowId xmlns:a16="http://schemas.microsoft.com/office/drawing/2014/main" val="3863843010"/>
                  </a:ext>
                </a:extLst>
              </a:tr>
              <a:tr h="370840">
                <a:tc rowSpan="3">
                  <a:txBody>
                    <a:bodyPr/>
                    <a:lstStyle/>
                    <a:p>
                      <a:r>
                        <a:rPr kumimoji="1" lang="ja-JP" altLang="en-US" sz="1200" dirty="0"/>
                        <a:t>公立病院</a:t>
                      </a:r>
                      <a:r>
                        <a:rPr kumimoji="1" lang="en-US" altLang="ja-JP" sz="1200" baseline="30000" dirty="0"/>
                        <a:t>1</a:t>
                      </a:r>
                      <a:endParaRPr kumimoji="1" lang="ja-JP" altLang="en-US" sz="1200" dirty="0"/>
                    </a:p>
                  </a:txBody>
                  <a:tcPr/>
                </a:tc>
                <a:tc>
                  <a:txBody>
                    <a:bodyPr/>
                    <a:lstStyle/>
                    <a:p>
                      <a:r>
                        <a:rPr kumimoji="1" lang="en-US" altLang="ja-JP" sz="1200" dirty="0"/>
                        <a:t>National Healthcare Group</a:t>
                      </a:r>
                    </a:p>
                    <a:p>
                      <a:endParaRPr kumimoji="1" lang="ja-JP" altLang="en-US" sz="1200" dirty="0"/>
                    </a:p>
                  </a:txBody>
                  <a:tcPr/>
                </a:tc>
                <a:tc>
                  <a:txBody>
                    <a:bodyPr/>
                    <a:lstStyle/>
                    <a:p>
                      <a:pPr marL="171450" indent="-171450">
                        <a:buFont typeface="Wingdings" panose="05000000000000000000" pitchFamily="2" charset="2"/>
                        <a:buChar char="n"/>
                      </a:pPr>
                      <a:r>
                        <a:rPr lang="en-US" altLang="ja-JP" sz="1200" dirty="0"/>
                        <a:t>Tan</a:t>
                      </a:r>
                      <a:r>
                        <a:rPr lang="ja-JP" altLang="en-US" sz="1200" dirty="0"/>
                        <a:t> </a:t>
                      </a:r>
                      <a:r>
                        <a:rPr lang="en-US" altLang="ja-JP" sz="1200" dirty="0"/>
                        <a:t>Tock</a:t>
                      </a:r>
                      <a:r>
                        <a:rPr lang="ja-JP" altLang="en-US" sz="1200" dirty="0"/>
                        <a:t> </a:t>
                      </a:r>
                      <a:r>
                        <a:rPr lang="en-US" altLang="ja-JP" sz="1200" dirty="0"/>
                        <a:t>Seng</a:t>
                      </a:r>
                      <a:r>
                        <a:rPr lang="ja-JP" altLang="en-US" sz="1200" dirty="0"/>
                        <a:t> </a:t>
                      </a:r>
                      <a:r>
                        <a:rPr lang="en-US" altLang="ja-JP" sz="1200" dirty="0"/>
                        <a:t>Hospital</a:t>
                      </a:r>
                    </a:p>
                    <a:p>
                      <a:pPr marL="171450" indent="-171450">
                        <a:buFont typeface="Wingdings" panose="05000000000000000000" pitchFamily="2" charset="2"/>
                        <a:buChar char="n"/>
                      </a:pPr>
                      <a:r>
                        <a:rPr lang="en-US" altLang="ja-JP" sz="1200" dirty="0"/>
                        <a:t>Khoo Tech </a:t>
                      </a:r>
                      <a:r>
                        <a:rPr lang="en-US" altLang="ja-JP" sz="1200" dirty="0" err="1"/>
                        <a:t>Puat</a:t>
                      </a:r>
                      <a:r>
                        <a:rPr lang="en-US" altLang="ja-JP" sz="1200" dirty="0"/>
                        <a:t> Hospital</a:t>
                      </a:r>
                    </a:p>
                  </a:txBody>
                  <a:tcPr/>
                </a:tc>
                <a:tc>
                  <a:txBody>
                    <a:bodyPr/>
                    <a:lstStyle/>
                    <a:p>
                      <a:r>
                        <a:rPr kumimoji="1" lang="en-US" altLang="ja-JP" sz="1200" dirty="0"/>
                        <a:t>2,000+</a:t>
                      </a:r>
                    </a:p>
                    <a:p>
                      <a:r>
                        <a:rPr kumimoji="1" lang="en-US" altLang="ja-JP" sz="1200" dirty="0"/>
                        <a:t>795</a:t>
                      </a:r>
                      <a:endParaRPr kumimoji="1" lang="ja-JP" altLang="en-US" sz="1200" dirty="0"/>
                    </a:p>
                  </a:txBody>
                  <a:tcPr/>
                </a:tc>
                <a:extLst>
                  <a:ext uri="{0D108BD9-81ED-4DB2-BD59-A6C34878D82A}">
                    <a16:rowId xmlns:a16="http://schemas.microsoft.com/office/drawing/2014/main" val="3105153465"/>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National University Health System</a:t>
                      </a:r>
                      <a:endParaRPr kumimoji="1" lang="ja-JP" altLang="en-US" sz="1200" dirty="0"/>
                    </a:p>
                  </a:txBody>
                  <a:tcPr/>
                </a:tc>
                <a:tc>
                  <a:txBody>
                    <a:bodyPr/>
                    <a:lstStyle/>
                    <a:p>
                      <a:pPr marL="171450" indent="-171450">
                        <a:buFont typeface="Wingdings" panose="05000000000000000000" pitchFamily="2" charset="2"/>
                        <a:buChar char="n"/>
                      </a:pPr>
                      <a:r>
                        <a:rPr lang="en-US" altLang="ja-JP" sz="1200" dirty="0"/>
                        <a:t>National University Hospital</a:t>
                      </a:r>
                    </a:p>
                    <a:p>
                      <a:pPr marL="171450" indent="-171450">
                        <a:buFont typeface="Wingdings" panose="05000000000000000000" pitchFamily="2" charset="2"/>
                        <a:buChar char="n"/>
                      </a:pPr>
                      <a:r>
                        <a:rPr lang="en-US" altLang="ja-JP" sz="1200" dirty="0"/>
                        <a:t>Ng Teng Fong General Hospital</a:t>
                      </a:r>
                    </a:p>
                    <a:p>
                      <a:pPr marL="171450" indent="-171450">
                        <a:buFont typeface="Wingdings" panose="05000000000000000000" pitchFamily="2" charset="2"/>
                        <a:buChar char="n"/>
                      </a:pPr>
                      <a:r>
                        <a:rPr lang="en-US" altLang="ja-JP" sz="1200" dirty="0"/>
                        <a:t>Alexandra Hospital</a:t>
                      </a:r>
                    </a:p>
                  </a:txBody>
                  <a:tcPr/>
                </a:tc>
                <a:tc>
                  <a:txBody>
                    <a:bodyPr/>
                    <a:lstStyle/>
                    <a:p>
                      <a:r>
                        <a:rPr kumimoji="1" lang="en-US" altLang="ja-JP" sz="1200" dirty="0"/>
                        <a:t>1,239</a:t>
                      </a:r>
                    </a:p>
                    <a:p>
                      <a:r>
                        <a:rPr kumimoji="1" lang="en-US" altLang="ja-JP" sz="1200" dirty="0"/>
                        <a:t>700</a:t>
                      </a:r>
                    </a:p>
                    <a:p>
                      <a:r>
                        <a:rPr kumimoji="1" lang="en-US" altLang="ja-JP" sz="1200" dirty="0"/>
                        <a:t>326</a:t>
                      </a:r>
                      <a:endParaRPr kumimoji="1" lang="ja-JP" altLang="en-US" sz="1200" dirty="0"/>
                    </a:p>
                  </a:txBody>
                  <a:tcPr/>
                </a:tc>
                <a:extLst>
                  <a:ext uri="{0D108BD9-81ED-4DB2-BD59-A6C34878D82A}">
                    <a16:rowId xmlns:a16="http://schemas.microsoft.com/office/drawing/2014/main" val="2119172904"/>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SingHealth</a:t>
                      </a:r>
                      <a:endParaRPr lang="en-US" altLang="ja-JP" sz="1200" dirty="0"/>
                    </a:p>
                  </a:txBody>
                  <a:tcPr/>
                </a:tc>
                <a:tc>
                  <a:txBody>
                    <a:bodyPr/>
                    <a:lstStyle/>
                    <a:p>
                      <a:pPr marL="171450" indent="-171450">
                        <a:buFont typeface="Wingdings" panose="05000000000000000000" pitchFamily="2" charset="2"/>
                        <a:buChar char="n"/>
                      </a:pPr>
                      <a:r>
                        <a:rPr lang="en-US" altLang="ja-JP" sz="1200" dirty="0"/>
                        <a:t>Singapore general Hospital</a:t>
                      </a:r>
                    </a:p>
                    <a:p>
                      <a:pPr marL="171450" indent="-171450">
                        <a:buFont typeface="Wingdings" panose="05000000000000000000" pitchFamily="2" charset="2"/>
                        <a:buChar char="n"/>
                      </a:pPr>
                      <a:r>
                        <a:rPr lang="en-US" altLang="ja-JP" sz="1200" dirty="0"/>
                        <a:t>Changi General Hospital</a:t>
                      </a:r>
                    </a:p>
                    <a:p>
                      <a:pPr marL="171450" indent="-171450">
                        <a:buFont typeface="Wingdings" panose="05000000000000000000" pitchFamily="2" charset="2"/>
                        <a:buChar char="n"/>
                      </a:pPr>
                      <a:r>
                        <a:rPr lang="en-US" altLang="ja-JP" sz="1200" dirty="0"/>
                        <a:t>KK Women’s and Children’s Hospital</a:t>
                      </a:r>
                    </a:p>
                  </a:txBody>
                  <a:tcPr/>
                </a:tc>
                <a:tc>
                  <a:txBody>
                    <a:bodyPr/>
                    <a:lstStyle/>
                    <a:p>
                      <a:r>
                        <a:rPr kumimoji="1" lang="en-US" altLang="ja-JP" sz="1200" dirty="0"/>
                        <a:t>1,785</a:t>
                      </a:r>
                    </a:p>
                    <a:p>
                      <a:r>
                        <a:rPr kumimoji="1" lang="en-US" altLang="ja-JP" sz="1200" dirty="0"/>
                        <a:t>1,000</a:t>
                      </a:r>
                    </a:p>
                    <a:p>
                      <a:r>
                        <a:rPr kumimoji="1" lang="en-US" altLang="ja-JP" sz="1200" dirty="0"/>
                        <a:t>830</a:t>
                      </a:r>
                      <a:endParaRPr kumimoji="1" lang="ja-JP" altLang="en-US" sz="1200" dirty="0"/>
                    </a:p>
                  </a:txBody>
                  <a:tcPr/>
                </a:tc>
                <a:extLst>
                  <a:ext uri="{0D108BD9-81ED-4DB2-BD59-A6C34878D82A}">
                    <a16:rowId xmlns:a16="http://schemas.microsoft.com/office/drawing/2014/main" val="1745146042"/>
                  </a:ext>
                </a:extLst>
              </a:tr>
              <a:tr h="37084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私立病院</a:t>
                      </a:r>
                    </a:p>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IHH Healthcare</a:t>
                      </a:r>
                    </a:p>
                  </a:txBody>
                  <a:tcPr/>
                </a:tc>
                <a:tc>
                  <a:txBody>
                    <a:bodyPr/>
                    <a:lstStyle/>
                    <a:p>
                      <a:pPr marL="171450" indent="-171450">
                        <a:buFont typeface="Wingdings" panose="05000000000000000000" pitchFamily="2" charset="2"/>
                        <a:buChar char="n"/>
                      </a:pPr>
                      <a:r>
                        <a:rPr lang="en-US" altLang="ja-JP" sz="1200" dirty="0"/>
                        <a:t>Mount Elizabeth Hospital</a:t>
                      </a:r>
                    </a:p>
                    <a:p>
                      <a:pPr marL="171450" indent="-171450">
                        <a:buFont typeface="Wingdings" panose="05000000000000000000" pitchFamily="2" charset="2"/>
                        <a:buChar char="n"/>
                      </a:pPr>
                      <a:r>
                        <a:rPr lang="en-US" altLang="ja-JP" sz="1200" dirty="0"/>
                        <a:t>Gleneagles Hospital</a:t>
                      </a:r>
                    </a:p>
                  </a:txBody>
                  <a:tcPr/>
                </a:tc>
                <a:tc>
                  <a:txBody>
                    <a:bodyPr/>
                    <a:lstStyle/>
                    <a:p>
                      <a:r>
                        <a:rPr kumimoji="1" lang="en-US" altLang="ja-JP" sz="1200" dirty="0"/>
                        <a:t>345</a:t>
                      </a:r>
                    </a:p>
                    <a:p>
                      <a:r>
                        <a:rPr kumimoji="1" lang="en-US" altLang="ja-JP" sz="1200" dirty="0"/>
                        <a:t>221</a:t>
                      </a:r>
                      <a:endParaRPr kumimoji="1" lang="ja-JP" altLang="en-US" sz="1200" dirty="0"/>
                    </a:p>
                  </a:txBody>
                  <a:tcPr/>
                </a:tc>
                <a:extLst>
                  <a:ext uri="{0D108BD9-81ED-4DB2-BD59-A6C34878D82A}">
                    <a16:rowId xmlns:a16="http://schemas.microsoft.com/office/drawing/2014/main" val="2701427885"/>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Raffles</a:t>
                      </a:r>
                      <a:r>
                        <a:rPr lang="ja-JP" altLang="en-US" sz="1200" dirty="0"/>
                        <a:t> </a:t>
                      </a:r>
                      <a:r>
                        <a:rPr lang="en-US" altLang="ja-JP" sz="1200" dirty="0"/>
                        <a:t>Medical</a:t>
                      </a:r>
                      <a:r>
                        <a:rPr lang="ja-JP" altLang="en-US" sz="1200" dirty="0"/>
                        <a:t> </a:t>
                      </a:r>
                      <a:r>
                        <a:rPr lang="en-US" altLang="ja-JP" sz="1200" dirty="0"/>
                        <a:t>Group</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200" dirty="0"/>
                        <a:t>Raffles Hospital</a:t>
                      </a:r>
                    </a:p>
                  </a:txBody>
                  <a:tcPr/>
                </a:tc>
                <a:tc>
                  <a:txBody>
                    <a:bodyPr/>
                    <a:lstStyle/>
                    <a:p>
                      <a:r>
                        <a:rPr kumimoji="1" lang="en-US" altLang="ja-JP" sz="1200" dirty="0"/>
                        <a:t>380</a:t>
                      </a:r>
                      <a:endParaRPr kumimoji="1" lang="ja-JP" altLang="en-US" sz="1200" dirty="0"/>
                    </a:p>
                  </a:txBody>
                  <a:tcPr/>
                </a:tc>
                <a:extLst>
                  <a:ext uri="{0D108BD9-81ED-4DB2-BD59-A6C34878D82A}">
                    <a16:rowId xmlns:a16="http://schemas.microsoft.com/office/drawing/2014/main" val="612084934"/>
                  </a:ext>
                </a:extLst>
              </a:tr>
            </a:tbl>
          </a:graphicData>
        </a:graphic>
      </p:graphicFrame>
    </p:spTree>
    <p:extLst>
      <p:ext uri="{BB962C8B-B14F-4D97-AF65-F5344CB8AC3E}">
        <p14:creationId xmlns:p14="http://schemas.microsoft.com/office/powerpoint/2010/main" val="2351283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602094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医療従事者の数は、医師、看護師・助産師を中心に緩やかな増加傾向にある。</a:t>
            </a:r>
          </a:p>
        </p:txBody>
      </p:sp>
      <p:grpSp>
        <p:nvGrpSpPr>
          <p:cNvPr id="39" name="グループ化 7"/>
          <p:cNvGrpSpPr/>
          <p:nvPr/>
        </p:nvGrpSpPr>
        <p:grpSpPr>
          <a:xfrm>
            <a:off x="200471" y="1772816"/>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772816"/>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a:t>
            </a:r>
            <a:r>
              <a:rPr kumimoji="0" lang="ja-JP" altLang="en-US" sz="800" dirty="0" bmk=""/>
              <a:t>（</a:t>
            </a:r>
            <a:r>
              <a:rPr kumimoji="0" lang="en-US" altLang="ja-JP" sz="800" dirty="0" bmk=""/>
              <a:t>GHO</a:t>
            </a:r>
            <a:r>
              <a:rPr kumimoji="0" lang="ja-JP" altLang="en-US" sz="800" dirty="0" bmk=""/>
              <a:t>）</a:t>
            </a:r>
            <a:r>
              <a:rPr kumimoji="0" lang="en-US" altLang="ja-JP" sz="800" dirty="0" bmk=""/>
              <a:t>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33320" y="2095958"/>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06084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7" name="テキスト ボックス 45">
            <a:extLst>
              <a:ext uri="{FF2B5EF4-FFF2-40B4-BE49-F238E27FC236}">
                <a16:creationId xmlns:a16="http://schemas.microsoft.com/office/drawing/2014/main" id="{90D3A9A8-9BE5-DA9B-146A-DF2CBFFF0F25}"/>
              </a:ext>
            </a:extLst>
          </p:cNvPr>
          <p:cNvSpPr txBox="1"/>
          <p:nvPr/>
        </p:nvSpPr>
        <p:spPr>
          <a:xfrm>
            <a:off x="200025" y="6320205"/>
            <a:ext cx="9001000" cy="144016"/>
          </a:xfrm>
          <a:prstGeom prst="rect">
            <a:avLst/>
          </a:prstGeom>
          <a:noFill/>
        </p:spPr>
        <p:txBody>
          <a:bodyPr wrap="square" lIns="0" tIns="0" rIns="0" bIns="0" rtlCol="0">
            <a:noAutofit/>
          </a:bodyPr>
          <a:lstStyle/>
          <a:p>
            <a:pPr>
              <a:tabLst>
                <a:tab pos="361950" algn="l"/>
              </a:tabLs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数字が欠けている年はデータな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3" name="Chart 322">
            <a:extLst>
              <a:ext uri="{FF2B5EF4-FFF2-40B4-BE49-F238E27FC236}">
                <a16:creationId xmlns:a16="http://schemas.microsoft.com/office/drawing/2014/main" id="{563D9020-85E2-29F7-F4A9-24574D07FA3E}"/>
              </a:ext>
            </a:extLst>
          </p:cNvPr>
          <p:cNvGraphicFramePr/>
          <p:nvPr>
            <p:custDataLst>
              <p:tags r:id="rId3"/>
            </p:custDataLst>
            <p:extLst>
              <p:ext uri="{D42A27DB-BD31-4B8C-83A1-F6EECF244321}">
                <p14:modId xmlns:p14="http://schemas.microsoft.com/office/powerpoint/2010/main" val="4099710036"/>
              </p:ext>
            </p:extLst>
          </p:nvPr>
        </p:nvGraphicFramePr>
        <p:xfrm>
          <a:off x="66675" y="2195513"/>
          <a:ext cx="4900613" cy="4202112"/>
        </p:xfrm>
        <a:graphic>
          <a:graphicData uri="http://schemas.openxmlformats.org/drawingml/2006/chart">
            <c:chart xmlns:c="http://schemas.openxmlformats.org/drawingml/2006/chart" xmlns:r="http://schemas.openxmlformats.org/officeDocument/2006/relationships" r:id="rId70"/>
          </a:graphicData>
        </a:graphic>
      </p:graphicFrame>
      <p:cxnSp>
        <p:nvCxnSpPr>
          <p:cNvPr id="233" name="Straight Connector 232">
            <a:extLst>
              <a:ext uri="{FF2B5EF4-FFF2-40B4-BE49-F238E27FC236}">
                <a16:creationId xmlns:a16="http://schemas.microsoft.com/office/drawing/2014/main" id="{BF9BFB3D-2B98-1587-34BC-542467B3C8A8}"/>
              </a:ext>
            </a:extLst>
          </p:cNvPr>
          <p:cNvCxnSpPr/>
          <p:nvPr>
            <p:custDataLst>
              <p:tags r:id="rId4"/>
            </p:custDataLst>
          </p:nvPr>
        </p:nvCxnSpPr>
        <p:spPr bwMode="auto">
          <a:xfrm flipH="1">
            <a:off x="723900" y="5603875"/>
            <a:ext cx="111125" cy="157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543E6104-3314-680A-821F-CB2975D066E2}"/>
              </a:ext>
            </a:extLst>
          </p:cNvPr>
          <p:cNvCxnSpPr>
            <a:cxnSpLocks/>
          </p:cNvCxnSpPr>
          <p:nvPr>
            <p:custDataLst>
              <p:tags r:id="rId5"/>
            </p:custDataLst>
          </p:nvPr>
        </p:nvCxnSpPr>
        <p:spPr bwMode="auto">
          <a:xfrm flipH="1">
            <a:off x="1154113" y="5595937"/>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019359A-7C39-7DA1-75C8-7FA6326DCE50}"/>
              </a:ext>
            </a:extLst>
          </p:cNvPr>
          <p:cNvCxnSpPr>
            <a:cxnSpLocks/>
          </p:cNvCxnSpPr>
          <p:nvPr>
            <p:custDataLst>
              <p:tags r:id="rId6"/>
            </p:custDataLst>
          </p:nvPr>
        </p:nvCxnSpPr>
        <p:spPr bwMode="auto">
          <a:xfrm flipH="1">
            <a:off x="1604963" y="5580062"/>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5207654E-40D7-452D-EB28-3B10CB6F841A}"/>
              </a:ext>
            </a:extLst>
          </p:cNvPr>
          <p:cNvCxnSpPr>
            <a:cxnSpLocks/>
          </p:cNvCxnSpPr>
          <p:nvPr>
            <p:custDataLst>
              <p:tags r:id="rId7"/>
            </p:custDataLst>
          </p:nvPr>
        </p:nvCxnSpPr>
        <p:spPr bwMode="auto">
          <a:xfrm flipH="1">
            <a:off x="2054225" y="5573712"/>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07144E80-D7B9-7A8C-898B-F1E2A16FC02A}"/>
              </a:ext>
            </a:extLst>
          </p:cNvPr>
          <p:cNvCxnSpPr>
            <a:cxnSpLocks/>
          </p:cNvCxnSpPr>
          <p:nvPr>
            <p:custDataLst>
              <p:tags r:id="rId8"/>
            </p:custDataLst>
          </p:nvPr>
        </p:nvCxnSpPr>
        <p:spPr bwMode="auto">
          <a:xfrm flipH="1">
            <a:off x="2505075" y="55610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1CDC906E-7C67-03AC-5766-87715163D487}"/>
              </a:ext>
            </a:extLst>
          </p:cNvPr>
          <p:cNvCxnSpPr>
            <a:cxnSpLocks/>
          </p:cNvCxnSpPr>
          <p:nvPr>
            <p:custDataLst>
              <p:tags r:id="rId9"/>
            </p:custDataLst>
          </p:nvPr>
        </p:nvCxnSpPr>
        <p:spPr bwMode="auto">
          <a:xfrm flipH="1">
            <a:off x="2955925" y="55610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30DDB0E6-4429-DB9B-A725-E04D1E08E719}"/>
              </a:ext>
            </a:extLst>
          </p:cNvPr>
          <p:cNvCxnSpPr>
            <a:cxnSpLocks/>
          </p:cNvCxnSpPr>
          <p:nvPr>
            <p:custDataLst>
              <p:tags r:id="rId10"/>
            </p:custDataLst>
          </p:nvPr>
        </p:nvCxnSpPr>
        <p:spPr bwMode="auto">
          <a:xfrm flipH="1">
            <a:off x="3406775" y="55483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79105DAB-097E-4138-45C2-4FCD78264ADF}"/>
              </a:ext>
            </a:extLst>
          </p:cNvPr>
          <p:cNvCxnSpPr>
            <a:cxnSpLocks/>
          </p:cNvCxnSpPr>
          <p:nvPr>
            <p:custDataLst>
              <p:tags r:id="rId11"/>
            </p:custDataLst>
          </p:nvPr>
        </p:nvCxnSpPr>
        <p:spPr bwMode="auto">
          <a:xfrm flipH="1">
            <a:off x="3856038" y="5540374"/>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8E87F940-5877-392A-2241-9D07B19EB8D7}"/>
              </a:ext>
            </a:extLst>
          </p:cNvPr>
          <p:cNvCxnSpPr>
            <a:cxnSpLocks/>
          </p:cNvCxnSpPr>
          <p:nvPr>
            <p:custDataLst>
              <p:tags r:id="rId12"/>
            </p:custDataLst>
          </p:nvPr>
        </p:nvCxnSpPr>
        <p:spPr bwMode="auto">
          <a:xfrm flipH="1">
            <a:off x="4306888" y="5526088"/>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67BC4648-FAC3-006D-F6C7-67701BAA63A7}"/>
              </a:ext>
            </a:extLst>
          </p:cNvPr>
          <p:cNvCxnSpPr/>
          <p:nvPr>
            <p:custDataLst>
              <p:tags r:id="rId13"/>
            </p:custDataLst>
          </p:nvPr>
        </p:nvCxnSpPr>
        <p:spPr bwMode="auto">
          <a:xfrm flipH="1" flipV="1">
            <a:off x="738188" y="5910263"/>
            <a:ext cx="58738" cy="492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1" name="テキスト プレースホルダ 9">
            <a:extLst>
              <a:ext uri="{FF2B5EF4-FFF2-40B4-BE49-F238E27FC236}">
                <a16:creationId xmlns:a16="http://schemas.microsoft.com/office/drawing/2014/main" id="{8C874357-C07B-9847-8A3E-A34327B6AC14}"/>
              </a:ext>
            </a:extLst>
          </p:cNvPr>
          <p:cNvSpPr>
            <a:spLocks/>
          </p:cNvSpPr>
          <p:nvPr>
            <p:custDataLst>
              <p:tags r:id="rId14"/>
            </p:custDataLst>
          </p:nvPr>
        </p:nvSpPr>
        <p:spPr bwMode="gray">
          <a:xfrm>
            <a:off x="714375" y="595947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38531-2C34-4E2B-98CF-00A51EC05859}" type="datetime'''''1,''''''''''''9''''''''''''9''''''''''''0'''">
              <a:rPr lang="ja-JP" altLang="en-US" sz="1000" smtClean="0">
                <a:effectLst/>
              </a:rPr>
              <a:pPr/>
              <a:t>1,990</a:t>
            </a:fld>
            <a:endParaRPr kumimoji="1" lang="ja-JP" altLang="en-US" sz="1000" dirty="0">
              <a:sym typeface="+mn-lt"/>
            </a:endParaRPr>
          </a:p>
        </p:txBody>
      </p:sp>
      <p:sp useBgFill="1">
        <p:nvSpPr>
          <p:cNvPr id="105" name="テキスト プレースホルダ 9">
            <a:extLst>
              <a:ext uri="{FF2B5EF4-FFF2-40B4-BE49-F238E27FC236}">
                <a16:creationId xmlns:a16="http://schemas.microsoft.com/office/drawing/2014/main" id="{C6719C21-0529-8946-EDFB-CDA0D9C966F0}"/>
              </a:ext>
            </a:extLst>
          </p:cNvPr>
          <p:cNvSpPr>
            <a:spLocks/>
          </p:cNvSpPr>
          <p:nvPr>
            <p:custDataLst>
              <p:tags r:id="rId15"/>
            </p:custDataLst>
          </p:nvPr>
        </p:nvSpPr>
        <p:spPr bwMode="gray">
          <a:xfrm>
            <a:off x="958850" y="5948363"/>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45F12-166F-4F3C-9580-C00BBAAD54EF}" type="datetime'''2'''',''''''''''''''1''''''3''''0'">
              <a:rPr lang="ja-JP" altLang="en-US" sz="1000" smtClean="0">
                <a:effectLst/>
              </a:rPr>
              <a:pPr/>
              <a:t>2,130</a:t>
            </a:fld>
            <a:endParaRPr kumimoji="1" lang="ja-JP" altLang="en-US" sz="1000" dirty="0">
              <a:sym typeface="+mn-lt"/>
            </a:endParaRPr>
          </a:p>
        </p:txBody>
      </p:sp>
      <p:sp useBgFill="1">
        <p:nvSpPr>
          <p:cNvPr id="110" name="テキスト プレースホルダ 9">
            <a:extLst>
              <a:ext uri="{FF2B5EF4-FFF2-40B4-BE49-F238E27FC236}">
                <a16:creationId xmlns:a16="http://schemas.microsoft.com/office/drawing/2014/main" id="{D7788D89-53DA-9608-9967-37C42F39BBF9}"/>
              </a:ext>
            </a:extLst>
          </p:cNvPr>
          <p:cNvSpPr>
            <a:spLocks/>
          </p:cNvSpPr>
          <p:nvPr>
            <p:custDataLst>
              <p:tags r:id="rId16"/>
            </p:custDataLst>
          </p:nvPr>
        </p:nvSpPr>
        <p:spPr bwMode="gray">
          <a:xfrm>
            <a:off x="1409700" y="594042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A8272D-45CD-40E9-84E0-0C694D2DDCB2}" type="datetime'''''''''''''''2'''''',''''''''''''''''''''''''2''2''''''5'''">
              <a:rPr lang="ja-JP" altLang="en-US" sz="1000" smtClean="0">
                <a:effectLst/>
              </a:rPr>
              <a:pPr/>
              <a:t>2,225</a:t>
            </a:fld>
            <a:endParaRPr kumimoji="1" lang="ja-JP" altLang="en-US" sz="1000" dirty="0">
              <a:sym typeface="+mn-lt"/>
            </a:endParaRPr>
          </a:p>
        </p:txBody>
      </p:sp>
      <p:sp useBgFill="1">
        <p:nvSpPr>
          <p:cNvPr id="117" name="テキスト プレースホルダ 9">
            <a:extLst>
              <a:ext uri="{FF2B5EF4-FFF2-40B4-BE49-F238E27FC236}">
                <a16:creationId xmlns:a16="http://schemas.microsoft.com/office/drawing/2014/main" id="{108828A0-1EBB-7465-5999-190BAB4C533F}"/>
              </a:ext>
            </a:extLst>
          </p:cNvPr>
          <p:cNvSpPr>
            <a:spLocks/>
          </p:cNvSpPr>
          <p:nvPr>
            <p:custDataLst>
              <p:tags r:id="rId17"/>
            </p:custDataLst>
          </p:nvPr>
        </p:nvSpPr>
        <p:spPr bwMode="gray">
          <a:xfrm>
            <a:off x="1858963" y="593407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3D5E3-0E69-4563-9F5F-7C5804F5B66E}" type="datetime'''''''''''''''''2,''2''''''''9''''3'''''''">
              <a:rPr lang="ja-JP" altLang="en-US" sz="1000" smtClean="0">
                <a:effectLst/>
              </a:rPr>
              <a:pPr/>
              <a:t>2,293</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B30193D8-9132-4FAC-8866-66C392B9041D}"/>
              </a:ext>
            </a:extLst>
          </p:cNvPr>
          <p:cNvSpPr>
            <a:spLocks/>
          </p:cNvSpPr>
          <p:nvPr>
            <p:custDataLst>
              <p:tags r:id="rId18"/>
            </p:custDataLst>
          </p:nvPr>
        </p:nvSpPr>
        <p:spPr bwMode="gray">
          <a:xfrm>
            <a:off x="230981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D8D0B-3EB0-402D-BD0D-6D4429034F3D}" type="datetime'''''''2'',''''''''3''''''''''''9''''''''0'''''">
              <a:rPr lang="ja-JP" altLang="en-US" sz="1000" smtClean="0">
                <a:effectLst/>
              </a:rPr>
              <a:pPr/>
              <a:t>2,390</a:t>
            </a:fld>
            <a:endParaRPr kumimoji="1" lang="ja-JP" altLang="en-US" sz="1000" dirty="0">
              <a:sym typeface="+mn-lt"/>
            </a:endParaRPr>
          </a:p>
        </p:txBody>
      </p:sp>
      <p:sp useBgFill="1">
        <p:nvSpPr>
          <p:cNvPr id="125" name="テキスト プレースホルダ 9">
            <a:extLst>
              <a:ext uri="{FF2B5EF4-FFF2-40B4-BE49-F238E27FC236}">
                <a16:creationId xmlns:a16="http://schemas.microsoft.com/office/drawing/2014/main" id="{7F21C496-4844-5F17-515D-70B6FBF8FA85}"/>
              </a:ext>
            </a:extLst>
          </p:cNvPr>
          <p:cNvSpPr>
            <a:spLocks/>
          </p:cNvSpPr>
          <p:nvPr>
            <p:custDataLst>
              <p:tags r:id="rId19"/>
            </p:custDataLst>
          </p:nvPr>
        </p:nvSpPr>
        <p:spPr bwMode="gray">
          <a:xfrm>
            <a:off x="276066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8F8976-D3B3-4232-A625-2EF74755CFE3}" type="datetime'''''''''''''2'''''''''''''',''''''''3''''9''''''''''''''''9'''">
              <a:rPr lang="ja-JP" altLang="en-US" sz="1000" smtClean="0">
                <a:effectLst/>
              </a:rPr>
              <a:pPr/>
              <a:t>2,399</a:t>
            </a:fld>
            <a:endParaRPr kumimoji="1" lang="ja-JP" altLang="en-US" sz="1000" dirty="0">
              <a:sym typeface="+mn-lt"/>
            </a:endParaRPr>
          </a:p>
        </p:txBody>
      </p:sp>
      <p:sp useBgFill="1">
        <p:nvSpPr>
          <p:cNvPr id="136" name="テキスト プレースホルダ 9">
            <a:extLst>
              <a:ext uri="{FF2B5EF4-FFF2-40B4-BE49-F238E27FC236}">
                <a16:creationId xmlns:a16="http://schemas.microsoft.com/office/drawing/2014/main" id="{0B4CE3BC-3AC1-45F9-1296-038B0AE1FF4E}"/>
              </a:ext>
            </a:extLst>
          </p:cNvPr>
          <p:cNvSpPr>
            <a:spLocks/>
          </p:cNvSpPr>
          <p:nvPr>
            <p:custDataLst>
              <p:tags r:id="rId20"/>
            </p:custDataLst>
          </p:nvPr>
        </p:nvSpPr>
        <p:spPr bwMode="gray">
          <a:xfrm>
            <a:off x="321151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8C8CD-2EB2-40C3-B265-C119AFEB452B}" type="datetime'''''2'',''3''9''''''''''''''''''''''''4'''''''">
              <a:rPr lang="ja-JP" altLang="en-US" sz="1000" smtClean="0">
                <a:effectLst/>
              </a:rPr>
              <a:pPr/>
              <a:t>2,394</a:t>
            </a:fld>
            <a:endParaRPr kumimoji="1" lang="ja-JP" altLang="en-US" sz="1000" dirty="0">
              <a:sym typeface="+mn-lt"/>
            </a:endParaRPr>
          </a:p>
        </p:txBody>
      </p:sp>
      <p:sp useBgFill="1">
        <p:nvSpPr>
          <p:cNvPr id="133" name="テキスト プレースホルダ 9">
            <a:extLst>
              <a:ext uri="{FF2B5EF4-FFF2-40B4-BE49-F238E27FC236}">
                <a16:creationId xmlns:a16="http://schemas.microsoft.com/office/drawing/2014/main" id="{80916255-9A9A-0533-1ECA-04442607FDA0}"/>
              </a:ext>
            </a:extLst>
          </p:cNvPr>
          <p:cNvSpPr>
            <a:spLocks/>
          </p:cNvSpPr>
          <p:nvPr>
            <p:custDataLst>
              <p:tags r:id="rId21"/>
            </p:custDataLst>
          </p:nvPr>
        </p:nvSpPr>
        <p:spPr bwMode="gray">
          <a:xfrm>
            <a:off x="3660775" y="5918200"/>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E9E69-1AC0-4FA0-823E-74CF39ED7EF3}" type="datetime'''2'''''',''''''''''5''''''''''''''''''''''''''0''7'">
              <a:rPr lang="ja-JP" altLang="en-US" sz="1000" smtClean="0">
                <a:effectLst/>
              </a:rPr>
              <a:pPr/>
              <a:t>2,507</a:t>
            </a:fld>
            <a:endParaRPr kumimoji="1" lang="ja-JP" altLang="en-US" sz="1000" dirty="0">
              <a:sym typeface="+mn-lt"/>
            </a:endParaRPr>
          </a:p>
        </p:txBody>
      </p:sp>
      <p:sp useBgFill="1">
        <p:nvSpPr>
          <p:cNvPr id="137" name="テキスト プレースホルダ 9">
            <a:extLst>
              <a:ext uri="{FF2B5EF4-FFF2-40B4-BE49-F238E27FC236}">
                <a16:creationId xmlns:a16="http://schemas.microsoft.com/office/drawing/2014/main" id="{EE907369-6FC1-FE3F-E524-B186655BD7C6}"/>
              </a:ext>
            </a:extLst>
          </p:cNvPr>
          <p:cNvSpPr>
            <a:spLocks/>
          </p:cNvSpPr>
          <p:nvPr>
            <p:custDataLst>
              <p:tags r:id="rId22"/>
            </p:custDataLst>
          </p:nvPr>
        </p:nvSpPr>
        <p:spPr bwMode="gray">
          <a:xfrm>
            <a:off x="4111625" y="5911850"/>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0237-D6EE-42FF-AA00-982D4809F1DC}" type="datetime'''''''''''''''''''''2'''',''''5''''78'''''''''''''''''''''''">
              <a:rPr lang="ja-JP" altLang="en-US" sz="1000" smtClean="0">
                <a:effectLst/>
              </a:rPr>
              <a:pPr/>
              <a:t>2,578</a:t>
            </a:fld>
            <a:endParaRPr kumimoji="1" lang="ja-JP" altLang="en-US" sz="1000" dirty="0">
              <a:sym typeface="+mn-lt"/>
            </a:endParaRPr>
          </a:p>
        </p:txBody>
      </p:sp>
      <p:cxnSp>
        <p:nvCxnSpPr>
          <p:cNvPr id="145" name="Straight Connector 144">
            <a:extLst>
              <a:ext uri="{FF2B5EF4-FFF2-40B4-BE49-F238E27FC236}">
                <a16:creationId xmlns:a16="http://schemas.microsoft.com/office/drawing/2014/main" id="{06D6BFE2-0B2C-D43C-11EB-BD3B1EDB4BF0}"/>
              </a:ext>
            </a:extLst>
          </p:cNvPr>
          <p:cNvCxnSpPr/>
          <p:nvPr>
            <p:custDataLst>
              <p:tags r:id="rId23"/>
            </p:custDataLst>
          </p:nvPr>
        </p:nvCxnSpPr>
        <p:spPr bwMode="gray">
          <a:xfrm>
            <a:off x="760413" y="38655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ABED8712-C07B-489B-09C1-B73DB4736CE0}"/>
              </a:ext>
            </a:extLst>
          </p:cNvPr>
          <p:cNvCxnSpPr/>
          <p:nvPr>
            <p:custDataLst>
              <p:tags r:id="rId24"/>
            </p:custDataLst>
          </p:nvPr>
        </p:nvCxnSpPr>
        <p:spPr bwMode="gray">
          <a:xfrm>
            <a:off x="760413" y="40687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8D7BC4B-C149-E8ED-0669-2C9903FAB92F}"/>
              </a:ext>
            </a:extLst>
          </p:cNvPr>
          <p:cNvCxnSpPr/>
          <p:nvPr>
            <p:custDataLst>
              <p:tags r:id="rId25"/>
            </p:custDataLst>
          </p:nvPr>
        </p:nvCxnSpPr>
        <p:spPr bwMode="gray">
          <a:xfrm>
            <a:off x="760413" y="42719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7C07EFDD-BC7F-5997-3356-7DE7A5D7D8FC}"/>
              </a:ext>
            </a:extLst>
          </p:cNvPr>
          <p:cNvCxnSpPr/>
          <p:nvPr>
            <p:custDataLst>
              <p:tags r:id="rId26"/>
            </p:custDataLst>
          </p:nvPr>
        </p:nvCxnSpPr>
        <p:spPr bwMode="gray">
          <a:xfrm>
            <a:off x="760413" y="44751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9" name="Oval 148">
            <a:extLst>
              <a:ext uri="{FF2B5EF4-FFF2-40B4-BE49-F238E27FC236}">
                <a16:creationId xmlns:a16="http://schemas.microsoft.com/office/drawing/2014/main" id="{12A0B9E0-8656-A587-B00F-B8D8520A939B}"/>
              </a:ext>
            </a:extLst>
          </p:cNvPr>
          <p:cNvSpPr/>
          <p:nvPr>
            <p:custDataLst>
              <p:tags r:id="rId27"/>
            </p:custDataLst>
          </p:nvPr>
        </p:nvSpPr>
        <p:spPr bwMode="gray">
          <a:xfrm>
            <a:off x="849313" y="38274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0" name="Rectangle 149">
            <a:extLst>
              <a:ext uri="{FF2B5EF4-FFF2-40B4-BE49-F238E27FC236}">
                <a16:creationId xmlns:a16="http://schemas.microsoft.com/office/drawing/2014/main" id="{43DC4EBF-97E9-349C-697D-04D4337D1FD3}"/>
              </a:ext>
            </a:extLst>
          </p:cNvPr>
          <p:cNvSpPr/>
          <p:nvPr>
            <p:custDataLst>
              <p:tags r:id="rId28"/>
            </p:custDataLst>
          </p:nvPr>
        </p:nvSpPr>
        <p:spPr bwMode="auto">
          <a:xfrm>
            <a:off x="849313" y="40306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1" name="Isosceles Triangle 150">
            <a:extLst>
              <a:ext uri="{FF2B5EF4-FFF2-40B4-BE49-F238E27FC236}">
                <a16:creationId xmlns:a16="http://schemas.microsoft.com/office/drawing/2014/main" id="{09CA1404-889F-81E9-C33B-7A5397CBC470}"/>
              </a:ext>
            </a:extLst>
          </p:cNvPr>
          <p:cNvSpPr/>
          <p:nvPr>
            <p:custDataLst>
              <p:tags r:id="rId29"/>
            </p:custDataLst>
          </p:nvPr>
        </p:nvSpPr>
        <p:spPr bwMode="auto">
          <a:xfrm>
            <a:off x="849313" y="423386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2" name="Diamond 151">
            <a:extLst>
              <a:ext uri="{FF2B5EF4-FFF2-40B4-BE49-F238E27FC236}">
                <a16:creationId xmlns:a16="http://schemas.microsoft.com/office/drawing/2014/main" id="{8F55F335-3308-2F01-1FAA-ADDC096885D5}"/>
              </a:ext>
            </a:extLst>
          </p:cNvPr>
          <p:cNvSpPr/>
          <p:nvPr>
            <p:custDataLst>
              <p:tags r:id="rId30"/>
            </p:custDataLst>
          </p:nvPr>
        </p:nvSpPr>
        <p:spPr bwMode="auto">
          <a:xfrm>
            <a:off x="849313" y="44370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3" name="テキスト プレースホルダ 9">
            <a:extLst>
              <a:ext uri="{FF2B5EF4-FFF2-40B4-BE49-F238E27FC236}">
                <a16:creationId xmlns:a16="http://schemas.microsoft.com/office/drawing/2014/main" id="{CC4019FB-F7B8-8437-1D63-AE6C431824B7}"/>
              </a:ext>
            </a:extLst>
          </p:cNvPr>
          <p:cNvSpPr>
            <a:spLocks/>
          </p:cNvSpPr>
          <p:nvPr>
            <p:custDataLst>
              <p:tags r:id="rId31"/>
            </p:custDataLst>
          </p:nvPr>
        </p:nvSpPr>
        <p:spPr bwMode="auto">
          <a:xfrm>
            <a:off x="1071563" y="37941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0AAC82-965C-4E7F-A5C2-BCB855A81677}" type="datetime'看''''''''''''''''''''護''''''師'''''''''''''''''''''''''''''''">
              <a:rPr lang="ja-JP" altLang="en-US" sz="1000" smtClean="0"/>
              <a:pPr/>
              <a:t>看護師</a:t>
            </a:fld>
            <a:endParaRPr kumimoji="0" lang="ja-JP" altLang="en-US" sz="1000" dirty="0">
              <a:sym typeface="+mn-lt"/>
            </a:endParaRPr>
          </a:p>
        </p:txBody>
      </p:sp>
      <p:sp>
        <p:nvSpPr>
          <p:cNvPr id="154" name="テキスト プレースホルダ 9">
            <a:extLst>
              <a:ext uri="{FF2B5EF4-FFF2-40B4-BE49-F238E27FC236}">
                <a16:creationId xmlns:a16="http://schemas.microsoft.com/office/drawing/2014/main" id="{7E3D8580-CDB2-C861-CA97-C368EBA72D0B}"/>
              </a:ext>
            </a:extLst>
          </p:cNvPr>
          <p:cNvSpPr>
            <a:spLocks/>
          </p:cNvSpPr>
          <p:nvPr>
            <p:custDataLst>
              <p:tags r:id="rId32"/>
            </p:custDataLst>
          </p:nvPr>
        </p:nvSpPr>
        <p:spPr bwMode="auto">
          <a:xfrm>
            <a:off x="1071563" y="39973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5BB4BFD-0493-4D36-A02A-41DC625804B8}" type="datetime'''医''師''（歯科''''''医''''''を''''''除''''''''''''''''く''''）'">
              <a:rPr kumimoji="0" lang="ja-JP" altLang="en-US" sz="1000" smtClean="0"/>
              <a:pPr/>
              <a:t>医師（歯科医を除く）</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01F5FEA9-0598-162A-78AE-88F4D54B01B9}"/>
              </a:ext>
            </a:extLst>
          </p:cNvPr>
          <p:cNvSpPr>
            <a:spLocks/>
          </p:cNvSpPr>
          <p:nvPr>
            <p:custDataLst>
              <p:tags r:id="rId33"/>
            </p:custDataLst>
          </p:nvPr>
        </p:nvSpPr>
        <p:spPr bwMode="auto">
          <a:xfrm>
            <a:off x="1071563" y="4200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8938E4-1075-436C-8D2C-D4DBD2A94A05}" type="datetime'薬''''''剤''''''''''''''''''''''''''''''''''''''師'''''">
              <a:rPr kumimoji="0" lang="ja-JP" altLang="en-US" sz="1000" smtClean="0"/>
              <a:pPr/>
              <a:t>薬剤師</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4A1A06C7-A4CB-A837-1CCF-1772FD073278}"/>
              </a:ext>
            </a:extLst>
          </p:cNvPr>
          <p:cNvSpPr>
            <a:spLocks/>
          </p:cNvSpPr>
          <p:nvPr>
            <p:custDataLst>
              <p:tags r:id="rId34"/>
            </p:custDataLst>
          </p:nvPr>
        </p:nvSpPr>
        <p:spPr bwMode="auto">
          <a:xfrm>
            <a:off x="1071563" y="4403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244467-4577-4DAE-AC1C-E839B295DE3C}" type="datetime'''''''''''歯''''''''''''''''''''科''''''''''''''''''医'''''''">
              <a:rPr kumimoji="0" lang="ja-JP" altLang="en-US" sz="1000" smtClean="0"/>
              <a:pPr/>
              <a:t>歯科医</a:t>
            </a:fld>
            <a:endParaRPr kumimoji="0" lang="ja-JP" altLang="en-US" sz="1000" dirty="0">
              <a:sym typeface="+mn-lt"/>
            </a:endParaRPr>
          </a:p>
        </p:txBody>
      </p:sp>
      <p:graphicFrame>
        <p:nvGraphicFramePr>
          <p:cNvPr id="422" name="Chart 421">
            <a:extLst>
              <a:ext uri="{FF2B5EF4-FFF2-40B4-BE49-F238E27FC236}">
                <a16:creationId xmlns:a16="http://schemas.microsoft.com/office/drawing/2014/main" id="{19BEBC14-897B-093C-0053-04C5006786EB}"/>
              </a:ext>
            </a:extLst>
          </p:cNvPr>
          <p:cNvGraphicFramePr/>
          <p:nvPr>
            <p:custDataLst>
              <p:tags r:id="rId35"/>
            </p:custDataLst>
            <p:extLst>
              <p:ext uri="{D42A27DB-BD31-4B8C-83A1-F6EECF244321}">
                <p14:modId xmlns:p14="http://schemas.microsoft.com/office/powerpoint/2010/main" val="3303024739"/>
              </p:ext>
            </p:extLst>
          </p:nvPr>
        </p:nvGraphicFramePr>
        <p:xfrm>
          <a:off x="5105400" y="2195513"/>
          <a:ext cx="4683125" cy="4052887"/>
        </p:xfrm>
        <a:graphic>
          <a:graphicData uri="http://schemas.openxmlformats.org/drawingml/2006/chart">
            <c:chart xmlns:c="http://schemas.openxmlformats.org/drawingml/2006/chart" xmlns:r="http://schemas.openxmlformats.org/officeDocument/2006/relationships" r:id="rId71"/>
          </a:graphicData>
        </a:graphic>
      </p:graphicFrame>
      <p:sp>
        <p:nvSpPr>
          <p:cNvPr id="158" name="テキスト プレースホルダ 9">
            <a:extLst>
              <a:ext uri="{FF2B5EF4-FFF2-40B4-BE49-F238E27FC236}">
                <a16:creationId xmlns:a16="http://schemas.microsoft.com/office/drawing/2014/main" id="{C2592A47-79BE-9DA9-FA36-7725A6217F8E}"/>
              </a:ext>
            </a:extLst>
          </p:cNvPr>
          <p:cNvSpPr>
            <a:spLocks/>
          </p:cNvSpPr>
          <p:nvPr>
            <p:custDataLst>
              <p:tags r:id="rId36"/>
            </p:custDataLst>
          </p:nvPr>
        </p:nvSpPr>
        <p:spPr bwMode="auto">
          <a:xfrm>
            <a:off x="5565775" y="61404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6AE7D-BE1E-421D-9AF9-C1A24AA902DE}" type="datetime'''''''''''''''''''''''''''2''0''''''1''''''''''''5'''''''">
              <a:rPr lang="ja-JP" altLang="en-US" sz="1000" smtClean="0"/>
              <a:pPr/>
              <a:t>2015</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466CC35C-9779-98F2-2906-2E6B3C50AA58}"/>
              </a:ext>
            </a:extLst>
          </p:cNvPr>
          <p:cNvSpPr>
            <a:spLocks/>
          </p:cNvSpPr>
          <p:nvPr>
            <p:custDataLst>
              <p:tags r:id="rId37"/>
            </p:custDataLst>
          </p:nvPr>
        </p:nvSpPr>
        <p:spPr bwMode="auto">
          <a:xfrm>
            <a:off x="61055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2B27C-6D63-474D-8B66-14A6162357FE}" type="datetime'''1''''''''''''''''''''''''''''6'''''''''''''''''''''''''''">
              <a:rPr lang="ja-JP" altLang="en-US" sz="1000" smtClean="0"/>
              <a:pPr/>
              <a:t>16</a:t>
            </a:fld>
            <a:endParaRPr kumimoji="1" lang="ja-JP" altLang="en-US" sz="1000" dirty="0">
              <a:sym typeface="+mn-lt"/>
            </a:endParaRPr>
          </a:p>
        </p:txBody>
      </p:sp>
      <p:sp useBgFill="1">
        <p:nvSpPr>
          <p:cNvPr id="170" name="テキスト プレースホルダ 9">
            <a:extLst>
              <a:ext uri="{FF2B5EF4-FFF2-40B4-BE49-F238E27FC236}">
                <a16:creationId xmlns:a16="http://schemas.microsoft.com/office/drawing/2014/main" id="{DF6B9B2F-224A-988B-B04B-01EFACEFBBB4}"/>
              </a:ext>
            </a:extLst>
          </p:cNvPr>
          <p:cNvSpPr>
            <a:spLocks/>
          </p:cNvSpPr>
          <p:nvPr>
            <p:custDataLst>
              <p:tags r:id="rId38"/>
            </p:custDataLst>
          </p:nvPr>
        </p:nvSpPr>
        <p:spPr bwMode="gray">
          <a:xfrm>
            <a:off x="6546850" y="59277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3A52A-5E31-4B69-A650-F86D21A76B83}" type="datetime'''''''''''4''''''''''''''''''''''''''''''''''.''''''0'''''">
              <a:rPr lang="ja-JP" altLang="en-US" sz="1000" smtClean="0">
                <a:effectLst/>
              </a:rPr>
              <a:pPr/>
              <a:t>4.0</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7E71F427-4B71-1711-6401-15AAB7517792}"/>
              </a:ext>
            </a:extLst>
          </p:cNvPr>
          <p:cNvSpPr>
            <a:spLocks/>
          </p:cNvSpPr>
          <p:nvPr>
            <p:custDataLst>
              <p:tags r:id="rId39"/>
            </p:custDataLst>
          </p:nvPr>
        </p:nvSpPr>
        <p:spPr bwMode="auto">
          <a:xfrm>
            <a:off x="65754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6B631-8CAD-4AA3-A93C-4896BA68DE3C}" type="datetime'1''''''''''''''''''''''7'''''''''''''''''''">
              <a:rPr lang="ja-JP" altLang="en-US" sz="1000" smtClean="0"/>
              <a:pPr/>
              <a:t>17</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23A112CF-D43B-C0BB-E22E-0ED13F66375C}"/>
              </a:ext>
            </a:extLst>
          </p:cNvPr>
          <p:cNvSpPr>
            <a:spLocks/>
          </p:cNvSpPr>
          <p:nvPr>
            <p:custDataLst>
              <p:tags r:id="rId40"/>
            </p:custDataLst>
          </p:nvPr>
        </p:nvSpPr>
        <p:spPr bwMode="auto">
          <a:xfrm>
            <a:off x="70453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8B591-02EE-46D7-9E59-945C5F5C2E55}" type="datetime'''''''''''''1''''8'''''''''''''''''''''''''''''''''''''''">
              <a:rPr lang="ja-JP" altLang="en-US" sz="1000" smtClean="0"/>
              <a:pPr/>
              <a:t>18</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9BAFE13B-9F7D-CEB8-C7EB-E333A423FCAC}"/>
              </a:ext>
            </a:extLst>
          </p:cNvPr>
          <p:cNvSpPr>
            <a:spLocks/>
          </p:cNvSpPr>
          <p:nvPr>
            <p:custDataLst>
              <p:tags r:id="rId41"/>
            </p:custDataLst>
          </p:nvPr>
        </p:nvSpPr>
        <p:spPr bwMode="auto">
          <a:xfrm>
            <a:off x="75152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A6AB24-EA68-434D-8D26-CD1CE162D97B}" type="datetime'''''''''''''''1''''''''''''''''''''''''''''''9'''">
              <a:rPr lang="ja-JP" altLang="en-US" sz="1000" smtClean="0"/>
              <a:pPr/>
              <a:t>19</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63194D2-6D37-C446-750C-C98AF885DA6A}"/>
              </a:ext>
            </a:extLst>
          </p:cNvPr>
          <p:cNvSpPr>
            <a:spLocks/>
          </p:cNvSpPr>
          <p:nvPr>
            <p:custDataLst>
              <p:tags r:id="rId42"/>
            </p:custDataLst>
          </p:nvPr>
        </p:nvSpPr>
        <p:spPr bwMode="auto">
          <a:xfrm>
            <a:off x="79851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BB26F3-10D4-4CB8-AE74-6D5614B67E52}" type="datetime'''''''''2''''''''''''''''''''''''''''''0'''''''">
              <a:rPr lang="ja-JP" altLang="en-US" sz="1000" smtClean="0"/>
              <a:pPr/>
              <a:t>2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788C11D-FC17-4F5D-BEC1-AEF0AB6278C1}"/>
              </a:ext>
            </a:extLst>
          </p:cNvPr>
          <p:cNvSpPr>
            <a:spLocks/>
          </p:cNvSpPr>
          <p:nvPr>
            <p:custDataLst>
              <p:tags r:id="rId43"/>
            </p:custDataLst>
          </p:nvPr>
        </p:nvSpPr>
        <p:spPr bwMode="auto">
          <a:xfrm>
            <a:off x="84550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3240F2-2FCA-414B-90F9-412D2DBBB0E9}" type="datetime'''''''''''''''''''''''''''''2''1'''''''''''''''''''">
              <a:rPr lang="ja-JP" altLang="en-US" sz="1000" smtClean="0"/>
              <a:pPr/>
              <a:t>21</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BC8DD86E-ABAE-722D-65D8-A0771043D934}"/>
              </a:ext>
            </a:extLst>
          </p:cNvPr>
          <p:cNvSpPr>
            <a:spLocks/>
          </p:cNvSpPr>
          <p:nvPr>
            <p:custDataLst>
              <p:tags r:id="rId44"/>
            </p:custDataLst>
          </p:nvPr>
        </p:nvSpPr>
        <p:spPr bwMode="auto">
          <a:xfrm>
            <a:off x="89249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F9C44-2D7E-4A77-A4E1-119B25F2D9E2}" type="datetime'''''''''''''''''2''''''''''''''''2'''''''''''''''''''''">
              <a:rPr lang="ja-JP" altLang="en-US" sz="1000" smtClean="0"/>
              <a:pPr/>
              <a:t>22</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3B258BB-F60F-06C2-8C06-41A588768A81}"/>
              </a:ext>
            </a:extLst>
          </p:cNvPr>
          <p:cNvSpPr>
            <a:spLocks/>
          </p:cNvSpPr>
          <p:nvPr>
            <p:custDataLst>
              <p:tags r:id="rId45"/>
            </p:custDataLst>
          </p:nvPr>
        </p:nvSpPr>
        <p:spPr bwMode="auto">
          <a:xfrm>
            <a:off x="93948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5C058-FA9B-4E44-8B0B-EF155948296A}" type="datetime'''''''''''''''''''''''''''''''''''''''''2''''3'''''''">
              <a:rPr lang="ja-JP" altLang="en-US" sz="1000" smtClean="0"/>
              <a:pPr/>
              <a:t>23</a:t>
            </a:fld>
            <a:endParaRPr kumimoji="1" lang="ja-JP" altLang="en-US" sz="1000" dirty="0">
              <a:sym typeface="+mn-lt"/>
            </a:endParaRPr>
          </a:p>
        </p:txBody>
      </p:sp>
      <p:sp useBgFill="1">
        <p:nvSpPr>
          <p:cNvPr id="326" name="テキスト プレースホルダ 9">
            <a:extLst>
              <a:ext uri="{FF2B5EF4-FFF2-40B4-BE49-F238E27FC236}">
                <a16:creationId xmlns:a16="http://schemas.microsoft.com/office/drawing/2014/main" id="{84553E92-3BDC-8A33-247F-097A74B47217}"/>
              </a:ext>
            </a:extLst>
          </p:cNvPr>
          <p:cNvSpPr>
            <a:spLocks/>
          </p:cNvSpPr>
          <p:nvPr>
            <p:custDataLst>
              <p:tags r:id="rId46"/>
            </p:custDataLst>
          </p:nvPr>
        </p:nvSpPr>
        <p:spPr bwMode="gray">
          <a:xfrm>
            <a:off x="7016750" y="59229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5C5666-3D77-406B-83F1-2049EC4AFB3F}" type="datetime'4''''''''''''''''''''''''.1'''''''">
              <a:rPr lang="ja-JP" altLang="en-US" sz="1000" smtClean="0">
                <a:effectLst/>
              </a:rPr>
              <a:pPr/>
              <a:t>4.1</a:t>
            </a:fld>
            <a:endParaRPr kumimoji="1" lang="ja-JP" altLang="en-US" sz="1000" dirty="0">
              <a:sym typeface="+mn-lt"/>
            </a:endParaRPr>
          </a:p>
        </p:txBody>
      </p:sp>
      <p:sp useBgFill="1">
        <p:nvSpPr>
          <p:cNvPr id="327" name="テキスト プレースホルダ 9">
            <a:extLst>
              <a:ext uri="{FF2B5EF4-FFF2-40B4-BE49-F238E27FC236}">
                <a16:creationId xmlns:a16="http://schemas.microsoft.com/office/drawing/2014/main" id="{BC09E3A6-26F1-3154-01B2-27CEB95356EE}"/>
              </a:ext>
            </a:extLst>
          </p:cNvPr>
          <p:cNvSpPr>
            <a:spLocks/>
          </p:cNvSpPr>
          <p:nvPr>
            <p:custDataLst>
              <p:tags r:id="rId47"/>
            </p:custDataLst>
          </p:nvPr>
        </p:nvSpPr>
        <p:spPr bwMode="gray">
          <a:xfrm>
            <a:off x="7486650" y="59150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437E9-15A6-4B87-9A5D-598F59BA564A}" type="datetime'''''''''''''''''''''''''''''''''4''''''''''.''2'''''''''''''">
              <a:rPr lang="ja-JP" altLang="en-US" sz="1000" smtClean="0">
                <a:effectLst/>
              </a:rPr>
              <a:pPr/>
              <a:t>4.2</a:t>
            </a:fld>
            <a:endParaRPr kumimoji="1" lang="ja-JP" altLang="en-US" sz="1000" dirty="0">
              <a:sym typeface="+mn-lt"/>
            </a:endParaRPr>
          </a:p>
        </p:txBody>
      </p:sp>
      <p:sp useBgFill="1">
        <p:nvSpPr>
          <p:cNvPr id="328" name="テキスト プレースホルダ 9">
            <a:extLst>
              <a:ext uri="{FF2B5EF4-FFF2-40B4-BE49-F238E27FC236}">
                <a16:creationId xmlns:a16="http://schemas.microsoft.com/office/drawing/2014/main" id="{447EE051-DF04-2BF6-392C-2BBC1432D5B8}"/>
              </a:ext>
            </a:extLst>
          </p:cNvPr>
          <p:cNvSpPr>
            <a:spLocks/>
          </p:cNvSpPr>
          <p:nvPr>
            <p:custDataLst>
              <p:tags r:id="rId48"/>
            </p:custDataLst>
          </p:nvPr>
        </p:nvSpPr>
        <p:spPr bwMode="gray">
          <a:xfrm>
            <a:off x="7956550" y="59134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AE98E4-37CB-4B81-B178-71222592121E}" type="datetime'4''''''''''''''''''.''''3'''''''''''''''''''">
              <a:rPr lang="ja-JP" altLang="en-US" sz="1000" smtClean="0">
                <a:effectLst/>
              </a:rPr>
              <a:pPr/>
              <a:t>4.3</a:t>
            </a:fld>
            <a:endParaRPr kumimoji="1" lang="ja-JP" altLang="en-US" sz="1000" dirty="0">
              <a:sym typeface="+mn-lt"/>
            </a:endParaRPr>
          </a:p>
        </p:txBody>
      </p:sp>
      <p:sp useBgFill="1">
        <p:nvSpPr>
          <p:cNvPr id="329" name="テキスト プレースホルダ 9">
            <a:extLst>
              <a:ext uri="{FF2B5EF4-FFF2-40B4-BE49-F238E27FC236}">
                <a16:creationId xmlns:a16="http://schemas.microsoft.com/office/drawing/2014/main" id="{18E9D23A-07E0-61CB-D85F-5481BBA4F747}"/>
              </a:ext>
            </a:extLst>
          </p:cNvPr>
          <p:cNvSpPr>
            <a:spLocks/>
          </p:cNvSpPr>
          <p:nvPr>
            <p:custDataLst>
              <p:tags r:id="rId49"/>
            </p:custDataLst>
          </p:nvPr>
        </p:nvSpPr>
        <p:spPr bwMode="gray">
          <a:xfrm>
            <a:off x="8426450" y="59102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D18247-0DB9-4C5C-9DF6-1186BBDD590E}" type="datetime'''''''4''.''''''''''''''''''''''''''''''''''''''''3'''''">
              <a:rPr lang="ja-JP" altLang="en-US" sz="1000" smtClean="0">
                <a:effectLst/>
              </a:rPr>
              <a:pPr/>
              <a:t>4.3</a:t>
            </a:fld>
            <a:endParaRPr kumimoji="1" lang="ja-JP" altLang="en-US" sz="1000" dirty="0">
              <a:sym typeface="+mn-lt"/>
            </a:endParaRPr>
          </a:p>
        </p:txBody>
      </p:sp>
      <p:sp useBgFill="1">
        <p:nvSpPr>
          <p:cNvPr id="330" name="テキスト プレースホルダ 9">
            <a:extLst>
              <a:ext uri="{FF2B5EF4-FFF2-40B4-BE49-F238E27FC236}">
                <a16:creationId xmlns:a16="http://schemas.microsoft.com/office/drawing/2014/main" id="{4E287A92-B6B9-ACEC-479D-D2DA1A81E219}"/>
              </a:ext>
            </a:extLst>
          </p:cNvPr>
          <p:cNvSpPr>
            <a:spLocks/>
          </p:cNvSpPr>
          <p:nvPr>
            <p:custDataLst>
              <p:tags r:id="rId50"/>
            </p:custDataLst>
          </p:nvPr>
        </p:nvSpPr>
        <p:spPr bwMode="gray">
          <a:xfrm>
            <a:off x="8896350" y="590550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7CA820-21C9-492D-857C-289450A32A79}" type="datetime'''''''''''''''''''4.''''4'''''''''">
              <a:rPr lang="ja-JP" altLang="en-US" sz="1000" smtClean="0">
                <a:effectLst/>
              </a:rPr>
              <a:pPr/>
              <a:t>4.4</a:t>
            </a:fld>
            <a:endParaRPr kumimoji="1" lang="ja-JP" altLang="en-US" sz="1000" dirty="0">
              <a:sym typeface="+mn-lt"/>
            </a:endParaRPr>
          </a:p>
        </p:txBody>
      </p:sp>
      <p:sp useBgFill="1">
        <p:nvSpPr>
          <p:cNvPr id="331" name="テキスト プレースホルダ 9">
            <a:extLst>
              <a:ext uri="{FF2B5EF4-FFF2-40B4-BE49-F238E27FC236}">
                <a16:creationId xmlns:a16="http://schemas.microsoft.com/office/drawing/2014/main" id="{7303609B-58D2-4186-26C2-431428333479}"/>
              </a:ext>
            </a:extLst>
          </p:cNvPr>
          <p:cNvSpPr>
            <a:spLocks/>
          </p:cNvSpPr>
          <p:nvPr>
            <p:custDataLst>
              <p:tags r:id="rId51"/>
            </p:custDataLst>
          </p:nvPr>
        </p:nvSpPr>
        <p:spPr bwMode="gray">
          <a:xfrm>
            <a:off x="9366250" y="59039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D59EE9-A436-4525-961B-2CF46F8A1190}" type="datetime'''''''''''4''''''''''''.''''''''''''''''''''''''''''''''''5'''">
              <a:rPr lang="ja-JP" altLang="en-US" sz="1000" smtClean="0">
                <a:effectLst/>
              </a:rPr>
              <a:pPr/>
              <a:t>4.5</a:t>
            </a:fld>
            <a:endParaRPr kumimoji="1" lang="ja-JP" altLang="en-US" sz="1000" dirty="0">
              <a:sym typeface="+mn-lt"/>
            </a:endParaRPr>
          </a:p>
        </p:txBody>
      </p:sp>
      <p:sp useBgFill="1">
        <p:nvSpPr>
          <p:cNvPr id="404" name="テキスト プレースホルダ 9">
            <a:extLst>
              <a:ext uri="{FF2B5EF4-FFF2-40B4-BE49-F238E27FC236}">
                <a16:creationId xmlns:a16="http://schemas.microsoft.com/office/drawing/2014/main" id="{1C3A1230-2A15-D188-7006-3BE8AAFA04DB}"/>
              </a:ext>
            </a:extLst>
          </p:cNvPr>
          <p:cNvSpPr>
            <a:spLocks/>
          </p:cNvSpPr>
          <p:nvPr>
            <p:custDataLst>
              <p:tags r:id="rId52"/>
            </p:custDataLst>
          </p:nvPr>
        </p:nvSpPr>
        <p:spPr bwMode="gray">
          <a:xfrm>
            <a:off x="5607050" y="59451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77A13B-EBF1-4552-8441-45C139BFE17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useBgFill="1">
        <p:nvSpPr>
          <p:cNvPr id="407" name="テキスト プレースホルダ 9">
            <a:extLst>
              <a:ext uri="{FF2B5EF4-FFF2-40B4-BE49-F238E27FC236}">
                <a16:creationId xmlns:a16="http://schemas.microsoft.com/office/drawing/2014/main" id="{D4A93B72-C5BC-91D3-665B-B8CC00F2922D}"/>
              </a:ext>
            </a:extLst>
          </p:cNvPr>
          <p:cNvSpPr>
            <a:spLocks/>
          </p:cNvSpPr>
          <p:nvPr>
            <p:custDataLst>
              <p:tags r:id="rId53"/>
            </p:custDataLst>
          </p:nvPr>
        </p:nvSpPr>
        <p:spPr bwMode="gray">
          <a:xfrm>
            <a:off x="6076950" y="59340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1834F-338D-4E0C-81F9-A33F8278B735}"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cxnSp>
        <p:nvCxnSpPr>
          <p:cNvPr id="171" name="Straight Connector 170">
            <a:extLst>
              <a:ext uri="{FF2B5EF4-FFF2-40B4-BE49-F238E27FC236}">
                <a16:creationId xmlns:a16="http://schemas.microsoft.com/office/drawing/2014/main" id="{BD12288C-82F5-44E1-3431-38E11B6E4053}"/>
              </a:ext>
            </a:extLst>
          </p:cNvPr>
          <p:cNvCxnSpPr/>
          <p:nvPr>
            <p:custDataLst>
              <p:tags r:id="rId54"/>
            </p:custDataLst>
          </p:nvPr>
        </p:nvCxnSpPr>
        <p:spPr bwMode="gray">
          <a:xfrm>
            <a:off x="5756275" y="38655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4D30C3E2-B17C-8478-0CF8-8F8F3A0B5551}"/>
              </a:ext>
            </a:extLst>
          </p:cNvPr>
          <p:cNvCxnSpPr/>
          <p:nvPr>
            <p:custDataLst>
              <p:tags r:id="rId55"/>
            </p:custDataLst>
          </p:nvPr>
        </p:nvCxnSpPr>
        <p:spPr bwMode="gray">
          <a:xfrm>
            <a:off x="5756275" y="40687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B58D2FF2-A89C-78D0-DF61-943F83CA0D64}"/>
              </a:ext>
            </a:extLst>
          </p:cNvPr>
          <p:cNvCxnSpPr/>
          <p:nvPr>
            <p:custDataLst>
              <p:tags r:id="rId56"/>
            </p:custDataLst>
          </p:nvPr>
        </p:nvCxnSpPr>
        <p:spPr bwMode="gray">
          <a:xfrm>
            <a:off x="5756275" y="42719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02B97FFE-08BB-61FE-CAD2-9EABE3E4C949}"/>
              </a:ext>
            </a:extLst>
          </p:cNvPr>
          <p:cNvCxnSpPr/>
          <p:nvPr>
            <p:custDataLst>
              <p:tags r:id="rId57"/>
            </p:custDataLst>
          </p:nvPr>
        </p:nvCxnSpPr>
        <p:spPr bwMode="gray">
          <a:xfrm>
            <a:off x="5756275" y="44751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 name="Oval 174">
            <a:extLst>
              <a:ext uri="{FF2B5EF4-FFF2-40B4-BE49-F238E27FC236}">
                <a16:creationId xmlns:a16="http://schemas.microsoft.com/office/drawing/2014/main" id="{637F15BB-7D88-75CE-B08C-9C6E579F8477}"/>
              </a:ext>
            </a:extLst>
          </p:cNvPr>
          <p:cNvSpPr/>
          <p:nvPr>
            <p:custDataLst>
              <p:tags r:id="rId58"/>
            </p:custDataLst>
          </p:nvPr>
        </p:nvSpPr>
        <p:spPr bwMode="gray">
          <a:xfrm>
            <a:off x="5845175" y="38274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Rectangle 175">
            <a:extLst>
              <a:ext uri="{FF2B5EF4-FFF2-40B4-BE49-F238E27FC236}">
                <a16:creationId xmlns:a16="http://schemas.microsoft.com/office/drawing/2014/main" id="{DA7C6295-A3E3-7641-C747-BF2B6C8B8BFD}"/>
              </a:ext>
            </a:extLst>
          </p:cNvPr>
          <p:cNvSpPr/>
          <p:nvPr>
            <p:custDataLst>
              <p:tags r:id="rId59"/>
            </p:custDataLst>
          </p:nvPr>
        </p:nvSpPr>
        <p:spPr bwMode="auto">
          <a:xfrm>
            <a:off x="5845175" y="40306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Isosceles Triangle 176">
            <a:extLst>
              <a:ext uri="{FF2B5EF4-FFF2-40B4-BE49-F238E27FC236}">
                <a16:creationId xmlns:a16="http://schemas.microsoft.com/office/drawing/2014/main" id="{892BE0E5-0F81-91C7-67F6-78B6462B89E8}"/>
              </a:ext>
            </a:extLst>
          </p:cNvPr>
          <p:cNvSpPr/>
          <p:nvPr>
            <p:custDataLst>
              <p:tags r:id="rId60"/>
            </p:custDataLst>
          </p:nvPr>
        </p:nvSpPr>
        <p:spPr bwMode="auto">
          <a:xfrm>
            <a:off x="5845175" y="42338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Diamond 177">
            <a:extLst>
              <a:ext uri="{FF2B5EF4-FFF2-40B4-BE49-F238E27FC236}">
                <a16:creationId xmlns:a16="http://schemas.microsoft.com/office/drawing/2014/main" id="{E4DD03AC-B56D-ABE6-52F7-A46BEFF55F46}"/>
              </a:ext>
            </a:extLst>
          </p:cNvPr>
          <p:cNvSpPr/>
          <p:nvPr>
            <p:custDataLst>
              <p:tags r:id="rId61"/>
            </p:custDataLst>
          </p:nvPr>
        </p:nvSpPr>
        <p:spPr bwMode="auto">
          <a:xfrm>
            <a:off x="5845175" y="44370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テキスト プレースホルダ 9">
            <a:extLst>
              <a:ext uri="{FF2B5EF4-FFF2-40B4-BE49-F238E27FC236}">
                <a16:creationId xmlns:a16="http://schemas.microsoft.com/office/drawing/2014/main" id="{8165F45D-99CF-49C8-8543-28A566EDA5C1}"/>
              </a:ext>
            </a:extLst>
          </p:cNvPr>
          <p:cNvSpPr>
            <a:spLocks/>
          </p:cNvSpPr>
          <p:nvPr>
            <p:custDataLst>
              <p:tags r:id="rId62"/>
            </p:custDataLst>
          </p:nvPr>
        </p:nvSpPr>
        <p:spPr bwMode="auto">
          <a:xfrm>
            <a:off x="6067425" y="37941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1DD43B-7452-4525-8251-1A77F01E29DE}" type="datetime'''''''''''''''''看''''''''''''''''''''''''''''''''''護師'''">
              <a:rPr lang="ja-JP" altLang="en-US" sz="1000" smtClean="0"/>
              <a:pPr/>
              <a:t>看護師</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E58E447F-9490-EDE4-4A6A-AA92B68D512F}"/>
              </a:ext>
            </a:extLst>
          </p:cNvPr>
          <p:cNvSpPr>
            <a:spLocks/>
          </p:cNvSpPr>
          <p:nvPr>
            <p:custDataLst>
              <p:tags r:id="rId63"/>
            </p:custDataLst>
          </p:nvPr>
        </p:nvSpPr>
        <p:spPr bwMode="auto">
          <a:xfrm>
            <a:off x="6067425" y="3997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D941A2-7B2B-4F1E-9D87-396A96A1DFA1}" type="datetime'''''''''''''''''''''''''医''''''''''''''''''''''''''''師'''''">
              <a:rPr kumimoji="0" lang="ja-JP" altLang="en-US" sz="1000" smtClean="0"/>
              <a:pPr/>
              <a:t>医師</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433BF74F-7D4E-D269-6476-D16E3FF23BCD}"/>
              </a:ext>
            </a:extLst>
          </p:cNvPr>
          <p:cNvSpPr>
            <a:spLocks/>
          </p:cNvSpPr>
          <p:nvPr>
            <p:custDataLst>
              <p:tags r:id="rId64"/>
            </p:custDataLst>
          </p:nvPr>
        </p:nvSpPr>
        <p:spPr bwMode="auto">
          <a:xfrm>
            <a:off x="6067425" y="4200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788CC6-5EA7-466B-84B0-2AFB057D29E7}" type="datetime'''''''''''''''薬''''''''''剤''''師'''''''''">
              <a:rPr kumimoji="0" lang="ja-JP" altLang="en-US" sz="1000" smtClean="0"/>
              <a:pPr/>
              <a:t>薬剤師</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632A1724-10D9-B0D5-9E7D-0A1698FE77F8}"/>
              </a:ext>
            </a:extLst>
          </p:cNvPr>
          <p:cNvSpPr>
            <a:spLocks/>
          </p:cNvSpPr>
          <p:nvPr>
            <p:custDataLst>
              <p:tags r:id="rId65"/>
            </p:custDataLst>
          </p:nvPr>
        </p:nvSpPr>
        <p:spPr bwMode="auto">
          <a:xfrm>
            <a:off x="6067425" y="4403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164A0A-7CF0-49B1-9CF3-AC7D42FBECAD}"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295021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463697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89505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15549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807597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20192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91322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22293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91536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061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20001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999292734"/>
              </p:ext>
            </p:extLst>
          </p:nvPr>
        </p:nvGraphicFramePr>
        <p:xfrm>
          <a:off x="5205528" y="1152000"/>
          <a:ext cx="4500000" cy="517017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7254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78633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367459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226628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イベント</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86925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シンガポールの医療課題に対処するための</a:t>
                      </a:r>
                      <a:endParaRPr lang="en-US" altLang="ja-JP" sz="1050" dirty="0">
                        <a:solidFill>
                          <a:schemeClr val="tx1"/>
                        </a:solidFill>
                      </a:endParaRPr>
                    </a:p>
                    <a:p>
                      <a:pPr>
                        <a:lnSpc>
                          <a:spcPct val="90000"/>
                        </a:lnSpc>
                      </a:pPr>
                      <a:r>
                        <a:rPr lang="ja-JP" altLang="en-US" sz="1050" dirty="0">
                          <a:solidFill>
                            <a:schemeClr val="tx1"/>
                          </a:solidFill>
                        </a:rPr>
                        <a:t>主要政策・プログラム一覧</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8469096"/>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シンガポール共和国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746017"/>
                  </a:ext>
                </a:extLst>
              </a:tr>
            </a:tbl>
          </a:graphicData>
        </a:graphic>
      </p:graphicFrame>
      <p:cxnSp>
        <p:nvCxnSpPr>
          <p:cNvPr id="16" name="Straight Connector 15">
            <a:extLst>
              <a:ext uri="{FF2B5EF4-FFF2-40B4-BE49-F238E27FC236}">
                <a16:creationId xmlns:a16="http://schemas.microsoft.com/office/drawing/2014/main" id="{5BEA9CEF-6DFE-459A-A818-10306496EF9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76156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8" imgW="395" imgH="396" progId="TCLayout.ActiveDocument.1">
                  <p:embed/>
                </p:oleObj>
              </mc:Choice>
              <mc:Fallback>
                <p:oleObj name="think-cellスライド" r:id="rId1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定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医療関連専門資格が規定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レベルでの指定課程を修めたのち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ことで職に就くことができるほか、海外の大学で同等の課程を修めた者も、英語能力などの審査ののちに、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にあたる資格は存在し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ほどがその職にあたっていると報告されている。</a:t>
            </a:r>
          </a:p>
        </p:txBody>
      </p:sp>
      <p:graphicFrame>
        <p:nvGraphicFramePr>
          <p:cNvPr id="62" name="Chart 61">
            <a:extLst>
              <a:ext uri="{FF2B5EF4-FFF2-40B4-BE49-F238E27FC236}">
                <a16:creationId xmlns:a16="http://schemas.microsoft.com/office/drawing/2014/main" id="{A34B0C4D-C3B5-D255-F4CF-F56075B89A4F}"/>
              </a:ext>
            </a:extLst>
          </p:cNvPr>
          <p:cNvGraphicFramePr/>
          <p:nvPr>
            <p:custDataLst>
              <p:tags r:id="rId2"/>
            </p:custDataLst>
            <p:extLst>
              <p:ext uri="{D42A27DB-BD31-4B8C-83A1-F6EECF244321}">
                <p14:modId xmlns:p14="http://schemas.microsoft.com/office/powerpoint/2010/main" val="3279542287"/>
              </p:ext>
            </p:extLst>
          </p:nvPr>
        </p:nvGraphicFramePr>
        <p:xfrm>
          <a:off x="298450" y="3090863"/>
          <a:ext cx="8318500" cy="3108325"/>
        </p:xfrm>
        <a:graphic>
          <a:graphicData uri="http://schemas.openxmlformats.org/drawingml/2006/chart">
            <c:chart xmlns:c="http://schemas.openxmlformats.org/drawingml/2006/chart" xmlns:r="http://schemas.openxmlformats.org/officeDocument/2006/relationships" r:id="rId20"/>
          </a:graphicData>
        </a:graphic>
      </p:graphicFrame>
      <p:cxnSp>
        <p:nvCxnSpPr>
          <p:cNvPr id="3" name="Straight Connector 2">
            <a:extLst>
              <a:ext uri="{FF2B5EF4-FFF2-40B4-BE49-F238E27FC236}">
                <a16:creationId xmlns:a16="http://schemas.microsoft.com/office/drawing/2014/main" id="{93F94C4C-5B38-6603-7FD3-5CA06CCDACBB}"/>
              </a:ext>
            </a:extLst>
          </p:cNvPr>
          <p:cNvCxnSpPr/>
          <p:nvPr>
            <p:custDataLst>
              <p:tags r:id="rId3"/>
            </p:custDataLst>
          </p:nvPr>
        </p:nvCxnSpPr>
        <p:spPr bwMode="auto">
          <a:xfrm flipH="1">
            <a:off x="958850" y="4456113"/>
            <a:ext cx="428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49" name="テキスト プレースホルダ 9">
            <a:extLst>
              <a:ext uri="{FF2B5EF4-FFF2-40B4-BE49-F238E27FC236}">
                <a16:creationId xmlns:a16="http://schemas.microsoft.com/office/drawing/2014/main" id="{C60CC581-5614-41F5-A7E9-3A86C7EB9DDC}"/>
              </a:ext>
            </a:extLst>
          </p:cNvPr>
          <p:cNvSpPr>
            <a:spLocks/>
          </p:cNvSpPr>
          <p:nvPr>
            <p:custDataLst>
              <p:tags r:id="rId4"/>
            </p:custDataLst>
          </p:nvPr>
        </p:nvSpPr>
        <p:spPr bwMode="gray">
          <a:xfrm>
            <a:off x="1001713" y="4365625"/>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BF72D7-56F5-4BC6-A4E1-24ED543D6EAA}" type="datetime'''1'''''''''''''''''''''',6''''2''''''''6'">
              <a:rPr lang="en-US" altLang="en-US" sz="1200" smtClean="0">
                <a:effectLst/>
              </a:rPr>
              <a:pPr marL="0" indent="0">
                <a:spcBef>
                  <a:spcPct val="0"/>
                </a:spcBef>
                <a:buNone/>
              </a:pPr>
              <a:t>1,626</a:t>
            </a:fld>
            <a:endParaRPr lang="ja-JP" altLang="en-US" sz="1200" dirty="0"/>
          </a:p>
        </p:txBody>
      </p:sp>
      <p:sp useBgFill="1">
        <p:nvSpPr>
          <p:cNvPr id="50" name="テキスト プレースホルダ 9">
            <a:extLst>
              <a:ext uri="{FF2B5EF4-FFF2-40B4-BE49-F238E27FC236}">
                <a16:creationId xmlns:a16="http://schemas.microsoft.com/office/drawing/2014/main" id="{5E391D00-CA6B-4067-B759-A7A73486D08A}"/>
              </a:ext>
            </a:extLst>
          </p:cNvPr>
          <p:cNvSpPr>
            <a:spLocks/>
          </p:cNvSpPr>
          <p:nvPr>
            <p:custDataLst>
              <p:tags r:id="rId5"/>
            </p:custDataLst>
          </p:nvPr>
        </p:nvSpPr>
        <p:spPr bwMode="gray">
          <a:xfrm>
            <a:off x="1779588" y="427513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6AB283-9EE9-4EF2-941A-07F30C1E8C3B}" type="datetime'''''''''''''1'',''''7''''''''''''''''''''''3''''''9'">
              <a:rPr lang="en-US" altLang="en-US" sz="1200" smtClean="0">
                <a:effectLst/>
              </a:rPr>
              <a:pPr marL="0" indent="0" algn="ctr">
                <a:spcBef>
                  <a:spcPct val="0"/>
                </a:spcBef>
                <a:buNone/>
              </a:pPr>
              <a:t>1,739</a:t>
            </a:fld>
            <a:endParaRPr lang="ja-JP" altLang="en-US" sz="1200" dirty="0"/>
          </a:p>
        </p:txBody>
      </p:sp>
      <p:sp useBgFill="1">
        <p:nvSpPr>
          <p:cNvPr id="52" name="テキスト プレースホルダ 9">
            <a:extLst>
              <a:ext uri="{FF2B5EF4-FFF2-40B4-BE49-F238E27FC236}">
                <a16:creationId xmlns:a16="http://schemas.microsoft.com/office/drawing/2014/main" id="{D1AE01E9-0078-4EF1-BCB3-123C61D13DF8}"/>
              </a:ext>
            </a:extLst>
          </p:cNvPr>
          <p:cNvSpPr>
            <a:spLocks/>
          </p:cNvSpPr>
          <p:nvPr>
            <p:custDataLst>
              <p:tags r:id="rId6"/>
            </p:custDataLst>
          </p:nvPr>
        </p:nvSpPr>
        <p:spPr bwMode="gray">
          <a:xfrm>
            <a:off x="3871913" y="4095750"/>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22659E-235A-472B-9FB7-240B5F443281}" type="datetime'1,''''''''''''''''96''''''''''''3'">
              <a:rPr lang="en-US" altLang="en-US" sz="1200" smtClean="0">
                <a:effectLst/>
              </a:rPr>
              <a:pPr marL="0" indent="0" algn="ctr">
                <a:spcBef>
                  <a:spcPct val="0"/>
                </a:spcBef>
                <a:buNone/>
              </a:pPr>
              <a:t>1,963</a:t>
            </a:fld>
            <a:endParaRPr lang="ja-JP" altLang="en-US" sz="1200" dirty="0"/>
          </a:p>
        </p:txBody>
      </p:sp>
      <p:sp useBgFill="1">
        <p:nvSpPr>
          <p:cNvPr id="53" name="テキスト プレースホルダ 9">
            <a:extLst>
              <a:ext uri="{FF2B5EF4-FFF2-40B4-BE49-F238E27FC236}">
                <a16:creationId xmlns:a16="http://schemas.microsoft.com/office/drawing/2014/main" id="{4630559A-B278-46A9-9271-B0534DD6C035}"/>
              </a:ext>
            </a:extLst>
          </p:cNvPr>
          <p:cNvSpPr>
            <a:spLocks/>
          </p:cNvSpPr>
          <p:nvPr>
            <p:custDataLst>
              <p:tags r:id="rId7"/>
            </p:custDataLst>
          </p:nvPr>
        </p:nvSpPr>
        <p:spPr bwMode="gray">
          <a:xfrm>
            <a:off x="4916488" y="400208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65287C-78B1-4071-A902-76B418E43643}" type="datetime'''2'''''''''',''''''''''''''''''''''''''''''''08''0'''">
              <a:rPr lang="en-US" altLang="en-US" sz="1200" smtClean="0">
                <a:effectLst/>
              </a:rPr>
              <a:pPr marL="0" indent="0" algn="ctr">
                <a:spcBef>
                  <a:spcPct val="0"/>
                </a:spcBef>
                <a:buNone/>
              </a:pPr>
              <a:t>2,080</a:t>
            </a:fld>
            <a:endParaRPr lang="ja-JP" altLang="en-US" sz="1200" dirty="0"/>
          </a:p>
        </p:txBody>
      </p:sp>
      <p:sp>
        <p:nvSpPr>
          <p:cNvPr id="30" name="テキスト プレースホルダ 9">
            <a:extLst>
              <a:ext uri="{FF2B5EF4-FFF2-40B4-BE49-F238E27FC236}">
                <a16:creationId xmlns:a16="http://schemas.microsoft.com/office/drawing/2014/main" id="{0687AB51-7245-4F3D-A103-34289F124FBF}"/>
              </a:ext>
            </a:extLst>
          </p:cNvPr>
          <p:cNvSpPr>
            <a:spLocks/>
          </p:cNvSpPr>
          <p:nvPr>
            <p:custDataLst>
              <p:tags r:id="rId8"/>
            </p:custDataLst>
          </p:nvPr>
        </p:nvSpPr>
        <p:spPr bwMode="auto">
          <a:xfrm>
            <a:off x="8621713" y="3684588"/>
            <a:ext cx="1066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6BB88C-5E17-455B-89AF-4C435A87F2D8}" type="datetime'診''療''''''''放''''射''''''''''''''''''線''''技''''''''師'''''''''">
              <a:rPr lang="zh-TW" altLang="en-US" sz="1200" smtClean="0"/>
              <a:pPr/>
              <a:t>診療放射線技師</a:t>
            </a:fld>
            <a:endParaRPr lang="ja-JP" altLang="en-US" sz="1200" dirty="0"/>
          </a:p>
        </p:txBody>
      </p:sp>
      <p:sp>
        <p:nvSpPr>
          <p:cNvPr id="31" name="テキスト プレースホルダ 9">
            <a:extLst>
              <a:ext uri="{FF2B5EF4-FFF2-40B4-BE49-F238E27FC236}">
                <a16:creationId xmlns:a16="http://schemas.microsoft.com/office/drawing/2014/main" id="{6C9B2B5E-C87F-4984-B71E-B2A6D18A8435}"/>
              </a:ext>
            </a:extLst>
          </p:cNvPr>
          <p:cNvSpPr>
            <a:spLocks/>
          </p:cNvSpPr>
          <p:nvPr>
            <p:custDataLst>
              <p:tags r:id="rId9"/>
            </p:custDataLst>
          </p:nvPr>
        </p:nvSpPr>
        <p:spPr bwMode="auto">
          <a:xfrm>
            <a:off x="8621713" y="4359275"/>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36F9F9-B11B-41E7-8020-57B4B0B85E3B}" type="datetime'''''''''作''''''''''''''''業療''''''''法''士'''''''''''">
              <a:rPr lang="ja-JP" altLang="en-US" sz="1200" smtClean="0"/>
              <a:pPr/>
              <a:t>作業療法士</a:t>
            </a:fld>
            <a:endParaRPr lang="ja-JP" altLang="en-US" sz="1200" dirty="0"/>
          </a:p>
        </p:txBody>
      </p:sp>
      <p:sp>
        <p:nvSpPr>
          <p:cNvPr id="33" name="テキスト プレースホルダ 9">
            <a:extLst>
              <a:ext uri="{FF2B5EF4-FFF2-40B4-BE49-F238E27FC236}">
                <a16:creationId xmlns:a16="http://schemas.microsoft.com/office/drawing/2014/main" id="{45938928-F2AD-4B43-A057-D5D918E08D59}"/>
              </a:ext>
            </a:extLst>
          </p:cNvPr>
          <p:cNvSpPr>
            <a:spLocks/>
          </p:cNvSpPr>
          <p:nvPr>
            <p:custDataLst>
              <p:tags r:id="rId10"/>
            </p:custDataLst>
          </p:nvPr>
        </p:nvSpPr>
        <p:spPr bwMode="auto">
          <a:xfrm>
            <a:off x="8621713" y="3433763"/>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B60A67-D331-417B-859E-13222E63B0C5}" type="datetime'''''''''''''''''''''理''''''''''学療''''''法''士'''''''''''">
              <a:rPr lang="ja-JP" altLang="en-US" sz="1200" smtClean="0"/>
              <a:pPr/>
              <a:t>理学療法士</a:t>
            </a:fld>
            <a:endParaRPr lang="ja-JP" altLang="en-US" sz="1200" dirty="0"/>
          </a:p>
        </p:txBody>
      </p:sp>
      <p:sp>
        <p:nvSpPr>
          <p:cNvPr id="34" name="テキスト プレースホルダ 9">
            <a:extLst>
              <a:ext uri="{FF2B5EF4-FFF2-40B4-BE49-F238E27FC236}">
                <a16:creationId xmlns:a16="http://schemas.microsoft.com/office/drawing/2014/main" id="{6D908464-9C4A-4EB1-A853-5BAB9B9CB237}"/>
              </a:ext>
            </a:extLst>
          </p:cNvPr>
          <p:cNvSpPr>
            <a:spLocks/>
          </p:cNvSpPr>
          <p:nvPr>
            <p:custDataLst>
              <p:tags r:id="rId11"/>
            </p:custDataLst>
          </p:nvPr>
        </p:nvSpPr>
        <p:spPr bwMode="auto">
          <a:xfrm>
            <a:off x="8621713" y="5476875"/>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F452F-D3E7-442F-8B8B-5BFB30E9B957}" type="datetime'放射''''''''''''''''''''''線''''''''療法''''士'''">
              <a:rPr lang="zh-TW" altLang="en-US" sz="1200" smtClean="0"/>
              <a:pPr/>
              <a:t>放射線療法士</a:t>
            </a:fld>
            <a:endParaRPr lang="ja-JP" altLang="en-US" sz="1200" dirty="0"/>
          </a:p>
        </p:txBody>
      </p:sp>
      <p:sp>
        <p:nvSpPr>
          <p:cNvPr id="35" name="テキスト プレースホルダ 9">
            <a:extLst>
              <a:ext uri="{FF2B5EF4-FFF2-40B4-BE49-F238E27FC236}">
                <a16:creationId xmlns:a16="http://schemas.microsoft.com/office/drawing/2014/main" id="{40D2FACD-6644-4D2F-9178-10B8178F6401}"/>
              </a:ext>
            </a:extLst>
          </p:cNvPr>
          <p:cNvSpPr>
            <a:spLocks/>
          </p:cNvSpPr>
          <p:nvPr>
            <p:custDataLst>
              <p:tags r:id="rId12"/>
            </p:custDataLst>
          </p:nvPr>
        </p:nvSpPr>
        <p:spPr bwMode="auto">
          <a:xfrm>
            <a:off x="8621713" y="4978400"/>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A0A216-0FB1-48DB-99F7-BAC61BD6924F}" type="datetime'言''''語療''''''''''''''''''''''''法士'">
              <a:rPr lang="ja-JP" altLang="en-US" sz="1200" smtClean="0"/>
              <a:pPr/>
              <a:t>言語療法士</a:t>
            </a:fld>
            <a:endParaRPr lang="ja-JP" altLang="en-US" sz="1200" dirty="0"/>
          </a:p>
        </p:txBody>
      </p:sp>
      <p:sp useBgFill="1">
        <p:nvSpPr>
          <p:cNvPr id="9" name="テキスト プレースホルダ 9">
            <a:extLst>
              <a:ext uri="{FF2B5EF4-FFF2-40B4-BE49-F238E27FC236}">
                <a16:creationId xmlns:a16="http://schemas.microsoft.com/office/drawing/2014/main" id="{E285F243-DAF8-0CCE-6545-A3F8B528B6C2}"/>
              </a:ext>
            </a:extLst>
          </p:cNvPr>
          <p:cNvSpPr>
            <a:spLocks/>
          </p:cNvSpPr>
          <p:nvPr>
            <p:custDataLst>
              <p:tags r:id="rId13"/>
            </p:custDataLst>
          </p:nvPr>
        </p:nvSpPr>
        <p:spPr bwMode="gray">
          <a:xfrm>
            <a:off x="5962650" y="3943350"/>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3CC41F-A417-4EF8-BE01-0A8AFFA4829B}" type="datetime'''''''''''''''''''''''2'',''''''''''''''1''''''5''''3'''''">
              <a:rPr lang="en-US" altLang="en-US" sz="1200" smtClean="0">
                <a:effectLst/>
              </a:rPr>
              <a:pPr/>
              <a:t>2,153</a:t>
            </a:fld>
            <a:endParaRPr lang="ja-JP" altLang="en-US" sz="1200" dirty="0"/>
          </a:p>
        </p:txBody>
      </p:sp>
      <p:sp useBgFill="1">
        <p:nvSpPr>
          <p:cNvPr id="15" name="テキスト プレースホルダ 9">
            <a:extLst>
              <a:ext uri="{FF2B5EF4-FFF2-40B4-BE49-F238E27FC236}">
                <a16:creationId xmlns:a16="http://schemas.microsoft.com/office/drawing/2014/main" id="{A2C84738-9929-CBC6-7CEB-745CE68AC5E2}"/>
              </a:ext>
            </a:extLst>
          </p:cNvPr>
          <p:cNvSpPr>
            <a:spLocks/>
          </p:cNvSpPr>
          <p:nvPr>
            <p:custDataLst>
              <p:tags r:id="rId14"/>
            </p:custDataLst>
          </p:nvPr>
        </p:nvSpPr>
        <p:spPr bwMode="gray">
          <a:xfrm>
            <a:off x="7008813" y="3814763"/>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D92319-4AAD-4190-895E-ACE05A31D361}" type="datetime'''''''''''''''''''''''''''''''''''''''2'',3''''''1''5'''''''''">
              <a:rPr lang="en-US" altLang="en-US" sz="1200" smtClean="0">
                <a:effectLst/>
              </a:rPr>
              <a:pPr/>
              <a:t>2,315</a:t>
            </a:fld>
            <a:endParaRPr lang="ja-JP" altLang="en-US" sz="1200" dirty="0"/>
          </a:p>
        </p:txBody>
      </p:sp>
      <p:sp useBgFill="1">
        <p:nvSpPr>
          <p:cNvPr id="20" name="テキスト プレースホルダ 9">
            <a:extLst>
              <a:ext uri="{FF2B5EF4-FFF2-40B4-BE49-F238E27FC236}">
                <a16:creationId xmlns:a16="http://schemas.microsoft.com/office/drawing/2014/main" id="{511FBDBF-81BA-F125-A831-C8DA8690EE3D}"/>
              </a:ext>
            </a:extLst>
          </p:cNvPr>
          <p:cNvSpPr>
            <a:spLocks/>
          </p:cNvSpPr>
          <p:nvPr>
            <p:custDataLst>
              <p:tags r:id="rId15"/>
            </p:custDataLst>
          </p:nvPr>
        </p:nvSpPr>
        <p:spPr bwMode="gray">
          <a:xfrm>
            <a:off x="8054975" y="368458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1671C0-0285-4A46-9A31-43B27F022390}" type="datetime'2'''''''''''''''''''''''',47''''''''''8'''''''''''''''''''''">
              <a:rPr lang="en-US" altLang="en-US" sz="1200" smtClean="0">
                <a:effectLst/>
              </a:rPr>
              <a:pPr/>
              <a:t>2,478</a:t>
            </a:fld>
            <a:endParaRPr lang="ja-JP" altLang="en-US" sz="1200" dirty="0"/>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Care.gov</a:t>
            </a:r>
            <a:r>
              <a:rPr kumimoji="0" lang="ja-JP" altLang="en-US" sz="800" dirty="0" bmk=""/>
              <a:t>ホームページ、</a:t>
            </a:r>
            <a:r>
              <a:rPr kumimoji="0" lang="en-US" altLang="ja-JP" sz="800" dirty="0" bmk=""/>
              <a:t>AHPC</a:t>
            </a:r>
            <a:r>
              <a:rPr kumimoji="0" lang="ja-JP" altLang="en-US" sz="800" dirty="0" bmk=""/>
              <a:t>ホームページ</a:t>
            </a:r>
            <a:r>
              <a:rPr kumimoji="0" lang="en-US" altLang="zh-TW" sz="800" dirty="0" bmk=""/>
              <a:t>,</a:t>
            </a:r>
            <a:r>
              <a:rPr kumimoji="0" lang="ja-JP" altLang="en-US" sz="800" dirty="0" bmk=""/>
              <a:t> </a:t>
            </a:r>
            <a:r>
              <a:rPr kumimoji="0" lang="en-US" altLang="ja-JP" sz="800" dirty="0" bmk=""/>
              <a:t>WH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t> </a:t>
            </a:r>
            <a:endParaRPr kumimoji="0" lang="en-US" altLang="zh-TW"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424608" y="2633676"/>
            <a:ext cx="7344742"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43989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2D1AD4-7445-463B-BE51-C74C6954E5F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452D1AD4-7445-463B-BE51-C74C6954E5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5" name="テキスト ボックス 1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強制加入の総合的な社会保障貯蓄制度である中央積立基金</a:t>
            </a:r>
            <a:r>
              <a:rPr lang="ja-JP" altLang="en-US" sz="1400" dirty="0">
                <a:latin typeface="+mj-lt"/>
                <a:ea typeface="ＭＳ Ｐゴシック" panose="020B0600070205080204" pitchFamily="50" charset="-128"/>
                <a:cs typeface="Arial" panose="020B0604020202020204" pitchFamily="34" charset="0"/>
              </a:rPr>
              <a:t>（</a:t>
            </a:r>
            <a:r>
              <a:rPr lang="en-US" altLang="ja-JP" sz="1400" dirty="0">
                <a:latin typeface="+mj-lt"/>
                <a:ea typeface="ＭＳ Ｐゴシック" panose="020B0600070205080204" pitchFamily="50" charset="-128"/>
                <a:cs typeface="Arial" panose="020B0604020202020204" pitchFamily="34" charset="0"/>
              </a:rPr>
              <a:t>CPF</a:t>
            </a:r>
            <a:r>
              <a:rPr lang="ja-JP" altLang="en-US" sz="1400" dirty="0">
                <a:latin typeface="+mj-lt"/>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つとして、全国民が医療口座（</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持つこと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賄えない高額な治療費に対応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低所得者向けのセーフティネットとして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三段構えとなっている。</a:t>
            </a:r>
          </a:p>
        </p:txBody>
      </p:sp>
      <p:sp>
        <p:nvSpPr>
          <p:cNvPr id="21" name="テキスト ボックス 20"/>
          <p:cNvSpPr txBox="1"/>
          <p:nvPr/>
        </p:nvSpPr>
        <p:spPr>
          <a:xfrm>
            <a:off x="200025" y="645363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保健省ホームページ</a:t>
            </a:r>
          </a:p>
        </p:txBody>
      </p:sp>
      <p:graphicFrame>
        <p:nvGraphicFramePr>
          <p:cNvPr id="12" name="表 8">
            <a:extLst>
              <a:ext uri="{FF2B5EF4-FFF2-40B4-BE49-F238E27FC236}">
                <a16:creationId xmlns:a16="http://schemas.microsoft.com/office/drawing/2014/main" id="{6533F4E0-840A-418D-99FC-330AECD058B0}"/>
              </a:ext>
            </a:extLst>
          </p:cNvPr>
          <p:cNvGraphicFramePr>
            <a:graphicFrameLocks noGrp="1"/>
          </p:cNvGraphicFramePr>
          <p:nvPr>
            <p:extLst>
              <p:ext uri="{D42A27DB-BD31-4B8C-83A1-F6EECF244321}">
                <p14:modId xmlns:p14="http://schemas.microsoft.com/office/powerpoint/2010/main" val="2836489690"/>
              </p:ext>
            </p:extLst>
          </p:nvPr>
        </p:nvGraphicFramePr>
        <p:xfrm>
          <a:off x="200025" y="2708920"/>
          <a:ext cx="9577517" cy="3387816"/>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1878478">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816430">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財源</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適用条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574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av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PF</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口座に積み立てられた貯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すべての国民と永住者が強制加入</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与額の一定割合を使用者および被用者それぞれが拠出して積み立てる。</a:t>
                      </a:r>
                    </a:p>
                  </a:txBody>
                  <a:tcPr anchor="ctr">
                    <a:lnL w="12700" cmpd="sng">
                      <a:noFill/>
                    </a:lnL>
                    <a:lnR w="12700" cmpd="sng">
                      <a:noFill/>
                    </a:lnR>
                    <a:lnT w="381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身とその家族の入院費用や慢性疾患の治療、予防接種、出産費用の一部に充てることができる。高額医療費をカバーするためのもので、風邪などの一般外来診療や外来処方については原則として適用されず、全額自己負担とな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hield Lif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拡充する形で導入された医療保険。</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加入者は自動的に加入すること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セーブ加入者</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積立金から保険料を支払う。</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や人工透析など、主に高額な医療費を終身保障する。保険給付には入院する病室のタイプ（</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U</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普通病室か）や医療の内容などに応じて上限額が定められているが、永住者や私立病院を利用した場合などは、支給額はさらに割り引か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Fund</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 Lif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使っても医療費の支払いができない場合のセーフティネッ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によって設立された基金によって賄われている。</a:t>
                      </a:r>
                    </a:p>
                  </a:txBody>
                  <a:tcPr anchor="ctr">
                    <a:lnL w="12700" cmpd="sng">
                      <a:noFill/>
                    </a:lnL>
                    <a:lnR w="12700" cmpd="sng">
                      <a:noFill/>
                    </a:lnR>
                    <a:lnT w="1270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に充てる場合、エアコン付きの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ではカバーされな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政府補助金が適用されている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2/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を利用する場合に適用さ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5070645"/>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57935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9" imgW="395" imgH="396" progId="TCLayout.ActiveDocument.1">
                  <p:embed/>
                </p:oleObj>
              </mc:Choice>
              <mc:Fallback>
                <p:oleObj name="think-cellスライド"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4CD282BD-C238-0C93-E7E5-350FAA54763C}"/>
              </a:ext>
            </a:extLst>
          </p:cNvPr>
          <p:cNvGraphicFramePr/>
          <p:nvPr>
            <p:custDataLst>
              <p:tags r:id="rId2"/>
            </p:custDataLst>
            <p:extLst>
              <p:ext uri="{D42A27DB-BD31-4B8C-83A1-F6EECF244321}">
                <p14:modId xmlns:p14="http://schemas.microsoft.com/office/powerpoint/2010/main" val="615320193"/>
              </p:ext>
            </p:extLst>
          </p:nvPr>
        </p:nvGraphicFramePr>
        <p:xfrm>
          <a:off x="406400" y="2925763"/>
          <a:ext cx="9104313" cy="3506787"/>
        </p:xfrm>
        <a:graphic>
          <a:graphicData uri="http://schemas.openxmlformats.org/drawingml/2006/chart">
            <c:chart xmlns:c="http://schemas.openxmlformats.org/drawingml/2006/chart" xmlns:r="http://schemas.openxmlformats.org/officeDocument/2006/relationships" r:id="rId31"/>
          </a:graphicData>
        </a:graphic>
      </p:graphicFrame>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3"/>
            </p:custDataLst>
          </p:nvPr>
        </p:nvSpPr>
        <p:spPr bwMode="auto">
          <a:xfrm>
            <a:off x="4921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4"/>
            </p:custDataLst>
          </p:nvPr>
        </p:nvSpPr>
        <p:spPr bwMode="auto">
          <a:xfrm>
            <a:off x="8493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5"/>
            </p:custDataLst>
          </p:nvPr>
        </p:nvSpPr>
        <p:spPr bwMode="auto">
          <a:xfrm>
            <a:off x="12080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6"/>
            </p:custDataLst>
          </p:nvPr>
        </p:nvSpPr>
        <p:spPr bwMode="auto">
          <a:xfrm>
            <a:off x="1565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7"/>
            </p:custDataLst>
          </p:nvPr>
        </p:nvSpPr>
        <p:spPr bwMode="auto">
          <a:xfrm>
            <a:off x="19224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8"/>
            </p:custDataLst>
          </p:nvPr>
        </p:nvSpPr>
        <p:spPr bwMode="auto">
          <a:xfrm>
            <a:off x="22796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9"/>
            </p:custDataLst>
          </p:nvPr>
        </p:nvSpPr>
        <p:spPr bwMode="auto">
          <a:xfrm>
            <a:off x="2638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10"/>
            </p:custDataLst>
          </p:nvPr>
        </p:nvSpPr>
        <p:spPr bwMode="auto">
          <a:xfrm>
            <a:off x="29956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1"/>
            </p:custDataLst>
          </p:nvPr>
        </p:nvSpPr>
        <p:spPr bwMode="auto">
          <a:xfrm>
            <a:off x="33528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2"/>
            </p:custDataLst>
          </p:nvPr>
        </p:nvSpPr>
        <p:spPr bwMode="auto">
          <a:xfrm>
            <a:off x="3709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3"/>
            </p:custDataLst>
          </p:nvPr>
        </p:nvSpPr>
        <p:spPr bwMode="auto">
          <a:xfrm>
            <a:off x="40687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4"/>
            </p:custDataLst>
          </p:nvPr>
        </p:nvSpPr>
        <p:spPr bwMode="auto">
          <a:xfrm>
            <a:off x="4432300"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5"/>
            </p:custDataLst>
          </p:nvPr>
        </p:nvSpPr>
        <p:spPr bwMode="auto">
          <a:xfrm>
            <a:off x="4783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6"/>
            </p:custDataLst>
          </p:nvPr>
        </p:nvSpPr>
        <p:spPr bwMode="auto">
          <a:xfrm>
            <a:off x="51403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17"/>
            </p:custDataLst>
          </p:nvPr>
        </p:nvSpPr>
        <p:spPr bwMode="auto">
          <a:xfrm>
            <a:off x="54991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18"/>
            </p:custDataLst>
          </p:nvPr>
        </p:nvSpPr>
        <p:spPr bwMode="auto">
          <a:xfrm>
            <a:off x="5856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19"/>
            </p:custDataLst>
          </p:nvPr>
        </p:nvSpPr>
        <p:spPr bwMode="auto">
          <a:xfrm>
            <a:off x="62134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0"/>
            </p:custDataLst>
          </p:nvPr>
        </p:nvSpPr>
        <p:spPr bwMode="auto">
          <a:xfrm>
            <a:off x="65706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1"/>
            </p:custDataLst>
          </p:nvPr>
        </p:nvSpPr>
        <p:spPr bwMode="auto">
          <a:xfrm>
            <a:off x="6929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2"/>
            </p:custDataLst>
          </p:nvPr>
        </p:nvSpPr>
        <p:spPr bwMode="auto">
          <a:xfrm>
            <a:off x="72866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3"/>
            </p:custDataLst>
          </p:nvPr>
        </p:nvSpPr>
        <p:spPr bwMode="auto">
          <a:xfrm>
            <a:off x="76438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24"/>
            </p:custDataLst>
          </p:nvPr>
        </p:nvSpPr>
        <p:spPr bwMode="auto">
          <a:xfrm>
            <a:off x="8001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 name="テキスト プレースホルダ 9">
            <a:extLst>
              <a:ext uri="{FF2B5EF4-FFF2-40B4-BE49-F238E27FC236}">
                <a16:creationId xmlns:a16="http://schemas.microsoft.com/office/drawing/2014/main" id="{1C0D7582-43DE-5F84-D098-612381D89446}"/>
              </a:ext>
            </a:extLst>
          </p:cNvPr>
          <p:cNvSpPr>
            <a:spLocks/>
          </p:cNvSpPr>
          <p:nvPr>
            <p:custDataLst>
              <p:tags r:id="rId25"/>
            </p:custDataLst>
          </p:nvPr>
        </p:nvSpPr>
        <p:spPr bwMode="auto">
          <a:xfrm>
            <a:off x="83597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2405D1-918E-4744-BAA0-E0E60C0F6794}" type="datetime'''''''''''''''''''''''''''''''''2''''0''''''''''''22'''">
              <a:rPr lang="en-US" altLang="en-US" sz="1200" smtClean="0"/>
              <a:pPr/>
              <a:t>2022</a:t>
            </a:fld>
            <a:endParaRPr lang="ja-JP" altLang="en-US" sz="1200" dirty="0"/>
          </a:p>
        </p:txBody>
      </p:sp>
      <p:sp>
        <p:nvSpPr>
          <p:cNvPr id="5" name="テキスト プレースホルダ 9">
            <a:extLst>
              <a:ext uri="{FF2B5EF4-FFF2-40B4-BE49-F238E27FC236}">
                <a16:creationId xmlns:a16="http://schemas.microsoft.com/office/drawing/2014/main" id="{D166E36D-8FCD-FFCB-D29C-340D95E95E62}"/>
              </a:ext>
            </a:extLst>
          </p:cNvPr>
          <p:cNvSpPr>
            <a:spLocks/>
          </p:cNvSpPr>
          <p:nvPr>
            <p:custDataLst>
              <p:tags r:id="rId26"/>
            </p:custDataLst>
          </p:nvPr>
        </p:nvSpPr>
        <p:spPr bwMode="auto">
          <a:xfrm>
            <a:off x="87169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301867-96D9-4409-93CF-47F18D342556}" type="datetime'2''''''0''''''''2''''3'''''''''''''''''''''">
              <a:rPr lang="en-US" altLang="en-US" sz="1200" smtClean="0"/>
              <a:pPr/>
              <a:t>2023</a:t>
            </a:fld>
            <a:endParaRPr lang="ja-JP" altLang="en-US" sz="1200" dirty="0"/>
          </a:p>
        </p:txBody>
      </p:sp>
      <p:sp>
        <p:nvSpPr>
          <p:cNvPr id="11" name="テキスト プレースホルダ 9">
            <a:extLst>
              <a:ext uri="{FF2B5EF4-FFF2-40B4-BE49-F238E27FC236}">
                <a16:creationId xmlns:a16="http://schemas.microsoft.com/office/drawing/2014/main" id="{74F357FE-4D6D-D530-3AEE-A6630A827FF7}"/>
              </a:ext>
            </a:extLst>
          </p:cNvPr>
          <p:cNvSpPr>
            <a:spLocks/>
          </p:cNvSpPr>
          <p:nvPr>
            <p:custDataLst>
              <p:tags r:id="rId27"/>
            </p:custDataLst>
          </p:nvPr>
        </p:nvSpPr>
        <p:spPr bwMode="auto">
          <a:xfrm>
            <a:off x="9074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2EC0F3-E580-4771-B62C-4FB3F21CDF17}" type="datetime'''2''0''''''''2''''4'''''''''''">
              <a:rPr lang="en-US" altLang="en-US" sz="1200" smtClean="0"/>
              <a:pPr/>
              <a:t>2024</a:t>
            </a:fld>
            <a:endParaRPr lang="ja-JP" altLang="en-US" sz="1200"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netary Authority of Singapore, Life Insurance Association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5274" y="2562609"/>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シンガポー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27691"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加入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保険料を上乗せする統合シールド・プラ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 Integrated Shield Pl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利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合シールドプランは保健省指定の民間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通じて加入することができ、公的保険では適用外となる私立病院や個室などの利用の費用をカバーすることが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は独立した民間医療保険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件ほどの加入がある。</a:t>
            </a:r>
          </a:p>
        </p:txBody>
      </p:sp>
    </p:spTree>
    <p:extLst>
      <p:ext uri="{BB962C8B-B14F-4D97-AF65-F5344CB8AC3E}">
        <p14:creationId xmlns:p14="http://schemas.microsoft.com/office/powerpoint/2010/main" val="1610472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extLst>
              <p:ext uri="{D42A27DB-BD31-4B8C-83A1-F6EECF244321}">
                <p14:modId xmlns:p14="http://schemas.microsoft.com/office/powerpoint/2010/main" val="155677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1/2</a:t>
            </a:r>
            <a:r>
              <a:rPr lang="ja-JP" altLang="en-US" dirty="0"/>
              <a:t>）</a:t>
            </a:r>
          </a:p>
        </p:txBody>
      </p:sp>
      <p:sp>
        <p:nvSpPr>
          <p:cNvPr id="46" name="テキスト ボックス 45"/>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保健省が健康・医療・介護全般の政策立案を管轄しているが、その実施については国有企業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H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 Holdings Pte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は傘下に公立病院やポリクリニックを運営する医療グループを抱え、医師や看護師・医療専門職を送り込んで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法廷機関が医療機器や医薬品の規制、医療従事者の登録・監督を担っている。</a:t>
            </a:r>
          </a:p>
        </p:txBody>
      </p:sp>
      <p:sp>
        <p:nvSpPr>
          <p:cNvPr id="5" name="Rectangle 4">
            <a:extLst>
              <a:ext uri="{FF2B5EF4-FFF2-40B4-BE49-F238E27FC236}">
                <a16:creationId xmlns:a16="http://schemas.microsoft.com/office/drawing/2014/main" id="{A5C474DD-FADF-4AB4-89CF-F88D579E4E51}"/>
              </a:ext>
            </a:extLst>
          </p:cNvPr>
          <p:cNvSpPr/>
          <p:nvPr/>
        </p:nvSpPr>
        <p:spPr>
          <a:xfrm>
            <a:off x="272480" y="3209958"/>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b="1" dirty="0"/>
              <a:t>保健省</a:t>
            </a:r>
            <a:endParaRPr kumimoji="1" lang="en-CA" sz="1400" b="1" dirty="0"/>
          </a:p>
        </p:txBody>
      </p:sp>
      <p:sp>
        <p:nvSpPr>
          <p:cNvPr id="10" name="Rectangle 9">
            <a:extLst>
              <a:ext uri="{FF2B5EF4-FFF2-40B4-BE49-F238E27FC236}">
                <a16:creationId xmlns:a16="http://schemas.microsoft.com/office/drawing/2014/main" id="{20141E70-91C0-4AE2-AE18-801CBAA6853C}"/>
              </a:ext>
            </a:extLst>
          </p:cNvPr>
          <p:cNvSpPr/>
          <p:nvPr/>
        </p:nvSpPr>
        <p:spPr>
          <a:xfrm>
            <a:off x="4953000" y="3209958"/>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400" b="1" dirty="0"/>
              <a:t>MOHH</a:t>
            </a:r>
            <a:endParaRPr kumimoji="1" lang="en-CA" sz="1400" b="1" dirty="0"/>
          </a:p>
        </p:txBody>
      </p:sp>
      <p:sp>
        <p:nvSpPr>
          <p:cNvPr id="14" name="TextBox 13">
            <a:extLst>
              <a:ext uri="{FF2B5EF4-FFF2-40B4-BE49-F238E27FC236}">
                <a16:creationId xmlns:a16="http://schemas.microsoft.com/office/drawing/2014/main" id="{916D5B42-92DA-463A-AFEA-96DB298C9BAD}"/>
              </a:ext>
            </a:extLst>
          </p:cNvPr>
          <p:cNvSpPr txBox="1"/>
          <p:nvPr/>
        </p:nvSpPr>
        <p:spPr>
          <a:xfrm>
            <a:off x="200025" y="3789040"/>
            <a:ext cx="4568299" cy="523220"/>
          </a:xfrm>
          <a:prstGeom prst="rect">
            <a:avLst/>
          </a:prstGeom>
          <a:noFill/>
        </p:spPr>
        <p:txBody>
          <a:bodyPr wrap="square">
            <a:spAutoFit/>
          </a:bodyPr>
          <a:lstStyle/>
          <a:p>
            <a:pPr marL="285750" indent="-285750">
              <a:buFont typeface="Arial" panose="020B0604020202020204" pitchFamily="34" charset="0"/>
              <a:buChar char="•"/>
            </a:pPr>
            <a:r>
              <a:rPr lang="ja-JP" altLang="en-US" sz="1400" dirty="0">
                <a:latin typeface="+mn-ea"/>
              </a:rPr>
              <a:t>健康・医療・介護にかかわる政策を立案</a:t>
            </a:r>
          </a:p>
          <a:p>
            <a:pPr marL="285750" indent="-285750">
              <a:buFont typeface="Arial" panose="020B0604020202020204" pitchFamily="34" charset="0"/>
              <a:buChar char="•"/>
            </a:pPr>
            <a:r>
              <a:rPr lang="ja-JP" altLang="en-US" sz="1400" b="0" i="0" dirty="0">
                <a:effectLst/>
                <a:latin typeface="+mn-ea"/>
              </a:rPr>
              <a:t>医療・介護関連施設の免許を管轄</a:t>
            </a:r>
            <a:endParaRPr lang="en-US" altLang="ja-JP" sz="1400" b="0" i="0" dirty="0">
              <a:effectLst/>
              <a:latin typeface="+mn-ea"/>
            </a:endParaRPr>
          </a:p>
        </p:txBody>
      </p:sp>
      <p:sp>
        <p:nvSpPr>
          <p:cNvPr id="27" name="TextBox 26">
            <a:extLst>
              <a:ext uri="{FF2B5EF4-FFF2-40B4-BE49-F238E27FC236}">
                <a16:creationId xmlns:a16="http://schemas.microsoft.com/office/drawing/2014/main" id="{5723CE1B-07EB-40AF-A955-79F9315D6CD4}"/>
              </a:ext>
            </a:extLst>
          </p:cNvPr>
          <p:cNvSpPr txBox="1"/>
          <p:nvPr/>
        </p:nvSpPr>
        <p:spPr>
          <a:xfrm>
            <a:off x="4953000" y="3789040"/>
            <a:ext cx="4752526" cy="1384995"/>
          </a:xfrm>
          <a:prstGeom prst="rect">
            <a:avLst/>
          </a:prstGeom>
          <a:noFill/>
        </p:spPr>
        <p:txBody>
          <a:bodyPr wrap="square">
            <a:spAutoFit/>
          </a:bodyPr>
          <a:lstStyle/>
          <a:p>
            <a:pPr marL="171450" indent="-171450">
              <a:buFont typeface="Arial" panose="020B0604020202020204" pitchFamily="34" charset="0"/>
              <a:buChar char="•"/>
            </a:pPr>
            <a:r>
              <a:rPr lang="ja-JP" altLang="en-US" sz="1400" dirty="0">
                <a:latin typeface="+mn-ea"/>
              </a:rPr>
              <a:t>地域・コミュニティ病院、専門センター、ポリクリニック、老人ホームの整備</a:t>
            </a:r>
          </a:p>
          <a:p>
            <a:pPr marL="171450" indent="-171450">
              <a:buFont typeface="Arial" panose="020B0604020202020204" pitchFamily="34" charset="0"/>
              <a:buChar char="•"/>
            </a:pPr>
            <a:r>
              <a:rPr lang="ja-JP" altLang="en-US" sz="1400" b="0" i="0" dirty="0">
                <a:effectLst/>
                <a:latin typeface="+mn-ea"/>
              </a:rPr>
              <a:t>シンガポールの公的医療機関のための医療従事者の共同採用</a:t>
            </a:r>
          </a:p>
          <a:p>
            <a:pPr marL="171450" indent="-171450">
              <a:buFont typeface="Arial" panose="020B0604020202020204" pitchFamily="34" charset="0"/>
              <a:buChar char="•"/>
            </a:pPr>
            <a:r>
              <a:rPr lang="ja-JP" altLang="en-US" sz="1400" b="0" i="0" dirty="0">
                <a:effectLst/>
                <a:latin typeface="+mn-ea"/>
              </a:rPr>
              <a:t>患者へのシームレスな医療提供を促進する国家</a:t>
            </a:r>
            <a:r>
              <a:rPr lang="en-US" altLang="ja-JP" sz="1400" b="0" i="0" dirty="0">
                <a:effectLst/>
              </a:rPr>
              <a:t>IT</a:t>
            </a:r>
            <a:r>
              <a:rPr lang="ja-JP" altLang="en-US" sz="1400" b="0" i="0" dirty="0">
                <a:effectLst/>
                <a:latin typeface="+mn-ea"/>
              </a:rPr>
              <a:t>フレームワークの開発</a:t>
            </a:r>
            <a:endParaRPr lang="en-US" altLang="ja-JP" sz="1400" b="0" i="0" dirty="0">
              <a:effectLst/>
              <a:latin typeface="+mn-ea"/>
            </a:endParaRPr>
          </a:p>
        </p:txBody>
      </p:sp>
      <p:cxnSp>
        <p:nvCxnSpPr>
          <p:cNvPr id="30" name="Straight Arrow Connector 29">
            <a:extLst>
              <a:ext uri="{FF2B5EF4-FFF2-40B4-BE49-F238E27FC236}">
                <a16:creationId xmlns:a16="http://schemas.microsoft.com/office/drawing/2014/main" id="{EA97044C-7782-4BBB-89FF-AF241DEBE83F}"/>
              </a:ext>
            </a:extLst>
          </p:cNvPr>
          <p:cNvCxnSpPr>
            <a:stCxn id="5" idx="3"/>
            <a:endCxn id="10" idx="1"/>
          </p:cNvCxnSpPr>
          <p:nvPr/>
        </p:nvCxnSpPr>
        <p:spPr>
          <a:xfrm>
            <a:off x="1627188" y="3448353"/>
            <a:ext cx="332581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F92F90B-FF7A-49D5-8D97-A04E1F455F06}"/>
              </a:ext>
            </a:extLst>
          </p:cNvPr>
          <p:cNvSpPr txBox="1"/>
          <p:nvPr/>
        </p:nvSpPr>
        <p:spPr>
          <a:xfrm>
            <a:off x="1701747" y="3169077"/>
            <a:ext cx="3251251" cy="276999"/>
          </a:xfrm>
          <a:prstGeom prst="rect">
            <a:avLst/>
          </a:prstGeom>
          <a:noFill/>
        </p:spPr>
        <p:txBody>
          <a:bodyPr wrap="square">
            <a:spAutoFit/>
          </a:bodyPr>
          <a:lstStyle/>
          <a:p>
            <a:pPr algn="ctr"/>
            <a:r>
              <a:rPr lang="ja-JP" altLang="en-US" sz="1200" b="1" dirty="0"/>
              <a:t>政府全額出資（財務省がすべての株式を保有）</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142166" y="6473161"/>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保健省ホームページ</a:t>
            </a:r>
            <a:r>
              <a:rPr lang="en-US" altLang="ja-JP" sz="800" dirty="0">
                <a:latin typeface="+mj-ea"/>
                <a:ea typeface="+mj-ea"/>
                <a:cs typeface="Arial" panose="020B0604020202020204" pitchFamily="34" charset="0"/>
              </a:rPr>
              <a:t>, JETRO</a:t>
            </a:r>
            <a:r>
              <a:rPr lang="ja-JP" altLang="en-US" sz="800" dirty="0">
                <a:latin typeface="+mj-ea"/>
                <a:ea typeface="+mj-ea"/>
                <a:cs typeface="Arial" panose="020B0604020202020204" pitchFamily="34" charset="0"/>
              </a:rPr>
              <a:t>ホームページ</a:t>
            </a:r>
          </a:p>
        </p:txBody>
      </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シンガポール</a:t>
            </a:r>
            <a:r>
              <a:rPr lang="ja-JP" altLang="en-US" dirty="0"/>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2/2</a:t>
            </a:r>
            <a:r>
              <a:rPr lang="ja-JP" altLang="en-US" dirty="0"/>
              <a:t>）</a:t>
            </a:r>
          </a:p>
        </p:txBody>
      </p:sp>
      <p:sp>
        <p:nvSpPr>
          <p:cNvPr id="46" name="テキスト ボックス 45"/>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保健省は、公衆衛生システムと医療システム全体を規制する責任がある。</a:t>
            </a:r>
            <a:r>
              <a:rPr lang="en-US" sz="1400" b="0" i="0" dirty="0">
                <a:effectLst/>
                <a:latin typeface="Arial" panose="020B0604020202020204" pitchFamily="34" charset="0"/>
                <a:cs typeface="Arial" panose="020B0604020202020204" pitchFamily="34" charset="0"/>
              </a:rPr>
              <a:t> </a:t>
            </a:r>
            <a:endParaRPr kumimoji="1" lang="ja-JP" altLang="en-US" sz="12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75FBA5FD-DE13-DA62-2596-AD2DE6073E63}"/>
              </a:ext>
            </a:extLst>
          </p:cNvPr>
          <p:cNvSpPr/>
          <p:nvPr/>
        </p:nvSpPr>
        <p:spPr>
          <a:xfrm>
            <a:off x="3152800" y="1573331"/>
            <a:ext cx="2926080" cy="343501"/>
          </a:xfrm>
          <a:prstGeom prst="rect">
            <a:avLst/>
          </a:prstGeom>
          <a:solidFill>
            <a:srgbClr val="A2BBDC"/>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保健省</a:t>
            </a:r>
          </a:p>
        </p:txBody>
      </p:sp>
      <p:sp>
        <p:nvSpPr>
          <p:cNvPr id="7" name="Rectangle 6">
            <a:extLst>
              <a:ext uri="{FF2B5EF4-FFF2-40B4-BE49-F238E27FC236}">
                <a16:creationId xmlns:a16="http://schemas.microsoft.com/office/drawing/2014/main" id="{11AB37A3-0EA6-4754-2227-FF6D8A43C1B1}"/>
              </a:ext>
            </a:extLst>
          </p:cNvPr>
          <p:cNvSpPr/>
          <p:nvPr/>
        </p:nvSpPr>
        <p:spPr>
          <a:xfrm>
            <a:off x="4267200"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法定取締役会</a:t>
            </a:r>
          </a:p>
        </p:txBody>
      </p:sp>
      <p:sp>
        <p:nvSpPr>
          <p:cNvPr id="8" name="Rectangle 7">
            <a:extLst>
              <a:ext uri="{FF2B5EF4-FFF2-40B4-BE49-F238E27FC236}">
                <a16:creationId xmlns:a16="http://schemas.microsoft.com/office/drawing/2014/main" id="{84358594-F071-A4F7-B5A6-2F089AEC665E}"/>
              </a:ext>
            </a:extLst>
          </p:cNvPr>
          <p:cNvSpPr/>
          <p:nvPr/>
        </p:nvSpPr>
        <p:spPr>
          <a:xfrm>
            <a:off x="292100"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ja-JP" altLang="en-US" sz="1200" b="1" i="0" u="none" strike="noStrike" kern="1200" cap="none" spc="0" normalizeH="0" baseline="0" noProof="1">
                <a:ln>
                  <a:noFill/>
                </a:ln>
                <a:solidFill>
                  <a:srgbClr val="000000"/>
                </a:solidFill>
                <a:effectLst/>
                <a:uLnTx/>
                <a:uFillTx/>
                <a:latin typeface="Arial"/>
                <a:ea typeface="ＭＳ Ｐゴシック"/>
                <a:cs typeface="+mn-cs"/>
              </a:rPr>
              <a:t>専門評議会</a:t>
            </a:r>
            <a:endParaRPr kumimoji="1" lang="en-US" sz="1200" b="1"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1" name="Rectangle 10">
            <a:extLst>
              <a:ext uri="{FF2B5EF4-FFF2-40B4-BE49-F238E27FC236}">
                <a16:creationId xmlns:a16="http://schemas.microsoft.com/office/drawing/2014/main" id="{5F8A2CE8-F194-264F-A3AD-2228FF9BD9B3}"/>
              </a:ext>
            </a:extLst>
          </p:cNvPr>
          <p:cNvSpPr/>
          <p:nvPr/>
        </p:nvSpPr>
        <p:spPr>
          <a:xfrm>
            <a:off x="8246284"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MOHH</a:t>
            </a:r>
          </a:p>
        </p:txBody>
      </p:sp>
      <p:sp>
        <p:nvSpPr>
          <p:cNvPr id="12" name="Rectangle 11">
            <a:extLst>
              <a:ext uri="{FF2B5EF4-FFF2-40B4-BE49-F238E27FC236}">
                <a16:creationId xmlns:a16="http://schemas.microsoft.com/office/drawing/2014/main" id="{ED09F818-D3BF-0012-2F70-FA1D896EDFA3}"/>
              </a:ext>
            </a:extLst>
          </p:cNvPr>
          <p:cNvSpPr/>
          <p:nvPr/>
        </p:nvSpPr>
        <p:spPr>
          <a:xfrm>
            <a:off x="2046300" y="2295312"/>
            <a:ext cx="1825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民間病院と医療提供者</a:t>
            </a:r>
          </a:p>
        </p:txBody>
      </p:sp>
      <p:sp>
        <p:nvSpPr>
          <p:cNvPr id="15" name="Rectangle 14">
            <a:extLst>
              <a:ext uri="{FF2B5EF4-FFF2-40B4-BE49-F238E27FC236}">
                <a16:creationId xmlns:a16="http://schemas.microsoft.com/office/drawing/2014/main" id="{D39EDE67-F87A-91DA-21B8-C58FBCA4B593}"/>
              </a:ext>
            </a:extLst>
          </p:cNvPr>
          <p:cNvSpPr/>
          <p:nvPr/>
        </p:nvSpPr>
        <p:spPr>
          <a:xfrm>
            <a:off x="6112724" y="2297448"/>
            <a:ext cx="1659636"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任意福祉団体事業者</a:t>
            </a:r>
          </a:p>
        </p:txBody>
      </p:sp>
      <p:sp>
        <p:nvSpPr>
          <p:cNvPr id="16" name="Rectangle 15">
            <a:extLst>
              <a:ext uri="{FF2B5EF4-FFF2-40B4-BE49-F238E27FC236}">
                <a16:creationId xmlns:a16="http://schemas.microsoft.com/office/drawing/2014/main" id="{B3CBEF14-5970-757B-A935-85EF5EFDE6A1}"/>
              </a:ext>
            </a:extLst>
          </p:cNvPr>
          <p:cNvSpPr/>
          <p:nvPr/>
        </p:nvSpPr>
        <p:spPr>
          <a:xfrm>
            <a:off x="3529686" y="3331160"/>
            <a:ext cx="1327709" cy="594360"/>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1" i="0" u="none" strike="noStrike" kern="1200" cap="none" spc="0" normalizeH="0" baseline="0" noProof="1">
                <a:ln>
                  <a:noFill/>
                </a:ln>
                <a:solidFill>
                  <a:srgbClr val="000000"/>
                </a:solidFill>
                <a:effectLst/>
                <a:uLnTx/>
                <a:uFillTx/>
                <a:latin typeface="Arial"/>
                <a:ea typeface="ＭＳ Ｐゴシック"/>
                <a:cs typeface="+mn-cs"/>
              </a:rPr>
              <a:t>健康増進</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局</a:t>
            </a: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100" dirty="0">
                <a:latin typeface="+mj-lt"/>
              </a:rPr>
              <a:t>Health Promotion Board</a:t>
            </a:r>
            <a:endParaRPr kumimoji="1" lang="en-US" sz="11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7" name="Rectangle 16">
            <a:extLst>
              <a:ext uri="{FF2B5EF4-FFF2-40B4-BE49-F238E27FC236}">
                <a16:creationId xmlns:a16="http://schemas.microsoft.com/office/drawing/2014/main" id="{0FDFAE90-C91E-6D7B-8869-F4915FD27006}"/>
              </a:ext>
            </a:extLst>
          </p:cNvPr>
          <p:cNvSpPr/>
          <p:nvPr/>
        </p:nvSpPr>
        <p:spPr>
          <a:xfrm>
            <a:off x="5080608" y="3331160"/>
            <a:ext cx="1327709" cy="594360"/>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ja-JP" altLang="en-US" sz="1100" b="1" noProof="1">
                <a:solidFill>
                  <a:srgbClr val="000000"/>
                </a:solidFill>
                <a:latin typeface="Arial"/>
                <a:ea typeface="ＭＳ Ｐゴシック"/>
              </a:rPr>
              <a:t>保健</a:t>
            </a:r>
            <a:r>
              <a:rPr kumimoji="1" lang="en-US" sz="1100" b="1" i="0" u="none" strike="noStrike" kern="1200" cap="none" spc="0" normalizeH="0" baseline="0" noProof="1">
                <a:ln>
                  <a:noFill/>
                </a:ln>
                <a:solidFill>
                  <a:srgbClr val="000000"/>
                </a:solidFill>
                <a:effectLst/>
                <a:uLnTx/>
                <a:uFillTx/>
                <a:latin typeface="Arial"/>
                <a:ea typeface="ＭＳ Ｐゴシック"/>
                <a:cs typeface="+mn-cs"/>
              </a:rPr>
              <a:t>科学</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庁</a:t>
            </a:r>
            <a:br>
              <a:rPr kumimoji="1" lang="en-US" altLang="ja-JP" sz="1100" b="0" i="0" u="none" strike="noStrike" kern="1200" cap="none" spc="0" normalizeH="0" baseline="0" noProof="1">
                <a:ln>
                  <a:noFill/>
                </a:ln>
                <a:solidFill>
                  <a:srgbClr val="000000"/>
                </a:solidFill>
                <a:effectLst/>
                <a:uLnTx/>
                <a:uFillTx/>
                <a:latin typeface="Arial"/>
                <a:ea typeface="ＭＳ Ｐゴシック"/>
                <a:cs typeface="+mn-cs"/>
              </a:rPr>
            </a:b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100" dirty="0">
                <a:latin typeface="+mj-lt"/>
              </a:rPr>
              <a:t>Health Sciences Authority</a:t>
            </a:r>
            <a:r>
              <a:rPr lang="ja-JP" altLang="en-US" sz="1100" dirty="0">
                <a:latin typeface="+mj-lt"/>
              </a:rPr>
              <a:t>： </a:t>
            </a:r>
            <a:r>
              <a:rPr kumimoji="1" lang="en-US" altLang="ja-JP" sz="1100" b="0" i="0" u="none" strike="noStrike" kern="1200" cap="none" spc="0" normalizeH="0" baseline="0" noProof="1">
                <a:ln>
                  <a:noFill/>
                </a:ln>
                <a:solidFill>
                  <a:srgbClr val="000000"/>
                </a:solidFill>
                <a:effectLst/>
                <a:uLnTx/>
                <a:uFillTx/>
                <a:latin typeface="Arial"/>
                <a:ea typeface="ＭＳ Ｐゴシック"/>
                <a:cs typeface="+mn-cs"/>
              </a:rPr>
              <a:t>HSA</a:t>
            </a: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100" b="0" i="0" u="none" strike="noStrike" kern="1200" cap="none" spc="0" normalizeH="0" baseline="0" noProof="1">
              <a:ln>
                <a:noFill/>
              </a:ln>
              <a:solidFill>
                <a:srgbClr val="000000"/>
              </a:solidFill>
              <a:effectLst/>
              <a:uLnTx/>
              <a:uFillTx/>
              <a:latin typeface="Arial"/>
              <a:ea typeface="ＭＳ Ｐゴシック"/>
              <a:cs typeface="+mn-cs"/>
            </a:endParaRPr>
          </a:p>
        </p:txBody>
      </p:sp>
      <p:cxnSp>
        <p:nvCxnSpPr>
          <p:cNvPr id="25" name="Connector: Elbow 24">
            <a:extLst>
              <a:ext uri="{FF2B5EF4-FFF2-40B4-BE49-F238E27FC236}">
                <a16:creationId xmlns:a16="http://schemas.microsoft.com/office/drawing/2014/main" id="{378A1290-4586-B1B3-2AEC-66443FF2E2C4}"/>
              </a:ext>
            </a:extLst>
          </p:cNvPr>
          <p:cNvCxnSpPr>
            <a:stCxn id="6" idx="2"/>
            <a:endCxn id="8" idx="0"/>
          </p:cNvCxnSpPr>
          <p:nvPr/>
        </p:nvCxnSpPr>
        <p:spPr>
          <a:xfrm rot="5400000">
            <a:off x="2607630" y="287102"/>
            <a:ext cx="378480" cy="363794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6147C08-93F7-9934-8D3D-C7513CE5A120}"/>
              </a:ext>
            </a:extLst>
          </p:cNvPr>
          <p:cNvCxnSpPr>
            <a:cxnSpLocks/>
            <a:stCxn id="6" idx="2"/>
            <a:endCxn id="12" idx="0"/>
          </p:cNvCxnSpPr>
          <p:nvPr/>
        </p:nvCxnSpPr>
        <p:spPr>
          <a:xfrm rot="5400000">
            <a:off x="3598230" y="1277702"/>
            <a:ext cx="378480" cy="165674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63DB1352-6BDE-E29A-AACF-CD4BF96FBF8C}"/>
              </a:ext>
            </a:extLst>
          </p:cNvPr>
          <p:cNvCxnSpPr>
            <a:cxnSpLocks/>
            <a:stCxn id="6" idx="2"/>
            <a:endCxn id="7" idx="0"/>
          </p:cNvCxnSpPr>
          <p:nvPr/>
        </p:nvCxnSpPr>
        <p:spPr>
          <a:xfrm rot="16200000" flipH="1">
            <a:off x="4595180" y="1937492"/>
            <a:ext cx="378480" cy="33716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5B4540FE-269E-1C1D-1296-ADCEB64FF611}"/>
              </a:ext>
            </a:extLst>
          </p:cNvPr>
          <p:cNvCxnSpPr>
            <a:cxnSpLocks/>
            <a:stCxn id="6" idx="2"/>
            <a:endCxn id="15" idx="0"/>
          </p:cNvCxnSpPr>
          <p:nvPr/>
        </p:nvCxnSpPr>
        <p:spPr>
          <a:xfrm rot="16200000" flipH="1">
            <a:off x="5588883" y="943789"/>
            <a:ext cx="380616" cy="2326702"/>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D2BF4E-F9CA-CF9C-F51B-54E21C2FEC81}"/>
              </a:ext>
            </a:extLst>
          </p:cNvPr>
          <p:cNvCxnSpPr>
            <a:cxnSpLocks/>
            <a:stCxn id="6" idx="2"/>
            <a:endCxn id="11" idx="0"/>
          </p:cNvCxnSpPr>
          <p:nvPr/>
        </p:nvCxnSpPr>
        <p:spPr>
          <a:xfrm rot="16200000" flipH="1">
            <a:off x="6584722" y="-52050"/>
            <a:ext cx="378480" cy="431624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C95F206-B8FF-B717-B17A-729A74965BC1}"/>
              </a:ext>
            </a:extLst>
          </p:cNvPr>
          <p:cNvCxnSpPr>
            <a:stCxn id="8" idx="2"/>
          </p:cNvCxnSpPr>
          <p:nvPr/>
        </p:nvCxnSpPr>
        <p:spPr>
          <a:xfrm>
            <a:off x="977900" y="2741863"/>
            <a:ext cx="0" cy="39400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99919EB-130D-BCD7-6321-59FA23F7D2CD}"/>
              </a:ext>
            </a:extLst>
          </p:cNvPr>
          <p:cNvCxnSpPr>
            <a:stCxn id="7" idx="2"/>
            <a:endCxn id="16" idx="0"/>
          </p:cNvCxnSpPr>
          <p:nvPr/>
        </p:nvCxnSpPr>
        <p:spPr>
          <a:xfrm rot="5400000">
            <a:off x="4278623" y="2656782"/>
            <a:ext cx="589297" cy="75945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B382AC8-0108-4F6E-069B-38D880F594AB}"/>
              </a:ext>
            </a:extLst>
          </p:cNvPr>
          <p:cNvCxnSpPr>
            <a:cxnSpLocks/>
            <a:stCxn id="7" idx="2"/>
            <a:endCxn id="17" idx="0"/>
          </p:cNvCxnSpPr>
          <p:nvPr/>
        </p:nvCxnSpPr>
        <p:spPr>
          <a:xfrm rot="16200000" flipH="1">
            <a:off x="5054083" y="2640779"/>
            <a:ext cx="589297" cy="791463"/>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4D27D786-6467-6EFF-5E9E-1F1481776726}"/>
              </a:ext>
            </a:extLst>
          </p:cNvPr>
          <p:cNvCxnSpPr>
            <a:cxnSpLocks/>
            <a:stCxn id="11" idx="2"/>
            <a:endCxn id="13" idx="1"/>
          </p:cNvCxnSpPr>
          <p:nvPr/>
        </p:nvCxnSpPr>
        <p:spPr>
          <a:xfrm rot="5400000">
            <a:off x="8118831" y="2744384"/>
            <a:ext cx="815774" cy="810732"/>
          </a:xfrm>
          <a:prstGeom prst="bentConnector4">
            <a:avLst>
              <a:gd name="adj1" fmla="val 36315"/>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191298F-2ECB-F8B8-ABA9-23E591ACE5C6}"/>
              </a:ext>
            </a:extLst>
          </p:cNvPr>
          <p:cNvCxnSpPr>
            <a:cxnSpLocks/>
            <a:stCxn id="11" idx="2"/>
            <a:endCxn id="14" idx="1"/>
          </p:cNvCxnSpPr>
          <p:nvPr/>
        </p:nvCxnSpPr>
        <p:spPr>
          <a:xfrm rot="5400000">
            <a:off x="7797772" y="3065443"/>
            <a:ext cx="1457893" cy="810732"/>
          </a:xfrm>
          <a:prstGeom prst="bentConnector4">
            <a:avLst>
              <a:gd name="adj1" fmla="val 20173"/>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0B3CA72-DF1E-1E0C-2A27-BEE95CA5BA21}"/>
              </a:ext>
            </a:extLst>
          </p:cNvPr>
          <p:cNvCxnSpPr>
            <a:cxnSpLocks/>
            <a:stCxn id="11" idx="2"/>
            <a:endCxn id="24" idx="1"/>
          </p:cNvCxnSpPr>
          <p:nvPr/>
        </p:nvCxnSpPr>
        <p:spPr>
          <a:xfrm rot="5400000">
            <a:off x="7476712" y="3386503"/>
            <a:ext cx="2100012" cy="810732"/>
          </a:xfrm>
          <a:prstGeom prst="bentConnector4">
            <a:avLst>
              <a:gd name="adj1" fmla="val 13904"/>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48D51EA-4106-6AFE-534A-C62AD20FEE7C}"/>
              </a:ext>
            </a:extLst>
          </p:cNvPr>
          <p:cNvCxnSpPr>
            <a:cxnSpLocks/>
            <a:stCxn id="11" idx="2"/>
            <a:endCxn id="27" idx="1"/>
          </p:cNvCxnSpPr>
          <p:nvPr/>
        </p:nvCxnSpPr>
        <p:spPr>
          <a:xfrm rot="5400000">
            <a:off x="7155653" y="3707562"/>
            <a:ext cx="2742131" cy="810732"/>
          </a:xfrm>
          <a:prstGeom prst="bentConnector4">
            <a:avLst>
              <a:gd name="adj1" fmla="val 10858"/>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C43CF60-34D6-4E6F-6265-E58B1CA55C1D}"/>
              </a:ext>
            </a:extLst>
          </p:cNvPr>
          <p:cNvCxnSpPr>
            <a:cxnSpLocks/>
            <a:stCxn id="11" idx="2"/>
            <a:endCxn id="28" idx="1"/>
          </p:cNvCxnSpPr>
          <p:nvPr/>
        </p:nvCxnSpPr>
        <p:spPr>
          <a:xfrm rot="5400000">
            <a:off x="6834592" y="4028623"/>
            <a:ext cx="3384252" cy="810732"/>
          </a:xfrm>
          <a:prstGeom prst="bentConnector4">
            <a:avLst>
              <a:gd name="adj1" fmla="val 8734"/>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65">
            <a:extLst>
              <a:ext uri="{FF2B5EF4-FFF2-40B4-BE49-F238E27FC236}">
                <a16:creationId xmlns:a16="http://schemas.microsoft.com/office/drawing/2014/main" id="{CD0FB2A3-0C59-777A-C05C-E0F81732D6A1}"/>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e Commonwealth Fund</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ternational Health Care System Profile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ngapore</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ホームページ</a:t>
            </a:r>
            <a:endPar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10" name="Rectangle 17">
            <a:extLst>
              <a:ext uri="{FF2B5EF4-FFF2-40B4-BE49-F238E27FC236}">
                <a16:creationId xmlns:a16="http://schemas.microsoft.com/office/drawing/2014/main" id="{D0327739-1217-F5DA-B8F8-B930987C6DB8}"/>
              </a:ext>
            </a:extLst>
          </p:cNvPr>
          <p:cNvSpPr/>
          <p:nvPr/>
        </p:nvSpPr>
        <p:spPr>
          <a:xfrm>
            <a:off x="199709" y="3141663"/>
            <a:ext cx="2666123" cy="2920390"/>
          </a:xfrm>
          <a:prstGeom prst="rect">
            <a:avLst/>
          </a:prstGeom>
          <a:solidFill>
            <a:srgbClr val="DDEFE8"/>
          </a:solidFill>
        </p:spPr>
        <p:txBody>
          <a:bodyPr wrap="square" rtlCol="0" anchor="ctr">
            <a:noAutofit/>
          </a:bodyPr>
          <a:lstStyle/>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Medic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ingapore Dent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Nursing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ingapore Pharmacy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Traditional Chinese Medicine Practitioners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pecialist Accreditation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Optometrists and Opticians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Allied Health Profession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Dental Specialist Accreditation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Family Physician Accreditation Board</a:t>
            </a:r>
          </a:p>
        </p:txBody>
      </p:sp>
      <p:sp>
        <p:nvSpPr>
          <p:cNvPr id="13" name="Rectangle 18">
            <a:extLst>
              <a:ext uri="{FF2B5EF4-FFF2-40B4-BE49-F238E27FC236}">
                <a16:creationId xmlns:a16="http://schemas.microsoft.com/office/drawing/2014/main" id="{186FE974-6F8B-9441-78CA-EBE043900AF5}"/>
              </a:ext>
            </a:extLst>
          </p:cNvPr>
          <p:cNvSpPr/>
          <p:nvPr/>
        </p:nvSpPr>
        <p:spPr>
          <a:xfrm>
            <a:off x="8121352" y="3334361"/>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National Healthcare Group</a:t>
            </a:r>
          </a:p>
        </p:txBody>
      </p:sp>
      <p:sp>
        <p:nvSpPr>
          <p:cNvPr id="14" name="Rectangle 19">
            <a:extLst>
              <a:ext uri="{FF2B5EF4-FFF2-40B4-BE49-F238E27FC236}">
                <a16:creationId xmlns:a16="http://schemas.microsoft.com/office/drawing/2014/main" id="{04A0E7F9-8B44-4BC9-AB08-EDC381ECACB2}"/>
              </a:ext>
            </a:extLst>
          </p:cNvPr>
          <p:cNvSpPr/>
          <p:nvPr/>
        </p:nvSpPr>
        <p:spPr>
          <a:xfrm>
            <a:off x="8121352" y="3976480"/>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Health Services</a:t>
            </a:r>
          </a:p>
        </p:txBody>
      </p:sp>
      <p:sp>
        <p:nvSpPr>
          <p:cNvPr id="24" name="Rectangle 20">
            <a:extLst>
              <a:ext uri="{FF2B5EF4-FFF2-40B4-BE49-F238E27FC236}">
                <a16:creationId xmlns:a16="http://schemas.microsoft.com/office/drawing/2014/main" id="{7C7D1CA4-55F7-AE52-B89F-7D83A43AE624}"/>
              </a:ext>
            </a:extLst>
          </p:cNvPr>
          <p:cNvSpPr/>
          <p:nvPr/>
        </p:nvSpPr>
        <p:spPr>
          <a:xfrm>
            <a:off x="8121352" y="4618599"/>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National University Health System</a:t>
            </a:r>
          </a:p>
        </p:txBody>
      </p:sp>
      <p:sp>
        <p:nvSpPr>
          <p:cNvPr id="27" name="Rectangle 21">
            <a:extLst>
              <a:ext uri="{FF2B5EF4-FFF2-40B4-BE49-F238E27FC236}">
                <a16:creationId xmlns:a16="http://schemas.microsoft.com/office/drawing/2014/main" id="{83FD3AD6-AC4B-CEF7-2903-117F6B3942D1}"/>
              </a:ext>
            </a:extLst>
          </p:cNvPr>
          <p:cNvSpPr/>
          <p:nvPr/>
        </p:nvSpPr>
        <p:spPr>
          <a:xfrm>
            <a:off x="8121352" y="5260718"/>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Agency for Integrated Care</a:t>
            </a:r>
          </a:p>
        </p:txBody>
      </p:sp>
      <p:sp>
        <p:nvSpPr>
          <p:cNvPr id="28" name="Rectangle 22">
            <a:extLst>
              <a:ext uri="{FF2B5EF4-FFF2-40B4-BE49-F238E27FC236}">
                <a16:creationId xmlns:a16="http://schemas.microsoft.com/office/drawing/2014/main" id="{3A3A2949-46E3-3EF5-E43C-CBAB02FAB75C}"/>
              </a:ext>
            </a:extLst>
          </p:cNvPr>
          <p:cNvSpPr/>
          <p:nvPr/>
        </p:nvSpPr>
        <p:spPr>
          <a:xfrm>
            <a:off x="8121352" y="5902839"/>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Integrated Health Info System</a:t>
            </a:r>
          </a:p>
        </p:txBody>
      </p:sp>
    </p:spTree>
    <p:extLst>
      <p:ext uri="{BB962C8B-B14F-4D97-AF65-F5344CB8AC3E}">
        <p14:creationId xmlns:p14="http://schemas.microsoft.com/office/powerpoint/2010/main" val="19572460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60E01-E447-43AF-B45F-9F901B17C9CB}"/>
              </a:ext>
            </a:extLst>
          </p:cNvPr>
          <p:cNvGraphicFramePr>
            <a:graphicFrameLocks/>
          </p:cNvGraphicFramePr>
          <p:nvPr>
            <p:custDataLst>
              <p:tags r:id="rId1"/>
            </p:custDataLst>
            <p:extLst>
              <p:ext uri="{D42A27DB-BD31-4B8C-83A1-F6EECF244321}">
                <p14:modId xmlns:p14="http://schemas.microsoft.com/office/powerpoint/2010/main" val="97217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1BE60E01-E447-43AF-B45F-9F901B17C9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6"/>
          <p:cNvSpPr>
            <a:spLocks noChangeArrowheads="1"/>
          </p:cNvSpPr>
          <p:nvPr/>
        </p:nvSpPr>
        <p:spPr bwMode="auto">
          <a:xfrm>
            <a:off x="200025" y="131849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HGP創英角ｺﾞｼｯｸUB" panose="020B0900000000000000" pitchFamily="50" charset="-128"/>
                <a:ea typeface="HGP創英角ｺﾞｼｯｸUB" panose="020B0900000000000000" pitchFamily="50" charset="-128"/>
              </a:rPr>
              <a:t> </a:t>
            </a: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シンガポールの医療機器に対する規制概要</a:t>
            </a:r>
            <a:endParaRPr lang="en-US" altLang="ko-KR"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3382620674"/>
              </p:ext>
            </p:extLst>
          </p:nvPr>
        </p:nvGraphicFramePr>
        <p:xfrm>
          <a:off x="200025" y="1606522"/>
          <a:ext cx="9541637" cy="4966888"/>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45493">
                  <a:extLst>
                    <a:ext uri="{9D8B030D-6E8A-4147-A177-3AD203B41FA5}">
                      <a16:colId xmlns:a16="http://schemas.microsoft.com/office/drawing/2014/main" val="20002"/>
                    </a:ext>
                  </a:extLst>
                </a:gridCol>
              </a:tblGrid>
              <a:tr h="329781">
                <a:tc gridSpan="2">
                  <a:txBody>
                    <a:bodyPr/>
                    <a:lstStyle/>
                    <a:p>
                      <a:pPr algn="ctr" fontAlgn="ctr"/>
                      <a:r>
                        <a:rPr kumimoji="1" lang="ja-JP" altLang="en-US" sz="1100" b="1" dirty="0">
                          <a:solidFill>
                            <a:schemeClr val="bg1"/>
                          </a:solidFill>
                          <a:latin typeface="+mn-ea"/>
                          <a:ea typeface="+mn-ea"/>
                        </a:rPr>
                        <a:t>根拠法</a:t>
                      </a:r>
                      <a:endParaRPr kumimoji="1" lang="ja-JP" altLang="en-US" sz="1100" b="1" dirty="0">
                        <a:solidFill>
                          <a:schemeClr val="bg1"/>
                        </a:solidFill>
                        <a:latin typeface="+mn-ea"/>
                        <a:ea typeface="+mn-ea"/>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lvl="0" indent="0">
                        <a:lnSpc>
                          <a:spcPct val="107000"/>
                        </a:lnSpc>
                        <a:buFont typeface="Arial" panose="020B0604020202020204" pitchFamily="34" charset="0"/>
                        <a:buNone/>
                      </a:pPr>
                      <a:r>
                        <a:rPr lang="ja-JP" altLang="en-US" sz="1050" kern="1200" dirty="0">
                          <a:solidFill>
                            <a:schemeClr val="tx1"/>
                          </a:solidFill>
                          <a:effectLst/>
                          <a:latin typeface="+mn-ea"/>
                          <a:ea typeface="+mn-ea"/>
                          <a:cs typeface="Arial"/>
                        </a:rPr>
                        <a:t>健康機器法</a:t>
                      </a:r>
                      <a:r>
                        <a:rPr lang="ja-JP" altLang="en-US" sz="105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Health Products Act 2007</a:t>
                      </a:r>
                      <a:r>
                        <a:rPr lang="ja-JP" altLang="en-US" sz="105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 </a:t>
                      </a:r>
                      <a:r>
                        <a:rPr lang="ja-JP" altLang="en-US" sz="1050" kern="1200" dirty="0">
                          <a:solidFill>
                            <a:schemeClr val="tx1"/>
                          </a:solidFill>
                          <a:effectLst/>
                          <a:latin typeface="+mn-ea"/>
                          <a:ea typeface="+mn-ea"/>
                          <a:cs typeface="Arial"/>
                        </a:rPr>
                        <a:t>及び</a:t>
                      </a:r>
                      <a:r>
                        <a:rPr lang="ja-JP" altLang="en-US" sz="1100" kern="1200" dirty="0">
                          <a:solidFill>
                            <a:schemeClr val="tx1"/>
                          </a:solidFill>
                          <a:effectLst/>
                          <a:latin typeface="+mn-ea"/>
                          <a:ea typeface="+mn-ea"/>
                          <a:cs typeface="Arial"/>
                        </a:rPr>
                        <a:t>健康機器（医療機器）規制</a:t>
                      </a:r>
                      <a:r>
                        <a:rPr lang="ja-JP" altLang="en-US" sz="1100" kern="1200" dirty="0">
                          <a:solidFill>
                            <a:schemeClr val="tx1"/>
                          </a:solidFill>
                          <a:effectLst/>
                          <a:latin typeface="+mj-lt"/>
                          <a:ea typeface="+mn-ea"/>
                          <a:cs typeface="Arial"/>
                        </a:rPr>
                        <a:t>（</a:t>
                      </a:r>
                      <a:r>
                        <a:rPr lang="en-US" altLang="ja-JP" sz="1100" kern="1200" dirty="0">
                          <a:solidFill>
                            <a:schemeClr val="tx1"/>
                          </a:solidFill>
                          <a:effectLst/>
                          <a:latin typeface="+mj-lt"/>
                          <a:ea typeface="+mn-ea"/>
                          <a:cs typeface="Arial"/>
                        </a:rPr>
                        <a:t>Health Products </a:t>
                      </a:r>
                      <a:r>
                        <a:rPr lang="ja-JP" altLang="en-US" sz="1100" kern="1200" dirty="0">
                          <a:solidFill>
                            <a:schemeClr val="tx1"/>
                          </a:solidFill>
                          <a:effectLst/>
                          <a:latin typeface="+mj-lt"/>
                          <a:ea typeface="+mn-ea"/>
                          <a:cs typeface="Arial"/>
                        </a:rPr>
                        <a:t>（</a:t>
                      </a:r>
                      <a:r>
                        <a:rPr lang="en-US" altLang="ja-JP" sz="1100" kern="1200" dirty="0">
                          <a:solidFill>
                            <a:schemeClr val="tx1"/>
                          </a:solidFill>
                          <a:effectLst/>
                          <a:latin typeface="+mj-lt"/>
                          <a:ea typeface="+mn-ea"/>
                          <a:cs typeface="Arial"/>
                        </a:rPr>
                        <a:t>medical Devices</a:t>
                      </a:r>
                      <a:r>
                        <a:rPr lang="ja-JP" altLang="en-US" sz="110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2010</a:t>
                      </a:r>
                      <a:r>
                        <a:rPr lang="ja-JP" altLang="en-US" sz="1050" kern="1200" dirty="0">
                          <a:solidFill>
                            <a:schemeClr val="tx1"/>
                          </a:solidFill>
                          <a:effectLst/>
                          <a:latin typeface="+mj-lt"/>
                          <a:ea typeface="+mn-ea"/>
                          <a:cs typeface="Arial"/>
                        </a:rPr>
                        <a:t>）</a:t>
                      </a:r>
                      <a:r>
                        <a:rPr lang="ja-JP" altLang="en-US" sz="1050" dirty="0">
                          <a:solidFill>
                            <a:schemeClr val="tx1"/>
                          </a:solidFill>
                          <a:latin typeface="+mn-ea"/>
                          <a:ea typeface="+mn-ea"/>
                          <a:cs typeface="Arial"/>
                        </a:rPr>
                        <a:t>により、医療機器が規制されている。</a:t>
                      </a:r>
                      <a:endParaRPr lang="en-US" altLang="ja-JP" sz="900" dirty="0">
                        <a:solidFill>
                          <a:schemeClr val="tx1"/>
                        </a:solidFill>
                        <a:latin typeface="+mn-ea"/>
                        <a:ea typeface="+mn-ea"/>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82490">
                <a:tc gridSpan="2">
                  <a:txBody>
                    <a:bodyPr/>
                    <a:lstStyle/>
                    <a:p>
                      <a:pPr algn="ctr" fontAlgn="ctr"/>
                      <a:r>
                        <a:rPr kumimoji="1" lang="ja-JP" altLang="en-US" sz="1100" b="1" dirty="0">
                          <a:solidFill>
                            <a:schemeClr val="bg1"/>
                          </a:solidFill>
                          <a:latin typeface="+mn-ea"/>
                          <a:ea typeface="+mn-ea"/>
                        </a:rPr>
                        <a:t>規制所管主体</a:t>
                      </a:r>
                      <a:endParaRPr kumimoji="1" lang="ja-JP" altLang="en-US" sz="1100" b="1" dirty="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n-ea"/>
                          <a:ea typeface="+mn-ea"/>
                          <a:cs typeface="Arial" panose="020B0604020202020204" pitchFamily="34" charset="0"/>
                        </a:rPr>
                        <a:t>健康科学庁</a:t>
                      </a:r>
                      <a:r>
                        <a:rPr lang="ja-JP" altLang="en-US" sz="1050" dirty="0">
                          <a:latin typeface="+mj-lt"/>
                          <a:ea typeface="+mn-ea"/>
                          <a:cs typeface="Arial" panose="020B0604020202020204" pitchFamily="34" charset="0"/>
                        </a:rPr>
                        <a:t>（</a:t>
                      </a:r>
                      <a:r>
                        <a:rPr lang="en-US" altLang="ja-JP" sz="1050" dirty="0">
                          <a:latin typeface="+mj-lt"/>
                          <a:ea typeface="+mn-ea"/>
                          <a:cs typeface="Arial" panose="020B0604020202020204" pitchFamily="34" charset="0"/>
                        </a:rPr>
                        <a:t>Health Sciences Authorit</a:t>
                      </a:r>
                      <a:r>
                        <a:rPr lang="en-US" altLang="ja-JP" sz="1050" dirty="0">
                          <a:solidFill>
                            <a:schemeClr val="tx1"/>
                          </a:solidFill>
                          <a:latin typeface="+mj-lt"/>
                          <a:ea typeface="+mn-ea"/>
                          <a:cs typeface="Arial" panose="020B0604020202020204" pitchFamily="34" charset="0"/>
                        </a:rPr>
                        <a:t>y</a:t>
                      </a:r>
                      <a:r>
                        <a:rPr lang="ja-JP" altLang="en-US" sz="1050" dirty="0">
                          <a:solidFill>
                            <a:schemeClr val="tx1"/>
                          </a:solidFill>
                          <a:latin typeface="+mj-lt"/>
                          <a:ea typeface="+mn-ea"/>
                          <a:cs typeface="Arial" panose="020B0604020202020204" pitchFamily="34" charset="0"/>
                        </a:rPr>
                        <a:t>）　</a:t>
                      </a:r>
                      <a:r>
                        <a:rPr lang="en-US" altLang="ja-JP" sz="1050" dirty="0">
                          <a:solidFill>
                            <a:schemeClr val="tx1"/>
                          </a:solidFill>
                          <a:latin typeface="+mn-ea"/>
                          <a:ea typeface="+mn-ea"/>
                          <a:cs typeface="Arial" panose="020B0604020202020204" pitchFamily="34" charset="0"/>
                        </a:rPr>
                        <a:t>※</a:t>
                      </a:r>
                      <a:r>
                        <a:rPr lang="ja-JP" altLang="en-US" sz="1050" dirty="0">
                          <a:solidFill>
                            <a:schemeClr val="tx1"/>
                          </a:solidFill>
                          <a:latin typeface="+mn-ea"/>
                          <a:ea typeface="+mn-ea"/>
                          <a:cs typeface="Arial" panose="020B0604020202020204" pitchFamily="34" charset="0"/>
                        </a:rPr>
                        <a:t>以下、「当局」　</a:t>
                      </a:r>
                      <a:r>
                        <a:rPr lang="en-MY" altLang="ja-JP" sz="1050" u="sng" dirty="0">
                          <a:solidFill>
                            <a:srgbClr val="FF0000"/>
                          </a:solidFill>
                          <a:effectLst/>
                          <a:latin typeface="+mj-lt"/>
                          <a:ea typeface="+mn-ea"/>
                          <a:cs typeface="Times New Roman" panose="02020603050405020304" pitchFamily="18" charset="0"/>
                          <a:hlinkClick r:id="rId5"/>
                        </a:rPr>
                        <a:t>https://www.hsa.gov.sg/medical-devices</a:t>
                      </a:r>
                      <a:endParaRPr lang="en-US" altLang="ja-JP" sz="1050" dirty="0">
                        <a:solidFill>
                          <a:srgbClr val="FF0000"/>
                        </a:solidFill>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626851">
                <a:tc gridSpan="2">
                  <a:txBody>
                    <a:bodyPr/>
                    <a:lstStyle/>
                    <a:p>
                      <a:pPr algn="ctr" fontAlgn="ctr"/>
                      <a:r>
                        <a:rPr kumimoji="1" lang="ja-JP" altLang="en-US" sz="1100">
                          <a:solidFill>
                            <a:schemeClr val="bg1"/>
                          </a:solidFill>
                          <a:latin typeface="+mn-ea"/>
                          <a:ea typeface="+mn-ea"/>
                        </a:rPr>
                        <a:t>必要な許可の種類</a:t>
                      </a:r>
                      <a:endParaRPr kumimoji="1" lang="ja-JP" altLang="en-US" sz="110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latin typeface="+mn-ea"/>
                          <a:ea typeface="+mn-ea"/>
                          <a:cs typeface="Arial" panose="020B0604020202020204" pitchFamily="34" charset="0"/>
                        </a:rPr>
                        <a:t>医療機器を製造・輸入・販売するためには、販売業者ライセンスを取得する必要があり、以下の</a:t>
                      </a:r>
                      <a:r>
                        <a:rPr kumimoji="1" lang="en-US" altLang="ja-JP" sz="1050" dirty="0">
                          <a:latin typeface="+mj-lt"/>
                          <a:ea typeface="+mn-ea"/>
                          <a:cs typeface="Arial" panose="020B0604020202020204" pitchFamily="34" charset="0"/>
                        </a:rPr>
                        <a:t>3</a:t>
                      </a:r>
                      <a:r>
                        <a:rPr kumimoji="1" lang="ja-JP" altLang="en-US" sz="1050" dirty="0">
                          <a:latin typeface="+mn-ea"/>
                          <a:ea typeface="+mn-ea"/>
                          <a:cs typeface="Arial" panose="020B0604020202020204" pitchFamily="34" charset="0"/>
                        </a:rPr>
                        <a:t>種類がある。</a:t>
                      </a:r>
                      <a:endParaRPr kumimoji="1" lang="en-US" altLang="ja-JP" sz="1050" dirty="0">
                        <a:latin typeface="+mn-ea"/>
                        <a:ea typeface="+mn-ea"/>
                        <a:cs typeface="Arial" panose="020B0604020202020204" pitchFamily="34" charset="0"/>
                      </a:endParaRPr>
                    </a:p>
                    <a:p>
                      <a:pPr fontAlgn="ctr"/>
                      <a:r>
                        <a:rPr kumimoji="1" lang="en-US" altLang="ja-JP" sz="1050" dirty="0">
                          <a:latin typeface="+mj-lt"/>
                          <a:ea typeface="+mn-ea"/>
                          <a:cs typeface="Arial"/>
                        </a:rPr>
                        <a:t>1</a:t>
                      </a:r>
                      <a:r>
                        <a:rPr kumimoji="1" lang="ja-JP" altLang="en-US" sz="1050" dirty="0">
                          <a:latin typeface="+mj-lt"/>
                          <a:ea typeface="+mn-ea"/>
                          <a:cs typeface="Arial"/>
                        </a:rPr>
                        <a:t>）</a:t>
                      </a:r>
                      <a:r>
                        <a:rPr kumimoji="1" lang="en-US" altLang="ja-JP" sz="1050" dirty="0">
                          <a:latin typeface="+mj-lt"/>
                          <a:ea typeface="+mn-ea"/>
                          <a:cs typeface="Arial"/>
                        </a:rPr>
                        <a:t> </a:t>
                      </a:r>
                      <a:r>
                        <a:rPr kumimoji="1" lang="ja-JP" altLang="en-US" sz="1050" dirty="0">
                          <a:latin typeface="+mn-ea"/>
                          <a:ea typeface="+mn-ea"/>
                          <a:cs typeface="Arial"/>
                        </a:rPr>
                        <a:t>輸入者ライセンス</a:t>
                      </a:r>
                      <a:r>
                        <a:rPr kumimoji="1" lang="ja-JP" altLang="en-US" sz="1050" dirty="0">
                          <a:latin typeface="+mj-lt"/>
                          <a:ea typeface="+mn-ea"/>
                          <a:cs typeface="Arial"/>
                        </a:rPr>
                        <a:t>（</a:t>
                      </a:r>
                      <a:r>
                        <a:rPr kumimoji="1" lang="en-US" altLang="ja-JP" sz="1050" dirty="0">
                          <a:latin typeface="+mj-lt"/>
                          <a:ea typeface="+mn-ea"/>
                          <a:cs typeface="Arial"/>
                        </a:rPr>
                        <a:t>Importer’s </a:t>
                      </a:r>
                      <a:r>
                        <a:rPr kumimoji="1" lang="en-US" altLang="ja-JP" sz="1050" dirty="0">
                          <a:solidFill>
                            <a:schemeClr val="tx1"/>
                          </a:solidFill>
                          <a:latin typeface="+mj-lt"/>
                          <a:ea typeface="+mn-ea"/>
                          <a:cs typeface="Arial"/>
                        </a:rPr>
                        <a:t>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医療機器の輸入行為に対する許可</a:t>
                      </a:r>
                      <a:endParaRPr kumimoji="1" lang="en-US" altLang="ja-JP" sz="1050" dirty="0">
                        <a:solidFill>
                          <a:schemeClr val="tx1"/>
                        </a:solidFill>
                        <a:latin typeface="+mn-ea"/>
                        <a:ea typeface="+mn-ea"/>
                        <a:cs typeface="Arial"/>
                      </a:endParaRPr>
                    </a:p>
                    <a:p>
                      <a:pPr fontAlgn="ctr"/>
                      <a:r>
                        <a:rPr kumimoji="1" lang="en-US" altLang="ja-JP" sz="1050" dirty="0">
                          <a:latin typeface="+mj-lt"/>
                          <a:ea typeface="+mn-ea"/>
                          <a:cs typeface="Arial"/>
                        </a:rPr>
                        <a:t>2</a:t>
                      </a:r>
                      <a:r>
                        <a:rPr kumimoji="1" lang="ja-JP" altLang="en-US" sz="1050" dirty="0">
                          <a:latin typeface="+mj-lt"/>
                          <a:ea typeface="+mn-ea"/>
                          <a:cs typeface="Arial"/>
                        </a:rPr>
                        <a:t>）</a:t>
                      </a:r>
                      <a:r>
                        <a:rPr kumimoji="1" lang="en-US" altLang="ja-JP" sz="1050" dirty="0">
                          <a:latin typeface="+mj-lt"/>
                          <a:ea typeface="+mn-ea"/>
                          <a:cs typeface="Arial"/>
                        </a:rPr>
                        <a:t> </a:t>
                      </a:r>
                      <a:r>
                        <a:rPr kumimoji="1" lang="ja-JP" altLang="en-US" sz="1050" dirty="0">
                          <a:latin typeface="+mn-ea"/>
                          <a:ea typeface="+mn-ea"/>
                          <a:cs typeface="Arial"/>
                        </a:rPr>
                        <a:t>卸売業者ライセンス</a:t>
                      </a:r>
                      <a:r>
                        <a:rPr kumimoji="1" lang="ja-JP" altLang="en-US" sz="1050" dirty="0">
                          <a:latin typeface="+mj-lt"/>
                          <a:ea typeface="+mn-ea"/>
                          <a:cs typeface="Arial"/>
                        </a:rPr>
                        <a:t>（</a:t>
                      </a:r>
                      <a:r>
                        <a:rPr kumimoji="1" lang="en-US" altLang="ja-JP" sz="1050" dirty="0">
                          <a:latin typeface="+mj-lt"/>
                          <a:ea typeface="+mn-ea"/>
                          <a:cs typeface="Arial"/>
                        </a:rPr>
                        <a:t>Wholesaler’s </a:t>
                      </a:r>
                      <a:r>
                        <a:rPr kumimoji="1" lang="en-US" altLang="ja-JP" sz="1050" dirty="0">
                          <a:solidFill>
                            <a:schemeClr val="tx1"/>
                          </a:solidFill>
                          <a:latin typeface="+mj-lt"/>
                          <a:ea typeface="+mn-ea"/>
                          <a:cs typeface="Arial"/>
                        </a:rPr>
                        <a:t>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国内の卸売（輸出を含む）に対する許可</a:t>
                      </a:r>
                      <a:endParaRPr kumimoji="1" lang="en-US" altLang="ja-JP" sz="1050" dirty="0">
                        <a:solidFill>
                          <a:schemeClr val="tx1"/>
                        </a:solidFill>
                        <a:latin typeface="+mn-ea"/>
                        <a:ea typeface="+mn-ea"/>
                        <a:cs typeface="Arial"/>
                      </a:endParaRPr>
                    </a:p>
                    <a:p>
                      <a:pPr fontAlgn="ctr"/>
                      <a:r>
                        <a:rPr kumimoji="1" lang="en-US" altLang="ja-JP" sz="1050" dirty="0">
                          <a:solidFill>
                            <a:schemeClr val="tx1"/>
                          </a:solidFill>
                          <a:latin typeface="+mj-lt"/>
                          <a:ea typeface="+mn-ea"/>
                          <a:cs typeface="Arial"/>
                        </a:rPr>
                        <a:t>3</a:t>
                      </a:r>
                      <a:r>
                        <a:rPr kumimoji="1" lang="ja-JP" altLang="en-US" sz="1050" dirty="0">
                          <a:solidFill>
                            <a:schemeClr val="tx1"/>
                          </a:solidFill>
                          <a:latin typeface="+mj-lt"/>
                          <a:ea typeface="+mn-ea"/>
                          <a:cs typeface="Arial"/>
                        </a:rPr>
                        <a:t>）</a:t>
                      </a:r>
                      <a:r>
                        <a:rPr kumimoji="1" lang="en-US" altLang="ja-JP" sz="1050" dirty="0">
                          <a:solidFill>
                            <a:schemeClr val="tx1"/>
                          </a:solidFill>
                          <a:latin typeface="+mj-lt"/>
                          <a:ea typeface="+mn-ea"/>
                          <a:cs typeface="Arial"/>
                        </a:rPr>
                        <a:t> </a:t>
                      </a:r>
                      <a:r>
                        <a:rPr kumimoji="1" lang="ja-JP" altLang="en-US" sz="1050" dirty="0">
                          <a:solidFill>
                            <a:schemeClr val="tx1"/>
                          </a:solidFill>
                          <a:latin typeface="+mn-ea"/>
                          <a:ea typeface="+mn-ea"/>
                          <a:cs typeface="Arial"/>
                        </a:rPr>
                        <a:t>製造業者ライセンス</a:t>
                      </a:r>
                      <a:r>
                        <a:rPr kumimoji="1" lang="ja-JP" altLang="en-US" sz="1050" dirty="0">
                          <a:solidFill>
                            <a:schemeClr val="tx1"/>
                          </a:solidFill>
                          <a:latin typeface="+mj-lt"/>
                          <a:ea typeface="+mn-ea"/>
                          <a:cs typeface="Arial"/>
                        </a:rPr>
                        <a:t>（</a:t>
                      </a:r>
                      <a:r>
                        <a:rPr kumimoji="1" lang="en-US" altLang="ja-JP" sz="1050" dirty="0">
                          <a:solidFill>
                            <a:schemeClr val="tx1"/>
                          </a:solidFill>
                          <a:latin typeface="+mj-lt"/>
                          <a:ea typeface="+mn-ea"/>
                          <a:cs typeface="Arial"/>
                        </a:rPr>
                        <a:t>Manufacturer’s 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医療機器の製造や処理、市場へ供給する前の包装やラベリング活動に対する許可</a:t>
                      </a:r>
                      <a:endParaRPr kumimoji="1" lang="en-US" altLang="ja-JP" sz="1050" dirty="0">
                        <a:solidFill>
                          <a:schemeClr val="tx1"/>
                        </a:solidFill>
                        <a:latin typeface="+mn-ea"/>
                        <a:ea typeface="+mn-ea"/>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8351">
                <a:tc gridSpan="2">
                  <a:txBody>
                    <a:bodyPr/>
                    <a:lstStyle/>
                    <a:p>
                      <a:pPr algn="ctr" fontAlgn="ctr"/>
                      <a:r>
                        <a:rPr kumimoji="1" lang="zh-TW" altLang="en-US" sz="1100" b="1" dirty="0">
                          <a:solidFill>
                            <a:schemeClr val="bg1"/>
                          </a:solidFill>
                          <a:latin typeface="+mn-ea"/>
                          <a:ea typeface="+mn-ea"/>
                          <a:cs typeface="Arial" panose="020B0604020202020204" pitchFamily="34" charset="0"/>
                        </a:rPr>
                        <a:t>登録者</a:t>
                      </a:r>
                      <a:endParaRPr kumimoji="1" lang="en-US" altLang="zh-TW" sz="1100" b="1" dirty="0">
                        <a:solidFill>
                          <a:schemeClr val="bg1"/>
                        </a:solidFill>
                        <a:latin typeface="+mn-ea"/>
                        <a:ea typeface="+mn-ea"/>
                        <a:cs typeface="Arial" panose="020B0604020202020204" pitchFamily="34" charset="0"/>
                      </a:endParaRPr>
                    </a:p>
                    <a:p>
                      <a:pPr algn="ctr" fontAlgn="ctr"/>
                      <a:r>
                        <a:rPr kumimoji="1" lang="en-US" altLang="ja-JP" sz="1100" b="1" dirty="0">
                          <a:solidFill>
                            <a:schemeClr val="bg1"/>
                          </a:solidFill>
                          <a:latin typeface="+mj-lt"/>
                          <a:ea typeface="+mn-ea"/>
                          <a:cs typeface="Arial" panose="020B0604020202020204" pitchFamily="34" charset="0"/>
                        </a:rPr>
                        <a:t>Registrant</a:t>
                      </a:r>
                      <a:endParaRPr kumimoji="1" lang="ja-JP" altLang="en-US" sz="1100" b="1" dirty="0">
                        <a:solidFill>
                          <a:schemeClr val="bg1"/>
                        </a:solidFill>
                        <a:latin typeface="+mj-lt"/>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登録者とは当局へ医療機器の登録申請を行い、登録証を保持する責任をもつ者をいう。外国の製造業者はシンガポール国内に登録者</a:t>
                      </a:r>
                      <a:r>
                        <a:rPr kumimoji="1" lang="ja-JP" altLang="en-US"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a:t>
                      </a:r>
                      <a:r>
                        <a:rPr kumimoji="1" lang="en-US" altLang="ja-JP"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Registrant</a:t>
                      </a:r>
                      <a:r>
                        <a:rPr kumimoji="1" lang="ja-JP" altLang="en-US"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a:t>
                      </a: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を指定し、その登録者が外国の製造業者に代わり当局へ製品登録をしなければならない。</a:t>
                      </a:r>
                      <a:endParaRPr kumimoji="1" lang="en-US" altLang="ja-JP"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70138">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dirty="0">
                          <a:solidFill>
                            <a:schemeClr val="bg1"/>
                          </a:solidFill>
                          <a:latin typeface="+mn-ea"/>
                          <a:ea typeface="+mn-ea"/>
                        </a:rPr>
                        <a:t>機器の分類</a:t>
                      </a:r>
                      <a:endParaRPr kumimoji="1" lang="ja-JP" altLang="en-US" sz="1100" b="1" dirty="0">
                        <a:solidFill>
                          <a:schemeClr val="bg1"/>
                        </a:solidFill>
                        <a:latin typeface="+mn-ea"/>
                        <a:ea typeface="+mn-ea"/>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n-ea"/>
                          <a:ea typeface="+mn-ea"/>
                          <a:cs typeface="Arial"/>
                        </a:rPr>
                        <a:t>クラス</a:t>
                      </a:r>
                      <a:r>
                        <a:rPr lang="en-US" altLang="ja-JP" sz="1050" dirty="0">
                          <a:latin typeface="+mj-lt"/>
                          <a:ea typeface="+mn-ea"/>
                          <a:cs typeface="Arial"/>
                        </a:rPr>
                        <a:t>A, B, C, D</a:t>
                      </a:r>
                      <a:r>
                        <a:rPr lang="ja-JP" altLang="en-US" sz="1050" dirty="0">
                          <a:latin typeface="+mn-ea"/>
                          <a:ea typeface="+mn-ea"/>
                          <a:cs typeface="Arial"/>
                        </a:rPr>
                        <a:t>の</a:t>
                      </a:r>
                      <a:r>
                        <a:rPr lang="en-US" altLang="ja-JP" sz="1050" dirty="0">
                          <a:latin typeface="+mj-lt"/>
                          <a:ea typeface="+mn-ea"/>
                          <a:cs typeface="Arial"/>
                        </a:rPr>
                        <a:t>4</a:t>
                      </a:r>
                      <a:r>
                        <a:rPr lang="ja-JP" altLang="en-US" sz="1050" dirty="0">
                          <a:latin typeface="+mn-ea"/>
                          <a:ea typeface="+mn-ea"/>
                          <a:cs typeface="Arial"/>
                        </a:rPr>
                        <a:t>分類（クラス</a:t>
                      </a:r>
                      <a:r>
                        <a:rPr lang="en-US" altLang="ja-JP" sz="1050" dirty="0">
                          <a:latin typeface="+mj-lt"/>
                          <a:ea typeface="+mn-ea"/>
                          <a:cs typeface="Arial"/>
                        </a:rPr>
                        <a:t>A</a:t>
                      </a:r>
                      <a:r>
                        <a:rPr lang="ja-JP" altLang="en-US" sz="1050" dirty="0">
                          <a:latin typeface="+mn-ea"/>
                          <a:ea typeface="+mn-ea"/>
                          <a:cs typeface="Arial"/>
                        </a:rPr>
                        <a:t>の医療機器は登録が免除されており、</a:t>
                      </a:r>
                      <a:r>
                        <a:rPr lang="en-US" altLang="ja-JP" sz="1050" dirty="0">
                          <a:latin typeface="+mj-lt"/>
                          <a:ea typeface="+mn-ea"/>
                          <a:cs typeface="Arial"/>
                        </a:rPr>
                        <a:t>”Class A Medical Device Register”</a:t>
                      </a:r>
                      <a:r>
                        <a:rPr lang="ja-JP" altLang="en-US" sz="1050" dirty="0">
                          <a:latin typeface="+mn-ea"/>
                          <a:ea typeface="+mn-ea"/>
                          <a:cs typeface="Arial"/>
                        </a:rPr>
                        <a:t>のデータベースから輸入する製品をリスティングする。）</a:t>
                      </a:r>
                      <a:r>
                        <a:rPr lang="en-US" altLang="ja-JP" sz="1050" dirty="0">
                          <a:latin typeface="+mn-ea"/>
                          <a:ea typeface="+mn-ea"/>
                          <a:cs typeface="Arial"/>
                        </a:rPr>
                        <a:t> </a:t>
                      </a:r>
                      <a:r>
                        <a:rPr lang="en-US" altLang="ja-JP" sz="900" dirty="0">
                          <a:latin typeface="+mj-lt"/>
                          <a:ea typeface="+mn-ea"/>
                          <a:cs typeface="Arial"/>
                          <a:hlinkClick r:id="rId6"/>
                        </a:rPr>
                        <a:t>https://eservice.hsa.gov.sg/osc/portal/jsp/AA/choose.jsp</a:t>
                      </a:r>
                      <a:endParaRPr lang="en-US" altLang="ja-JP" sz="900" dirty="0">
                        <a:latin typeface="+mj-lt"/>
                        <a:ea typeface="+mn-ea"/>
                        <a:cs typeface="Arial"/>
                      </a:endParaRP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n-ea"/>
                          <a:ea typeface="+mn-ea"/>
                          <a:cs typeface="Arial" panose="020B0604020202020204" pitchFamily="34" charset="0"/>
                        </a:rPr>
                        <a:t>当局はクラス分類を製造業者が自ら行うことができるツールも公開している。</a:t>
                      </a:r>
                      <a:r>
                        <a:rPr lang="ja-JP" altLang="en-US" sz="1050" dirty="0">
                          <a:latin typeface="+mj-lt"/>
                          <a:ea typeface="+mn-ea"/>
                          <a:cs typeface="Arial" panose="020B0604020202020204" pitchFamily="34" charset="0"/>
                        </a:rPr>
                        <a:t>　</a:t>
                      </a:r>
                      <a:r>
                        <a:rPr lang="en-US" altLang="ja-JP" sz="900" dirty="0">
                          <a:latin typeface="+mj-lt"/>
                          <a:ea typeface="+mn-ea"/>
                          <a:cs typeface="Arial" panose="020B0604020202020204" pitchFamily="34" charset="0"/>
                          <a:hlinkClick r:id="rId7"/>
                        </a:rPr>
                        <a:t>https://www.hsa.gov.sg/medical-devices/registration/risk-classification</a:t>
                      </a:r>
                      <a:endParaRPr lang="en-US" altLang="ja-JP" sz="900" dirty="0">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8351">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n-ea"/>
                          <a:ea typeface="+mn-ea"/>
                          <a:cs typeface="Arial" panose="020B0604020202020204" pitchFamily="34" charset="0"/>
                        </a:rPr>
                        <a:t>審査費用</a:t>
                      </a:r>
                      <a:endParaRPr kumimoji="1" lang="en-US" altLang="ja-JP" sz="1100" b="1" dirty="0">
                        <a:solidFill>
                          <a:schemeClr val="bg1"/>
                        </a:solidFill>
                        <a:latin typeface="+mn-ea"/>
                        <a:ea typeface="+mn-ea"/>
                        <a:cs typeface="Arial" panose="020B0604020202020204" pitchFamily="34" charset="0"/>
                      </a:endParaRPr>
                    </a:p>
                    <a:p>
                      <a:pPr algn="l" fontAlgn="ctr"/>
                      <a:r>
                        <a:rPr kumimoji="1" lang="ja-JP" altLang="en-US" sz="1100" b="1" dirty="0">
                          <a:solidFill>
                            <a:schemeClr val="bg1"/>
                          </a:solidFill>
                          <a:latin typeface="+mn-ea"/>
                          <a:ea typeface="+mn-ea"/>
                          <a:cs typeface="Arial"/>
                        </a:rPr>
                        <a:t>（</a:t>
                      </a:r>
                      <a:r>
                        <a:rPr lang="en-US" altLang="ja-JP" sz="1100" b="1" dirty="0" err="1">
                          <a:solidFill>
                            <a:schemeClr val="bg1"/>
                          </a:solidFill>
                          <a:latin typeface="+mn-ea"/>
                          <a:ea typeface="+mn-ea"/>
                          <a:cs typeface="Arial"/>
                        </a:rPr>
                        <a:t>通貨：</a:t>
                      </a:r>
                      <a:r>
                        <a:rPr kumimoji="1" lang="en-US" altLang="ja-JP" sz="1100" b="1" dirty="0" err="1">
                          <a:solidFill>
                            <a:schemeClr val="bg1"/>
                          </a:solidFill>
                          <a:latin typeface="+mj-lt"/>
                          <a:ea typeface="+mn-ea"/>
                          <a:cs typeface="Arial"/>
                        </a:rPr>
                        <a:t>SGD</a:t>
                      </a:r>
                      <a:r>
                        <a:rPr kumimoji="1" lang="ja-JP" altLang="en-US" sz="1100" b="1" dirty="0">
                          <a:solidFill>
                            <a:schemeClr val="bg1"/>
                          </a:solidFill>
                          <a:latin typeface="+mj-lt"/>
                          <a:ea typeface="+mn-ea"/>
                          <a:cs typeface="Arial"/>
                        </a:rPr>
                        <a:t>）</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925〜5,300</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3,090〜8,600</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D: 5,560〜17,100</a:t>
                      </a:r>
                      <a:r>
                        <a:rPr kumimoji="1" lang="ja-JP" altLang="en-US" sz="1050" dirty="0">
                          <a:solidFill>
                            <a:schemeClr val="tx1"/>
                          </a:solidFill>
                          <a:latin typeface="+mn-ea"/>
                          <a:ea typeface="+mn-ea"/>
                          <a:cs typeface="Arial" panose="020B0604020202020204" pitchFamily="34" charset="0"/>
                        </a:rPr>
                        <a:t>ドル（費用は条件によって変わる。下記、適合性評価参照）</a:t>
                      </a:r>
                      <a:endParaRPr kumimoji="1" lang="en-US" altLang="ja-JP" sz="1050" dirty="0">
                        <a:solidFill>
                          <a:schemeClr val="tx1"/>
                        </a:solidFill>
                        <a:latin typeface="+mn-ea"/>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n-ea"/>
                          <a:ea typeface="+mn-ea"/>
                          <a:cs typeface="Arial" panose="020B0604020202020204" pitchFamily="34" charset="0"/>
                        </a:rPr>
                        <a:t>※</a:t>
                      </a:r>
                      <a:r>
                        <a:rPr kumimoji="1" lang="ja-JP" altLang="en-US" sz="1050" dirty="0">
                          <a:solidFill>
                            <a:schemeClr val="tx1"/>
                          </a:solidFill>
                          <a:latin typeface="+mn-ea"/>
                          <a:ea typeface="+mn-ea"/>
                          <a:cs typeface="Arial" panose="020B0604020202020204" pitchFamily="34" charset="0"/>
                        </a:rPr>
                        <a:t>年間登録維持費用：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36</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62</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D: 124</a:t>
                      </a:r>
                      <a:r>
                        <a:rPr kumimoji="1" lang="ja-JP" altLang="en-US" sz="1050" dirty="0">
                          <a:solidFill>
                            <a:schemeClr val="tx1"/>
                          </a:solidFill>
                          <a:latin typeface="+mn-ea"/>
                          <a:ea typeface="+mn-ea"/>
                          <a:cs typeface="Arial" panose="020B0604020202020204" pitchFamily="34" charset="0"/>
                        </a:rPr>
                        <a:t>ドル</a:t>
                      </a:r>
                      <a:endParaRPr kumimoji="1" lang="en-US" altLang="ja-JP" sz="1050" dirty="0">
                        <a:solidFill>
                          <a:schemeClr val="tx1"/>
                        </a:solidFill>
                        <a:latin typeface="+mn-ea"/>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773823757"/>
                  </a:ext>
                </a:extLst>
              </a:tr>
              <a:tr h="182490">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n-ea"/>
                          <a:ea typeface="+mn-ea"/>
                          <a:cs typeface="Arial" panose="020B0604020202020204" pitchFamily="34" charset="0"/>
                        </a:rPr>
                        <a:t>審査期間</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n-ea"/>
                          <a:ea typeface="+mn-ea"/>
                          <a:cs typeface="Arial" panose="020B0604020202020204" pitchFamily="34" charset="0"/>
                        </a:rPr>
                        <a:t> </a:t>
                      </a:r>
                      <a:r>
                        <a:rPr kumimoji="1" lang="ja-JP" altLang="en-US" sz="1050" dirty="0">
                          <a:solidFill>
                            <a:schemeClr val="tx1"/>
                          </a:solidFill>
                          <a:latin typeface="+mn-ea"/>
                          <a:ea typeface="+mn-ea"/>
                          <a:cs typeface="Arial" panose="020B0604020202020204" pitchFamily="34" charset="0"/>
                        </a:rPr>
                        <a:t>即時</a:t>
                      </a:r>
                      <a:r>
                        <a:rPr kumimoji="1" lang="en-US" altLang="ja-JP"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160</a:t>
                      </a:r>
                      <a:r>
                        <a:rPr kumimoji="1" lang="ja-JP" altLang="en-US" sz="1050" dirty="0">
                          <a:solidFill>
                            <a:schemeClr val="tx1"/>
                          </a:solidFill>
                          <a:latin typeface="+mn-ea"/>
                          <a:ea typeface="+mn-ea"/>
                          <a:cs typeface="Arial" panose="020B0604020202020204" pitchFamily="34" charset="0"/>
                        </a:rPr>
                        <a:t>営業日、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a:t>
                      </a:r>
                      <a:r>
                        <a:rPr kumimoji="1" lang="ja-JP" altLang="en-US" sz="1050" dirty="0">
                          <a:solidFill>
                            <a:schemeClr val="tx1"/>
                          </a:solidFill>
                          <a:latin typeface="+mn-ea"/>
                          <a:ea typeface="+mn-ea"/>
                          <a:cs typeface="Arial" panose="020B0604020202020204" pitchFamily="34" charset="0"/>
                        </a:rPr>
                        <a:t>即時</a:t>
                      </a:r>
                      <a:r>
                        <a:rPr kumimoji="1" lang="en-US" altLang="ja-JP"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220</a:t>
                      </a:r>
                      <a:r>
                        <a:rPr kumimoji="1" lang="ja-JP" altLang="en-US" sz="1050" dirty="0">
                          <a:solidFill>
                            <a:schemeClr val="tx1"/>
                          </a:solidFill>
                          <a:latin typeface="+mn-ea"/>
                          <a:ea typeface="+mn-ea"/>
                          <a:cs typeface="Arial" panose="020B0604020202020204" pitchFamily="34" charset="0"/>
                        </a:rPr>
                        <a:t>営業日、クラス</a:t>
                      </a:r>
                      <a:r>
                        <a:rPr kumimoji="1" lang="en-US" altLang="ja-JP" sz="1050" dirty="0">
                          <a:solidFill>
                            <a:schemeClr val="tx1"/>
                          </a:solidFill>
                          <a:latin typeface="+mj-lt"/>
                          <a:ea typeface="+mn-ea"/>
                          <a:cs typeface="Arial" panose="020B0604020202020204" pitchFamily="34" charset="0"/>
                        </a:rPr>
                        <a:t>D: 180〜310</a:t>
                      </a:r>
                      <a:r>
                        <a:rPr kumimoji="1" lang="ja-JP" altLang="en-US" sz="1050" dirty="0">
                          <a:solidFill>
                            <a:schemeClr val="tx1"/>
                          </a:solidFill>
                          <a:latin typeface="+mn-ea"/>
                          <a:ea typeface="+mn-ea"/>
                          <a:cs typeface="Arial" panose="020B0604020202020204" pitchFamily="34" charset="0"/>
                        </a:rPr>
                        <a:t>営業日</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14589199"/>
                  </a:ext>
                </a:extLst>
              </a:tr>
              <a:tr h="182490">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n-ea"/>
                          <a:ea typeface="+mn-ea"/>
                        </a:rPr>
                        <a:t>有効期限</a:t>
                      </a:r>
                      <a:endParaRPr kumimoji="1" lang="ja-JP" altLang="en-US" sz="1100" b="1" dirty="0">
                        <a:solidFill>
                          <a:schemeClr val="bg1"/>
                        </a:solidFill>
                        <a:latin typeface="+mn-ea"/>
                        <a:ea typeface="+mn-ea"/>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毎年更新（市販後監視の仕組みを維持するこ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98454">
                <a:tc gridSpan="2">
                  <a:txBody>
                    <a:bodyPr/>
                    <a:lstStyle/>
                    <a:p>
                      <a:pPr algn="ctr" fontAlgn="ctr"/>
                      <a:r>
                        <a:rPr kumimoji="1" lang="ja-JP" altLang="en-US" sz="1100" b="1" dirty="0">
                          <a:solidFill>
                            <a:schemeClr val="bg1"/>
                          </a:solidFill>
                          <a:latin typeface="+mn-ea"/>
                          <a:ea typeface="+mn-ea"/>
                          <a:cs typeface="Arial" panose="020B0604020202020204" pitchFamily="34" charset="0"/>
                        </a:rPr>
                        <a:t>適合性評価</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dirty="0">
                          <a:latin typeface="+mn-ea"/>
                          <a:ea typeface="+mn-ea"/>
                          <a:cs typeface="Arial" panose="020B0604020202020204" pitchFamily="34" charset="0"/>
                        </a:rPr>
                        <a:t>クラス</a:t>
                      </a:r>
                      <a:r>
                        <a:rPr kumimoji="1" lang="en-US" altLang="ja-JP" sz="1050" dirty="0">
                          <a:latin typeface="+mj-lt"/>
                          <a:ea typeface="+mn-ea"/>
                          <a:cs typeface="Arial" panose="020B0604020202020204" pitchFamily="34" charset="0"/>
                        </a:rPr>
                        <a:t>B, C, D</a:t>
                      </a:r>
                      <a:r>
                        <a:rPr kumimoji="1" lang="ja-JP" altLang="en-US" sz="1050" dirty="0">
                          <a:latin typeface="+mn-ea"/>
                          <a:ea typeface="+mn-ea"/>
                          <a:cs typeface="Arial" panose="020B0604020202020204" pitchFamily="34" charset="0"/>
                        </a:rPr>
                        <a:t>機器の適合性評価について、当局は様々な簡易申請のルートを設けている</a:t>
                      </a:r>
                      <a:r>
                        <a:rPr kumimoji="1" lang="ja-JP" altLang="en-US" sz="1050" b="0" u="none" dirty="0">
                          <a:latin typeface="+mn-ea"/>
                          <a:ea typeface="+mn-ea"/>
                          <a:cs typeface="Arial" panose="020B0604020202020204" pitchFamily="34" charset="0"/>
                        </a:rPr>
                        <a:t>。製造業者は登録申請する医療機器のクラス分類毎にどの簡易ルートが適用できるか下記の基準で判断</a:t>
                      </a:r>
                      <a:r>
                        <a:rPr kumimoji="1" lang="ja-JP" altLang="en-US" sz="1050" b="0" u="none" dirty="0">
                          <a:solidFill>
                            <a:schemeClr val="tx1"/>
                          </a:solidFill>
                          <a:latin typeface="+mn-ea"/>
                          <a:ea typeface="+mn-ea"/>
                          <a:cs typeface="Arial" panose="020B0604020202020204" pitchFamily="34" charset="0"/>
                        </a:rPr>
                        <a:t>し、各ルートによって求められる書類をオンラインで申請する。</a:t>
                      </a:r>
                      <a:endParaRPr kumimoji="1" lang="en-US" altLang="ja-JP" sz="1050" b="0" u="none" dirty="0">
                        <a:solidFill>
                          <a:schemeClr val="tx1"/>
                        </a:solidFill>
                        <a:latin typeface="+mn-ea"/>
                        <a:ea typeface="+mn-ea"/>
                        <a:cs typeface="Arial" panose="020B0604020202020204" pitchFamily="34" charset="0"/>
                      </a:endParaRPr>
                    </a:p>
                    <a:p>
                      <a:pPr marL="0" indent="0" fontAlgn="ctr">
                        <a:buFont typeface="Arial" pitchFamily="34" charset="0"/>
                        <a:buNone/>
                      </a:pPr>
                      <a:r>
                        <a:rPr kumimoji="1" lang="ja-JP" altLang="en-US" sz="1050" dirty="0">
                          <a:solidFill>
                            <a:schemeClr val="tx1"/>
                          </a:solidFill>
                          <a:latin typeface="+mn-ea"/>
                          <a:ea typeface="+mn-ea"/>
                          <a:cs typeface="Arial" panose="020B0604020202020204" pitchFamily="34" charset="0"/>
                        </a:rPr>
                        <a:t>＜基準＞</a:t>
                      </a:r>
                      <a:endParaRPr kumimoji="1" lang="en-US" altLang="ja-JP" sz="1050" dirty="0">
                        <a:solidFill>
                          <a:schemeClr val="tx1"/>
                        </a:solidFill>
                        <a:latin typeface="+mn-ea"/>
                        <a:ea typeface="+mn-ea"/>
                        <a:cs typeface="Arial" panose="020B0604020202020204" pitchFamily="34" charset="0"/>
                      </a:endParaRPr>
                    </a:p>
                    <a:p>
                      <a:pPr marL="71755" lvl="1" indent="-171450" fontAlgn="ctr">
                        <a:buFont typeface="Wingdings" pitchFamily="2" charset="2"/>
                        <a:buChar char="n"/>
                      </a:pPr>
                      <a:r>
                        <a:rPr lang="ja-JP" altLang="en-US" sz="1050" dirty="0">
                          <a:effectLst/>
                          <a:latin typeface="+mn-ea"/>
                          <a:ea typeface="+mn-ea"/>
                          <a:cs typeface="Times New Roman"/>
                        </a:rPr>
                        <a:t>旧</a:t>
                      </a:r>
                      <a:r>
                        <a:rPr lang="en-US" altLang="ja-JP" sz="1050" dirty="0">
                          <a:effectLst/>
                          <a:latin typeface="+mj-lt"/>
                          <a:ea typeface="+mn-ea"/>
                          <a:cs typeface="Times New Roman"/>
                        </a:rPr>
                        <a:t>GHTF</a:t>
                      </a:r>
                      <a:r>
                        <a:rPr lang="ja-JP" altLang="en-US" sz="1050" dirty="0">
                          <a:effectLst/>
                          <a:latin typeface="+mn-ea"/>
                          <a:ea typeface="+mn-ea"/>
                          <a:cs typeface="Times New Roman"/>
                        </a:rPr>
                        <a:t>加盟国の許認可の有無とその数（旧</a:t>
                      </a:r>
                      <a:r>
                        <a:rPr lang="en-US" altLang="ja-JP" sz="1050" dirty="0">
                          <a:effectLst/>
                          <a:latin typeface="+mj-lt"/>
                          <a:ea typeface="+mn-ea"/>
                          <a:cs typeface="Times New Roman"/>
                        </a:rPr>
                        <a:t>GHTF</a:t>
                      </a:r>
                      <a:r>
                        <a:rPr lang="ja-JP" altLang="en-US" sz="1050" dirty="0">
                          <a:effectLst/>
                          <a:latin typeface="+mn-ea"/>
                          <a:ea typeface="+mn-ea"/>
                          <a:cs typeface="Times New Roman"/>
                        </a:rPr>
                        <a:t>加盟国：</a:t>
                      </a:r>
                      <a:r>
                        <a:rPr lang="ja-JP" altLang="en-US" sz="1050" dirty="0">
                          <a:solidFill>
                            <a:schemeClr val="tx1"/>
                          </a:solidFill>
                          <a:effectLst/>
                          <a:latin typeface="+mn-ea"/>
                          <a:ea typeface="+mn-ea"/>
                          <a:cs typeface="Times New Roman"/>
                        </a:rPr>
                        <a:t>オーストラリア</a:t>
                      </a:r>
                      <a:r>
                        <a:rPr lang="ja-JP" altLang="en-US" sz="1050" dirty="0">
                          <a:solidFill>
                            <a:schemeClr val="tx1"/>
                          </a:solidFill>
                          <a:effectLst/>
                          <a:latin typeface="+mj-lt"/>
                          <a:ea typeface="+mn-ea"/>
                          <a:cs typeface="Times New Roman"/>
                        </a:rPr>
                        <a:t>（</a:t>
                      </a:r>
                      <a:r>
                        <a:rPr lang="en-US" altLang="ja-JP" sz="1050" dirty="0">
                          <a:solidFill>
                            <a:schemeClr val="tx1"/>
                          </a:solidFill>
                          <a:effectLst/>
                          <a:latin typeface="+mj-lt"/>
                          <a:ea typeface="+mn-ea"/>
                          <a:cs typeface="Times New Roman"/>
                        </a:rPr>
                        <a:t>TGA</a:t>
                      </a:r>
                      <a:r>
                        <a:rPr lang="ja-JP" altLang="en-US" sz="1050" dirty="0">
                          <a:solidFill>
                            <a:schemeClr val="tx1"/>
                          </a:solidFill>
                          <a:effectLst/>
                          <a:latin typeface="+mj-lt"/>
                          <a:ea typeface="+mn-ea"/>
                          <a:cs typeface="Times New Roman"/>
                        </a:rPr>
                        <a:t>）</a:t>
                      </a:r>
                      <a:r>
                        <a:rPr lang="ja-JP" altLang="en-US" sz="1050" dirty="0">
                          <a:solidFill>
                            <a:schemeClr val="tx1"/>
                          </a:solidFill>
                          <a:effectLst/>
                          <a:latin typeface="+mn-ea"/>
                          <a:ea typeface="+mn-ea"/>
                          <a:cs typeface="Times New Roman"/>
                        </a:rPr>
                        <a:t>、カナダ</a:t>
                      </a:r>
                      <a:r>
                        <a:rPr lang="en-MY" altLang="ja-JP" sz="1100" dirty="0">
                          <a:solidFill>
                            <a:schemeClr val="tx1"/>
                          </a:solidFill>
                          <a:latin typeface="+mn-ea"/>
                          <a:ea typeface="+mn-ea"/>
                          <a:cs typeface="Times New Roman"/>
                        </a:rPr>
                        <a:t> </a:t>
                      </a:r>
                      <a:r>
                        <a:rPr lang="ja-JP" altLang="en-MY" sz="1050" dirty="0">
                          <a:solidFill>
                            <a:schemeClr val="tx1"/>
                          </a:solidFill>
                          <a:effectLst/>
                          <a:latin typeface="+mj-lt"/>
                          <a:ea typeface="+mn-ea"/>
                          <a:cs typeface="Times New Roman"/>
                        </a:rPr>
                        <a:t>（</a:t>
                      </a:r>
                      <a:r>
                        <a:rPr lang="en-MY" altLang="ja-JP" sz="1050" dirty="0">
                          <a:solidFill>
                            <a:schemeClr val="tx1"/>
                          </a:solidFill>
                          <a:effectLst/>
                          <a:latin typeface="+mj-lt"/>
                          <a:ea typeface="+mn-ea"/>
                          <a:cs typeface="Times New Roman"/>
                        </a:rPr>
                        <a:t>HC</a:t>
                      </a:r>
                      <a:r>
                        <a:rPr lang="ja-JP" altLang="en-MY" sz="1050" dirty="0">
                          <a:effectLst/>
                          <a:latin typeface="+mj-lt"/>
                          <a:ea typeface="+mn-ea"/>
                          <a:cs typeface="Times New Roman"/>
                        </a:rPr>
                        <a:t>）</a:t>
                      </a:r>
                      <a:r>
                        <a:rPr lang="ja-JP" altLang="en-US" sz="1050" dirty="0">
                          <a:effectLst/>
                          <a:latin typeface="+mn-ea"/>
                          <a:ea typeface="+mn-ea"/>
                          <a:cs typeface="Times New Roman"/>
                        </a:rPr>
                        <a:t>、日本、アメリカ</a:t>
                      </a:r>
                      <a:r>
                        <a:rPr lang="en-MY" altLang="ja-JP" sz="1050" dirty="0">
                          <a:effectLst/>
                          <a:latin typeface="+mn-ea"/>
                          <a:ea typeface="+mn-ea"/>
                          <a:cs typeface="Times New Roman"/>
                        </a:rPr>
                        <a:t> </a:t>
                      </a:r>
                      <a:r>
                        <a:rPr lang="ja-JP" altLang="en-MY" sz="1050" dirty="0">
                          <a:effectLst/>
                          <a:latin typeface="+mj-lt"/>
                          <a:ea typeface="+mn-ea"/>
                          <a:cs typeface="Times New Roman"/>
                        </a:rPr>
                        <a:t>（</a:t>
                      </a:r>
                      <a:r>
                        <a:rPr lang="en-MY" altLang="ja-JP" sz="1050" dirty="0">
                          <a:effectLst/>
                          <a:latin typeface="+mj-lt"/>
                          <a:ea typeface="+mn-ea"/>
                          <a:cs typeface="Times New Roman"/>
                        </a:rPr>
                        <a:t>US FDA</a:t>
                      </a:r>
                      <a:r>
                        <a:rPr lang="ja-JP" altLang="en-MY" sz="1050" dirty="0">
                          <a:effectLst/>
                          <a:latin typeface="+mj-lt"/>
                          <a:ea typeface="+mn-ea"/>
                          <a:cs typeface="Times New Roman"/>
                        </a:rPr>
                        <a:t>）</a:t>
                      </a:r>
                      <a:r>
                        <a:rPr lang="ja-JP" altLang="en-US" sz="1050" dirty="0">
                          <a:effectLst/>
                          <a:latin typeface="+mn-ea"/>
                          <a:ea typeface="+mn-ea"/>
                          <a:cs typeface="Times New Roman"/>
                        </a:rPr>
                        <a:t>、及び欧州</a:t>
                      </a:r>
                      <a:r>
                        <a:rPr lang="ja-JP" altLang="en-MY" sz="1050" dirty="0">
                          <a:effectLst/>
                          <a:latin typeface="+mj-lt"/>
                          <a:ea typeface="+mn-ea"/>
                          <a:cs typeface="Times New Roman"/>
                        </a:rPr>
                        <a:t>（</a:t>
                      </a:r>
                      <a:r>
                        <a:rPr lang="en-MY" altLang="ja-JP" sz="1050" dirty="0">
                          <a:effectLst/>
                          <a:latin typeface="+mj-lt"/>
                          <a:ea typeface="+mn-ea"/>
                          <a:cs typeface="Times New Roman"/>
                        </a:rPr>
                        <a:t>EU</a:t>
                      </a:r>
                      <a:r>
                        <a:rPr lang="ja-JP" altLang="en-MY" sz="1050" dirty="0">
                          <a:effectLst/>
                          <a:latin typeface="+mj-lt"/>
                          <a:ea typeface="+mn-ea"/>
                          <a:cs typeface="Times New Roman"/>
                        </a:rPr>
                        <a:t>））</a:t>
                      </a:r>
                      <a:endParaRPr kumimoji="1" lang="en-US" altLang="ja-JP" sz="1050" dirty="0">
                        <a:effectLst/>
                        <a:latin typeface="+mj-lt"/>
                        <a:ea typeface="+mn-ea"/>
                        <a:cs typeface="Times New Roman"/>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シンガポールで製造販売する医療機器のラベルが旧</a:t>
                      </a:r>
                      <a:r>
                        <a:rPr kumimoji="1" lang="en-US" altLang="ja-JP" sz="1050" dirty="0">
                          <a:latin typeface="+mj-lt"/>
                          <a:ea typeface="+mn-ea"/>
                          <a:cs typeface="Arial" panose="020B0604020202020204" pitchFamily="34" charset="0"/>
                        </a:rPr>
                        <a:t>GHTF</a:t>
                      </a:r>
                      <a:r>
                        <a:rPr kumimoji="1" lang="ja-JP" altLang="en-US" sz="1050" dirty="0">
                          <a:latin typeface="+mn-ea"/>
                          <a:ea typeface="+mn-ea"/>
                          <a:cs typeface="Arial" panose="020B0604020202020204" pitchFamily="34" charset="0"/>
                        </a:rPr>
                        <a:t>加盟国で許可されたものと同一の内容かどうか</a:t>
                      </a:r>
                      <a:endParaRPr kumimoji="1" lang="en-US" altLang="ja-JP" sz="1050" dirty="0">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旧</a:t>
                      </a:r>
                      <a:r>
                        <a:rPr kumimoji="1" lang="en-US" altLang="ja-JP" sz="1050" dirty="0">
                          <a:latin typeface="+mj-lt"/>
                          <a:ea typeface="+mn-ea"/>
                          <a:cs typeface="Arial" panose="020B0604020202020204" pitchFamily="34" charset="0"/>
                        </a:rPr>
                        <a:t>GHTF</a:t>
                      </a:r>
                      <a:r>
                        <a:rPr kumimoji="1" lang="ja-JP" altLang="en-US" sz="1050" dirty="0">
                          <a:latin typeface="+mn-ea"/>
                          <a:ea typeface="+mn-ea"/>
                          <a:cs typeface="Arial" panose="020B0604020202020204" pitchFamily="34" charset="0"/>
                        </a:rPr>
                        <a:t>加盟国での製造販売実績が最低</a:t>
                      </a:r>
                      <a:r>
                        <a:rPr kumimoji="1" lang="en-US" altLang="ja-JP" sz="1050" dirty="0">
                          <a:latin typeface="+mj-lt"/>
                          <a:ea typeface="+mn-ea"/>
                          <a:cs typeface="Arial" panose="020B0604020202020204" pitchFamily="34" charset="0"/>
                        </a:rPr>
                        <a:t>3</a:t>
                      </a:r>
                      <a:r>
                        <a:rPr kumimoji="1" lang="ja-JP" altLang="en-US" sz="1050" dirty="0">
                          <a:latin typeface="+mn-ea"/>
                          <a:ea typeface="+mn-ea"/>
                          <a:cs typeface="Arial" panose="020B0604020202020204" pitchFamily="34" charset="0"/>
                        </a:rPr>
                        <a:t>年以上あるかどうか</a:t>
                      </a:r>
                      <a:endParaRPr kumimoji="1" lang="en-US" altLang="ja-JP" sz="1050" dirty="0">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製造販売</a:t>
                      </a:r>
                      <a:r>
                        <a:rPr kumimoji="1" lang="ja-JP" altLang="en-US" sz="1050" dirty="0">
                          <a:solidFill>
                            <a:schemeClr val="tx1"/>
                          </a:solidFill>
                          <a:latin typeface="+mn-ea"/>
                          <a:ea typeface="+mn-ea"/>
                          <a:cs typeface="Arial" panose="020B0604020202020204" pitchFamily="34" charset="0"/>
                        </a:rPr>
                        <a:t>する医療機器の安全有害事象が過去３年以内で無いかどうか（国は問わない）</a:t>
                      </a:r>
                      <a:endParaRPr kumimoji="1" lang="en-US" altLang="ja-JP" sz="1050" dirty="0">
                        <a:solidFill>
                          <a:schemeClr val="tx1"/>
                        </a:solidFill>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solidFill>
                            <a:schemeClr val="tx1"/>
                          </a:solidFill>
                          <a:latin typeface="+mn-ea"/>
                          <a:ea typeface="+mn-ea"/>
                          <a:cs typeface="Arial" panose="020B0604020202020204" pitchFamily="34" charset="0"/>
                        </a:rPr>
                        <a:t>当局</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HSA</a:t>
                      </a:r>
                      <a:r>
                        <a:rPr kumimoji="1" lang="ja-JP" altLang="en-US" sz="1050" dirty="0">
                          <a:solidFill>
                            <a:schemeClr val="tx1"/>
                          </a:solidFill>
                          <a:latin typeface="+mj-lt"/>
                          <a:ea typeface="+mn-ea"/>
                          <a:cs typeface="Arial" panose="020B0604020202020204" pitchFamily="34" charset="0"/>
                        </a:rPr>
                        <a:t>）</a:t>
                      </a:r>
                      <a:r>
                        <a:rPr kumimoji="1" lang="ja-JP" altLang="en-US" sz="1050" dirty="0">
                          <a:solidFill>
                            <a:schemeClr val="tx1"/>
                          </a:solidFill>
                          <a:latin typeface="+mn-ea"/>
                          <a:ea typeface="+mn-ea"/>
                          <a:cs typeface="Arial" panose="020B0604020202020204" pitchFamily="34" charset="0"/>
                        </a:rPr>
                        <a:t>又は旧</a:t>
                      </a:r>
                      <a:r>
                        <a:rPr kumimoji="1" lang="en-US" altLang="ja-JP" sz="1050" dirty="0">
                          <a:solidFill>
                            <a:schemeClr val="tx1"/>
                          </a:solidFill>
                          <a:latin typeface="+mj-lt"/>
                          <a:ea typeface="+mn-ea"/>
                          <a:cs typeface="Arial" panose="020B0604020202020204" pitchFamily="34" charset="0"/>
                        </a:rPr>
                        <a:t>GHTF</a:t>
                      </a:r>
                      <a:r>
                        <a:rPr kumimoji="1" lang="ja-JP" altLang="en-US" sz="1050" dirty="0">
                          <a:solidFill>
                            <a:schemeClr val="tx1"/>
                          </a:solidFill>
                          <a:latin typeface="+mn-ea"/>
                          <a:ea typeface="+mn-ea"/>
                          <a:cs typeface="Arial" panose="020B0604020202020204" pitchFamily="34" charset="0"/>
                        </a:rPr>
                        <a:t>加盟国において過去に登録却下、又は登録を取り下げていないかどうか</a:t>
                      </a:r>
                      <a:endParaRPr kumimoji="1" lang="en-US" altLang="ja-JP" sz="1050" dirty="0">
                        <a:solidFill>
                          <a:schemeClr val="tx1"/>
                        </a:solidFill>
                        <a:latin typeface="+mn-ea"/>
                        <a:ea typeface="+mn-ea"/>
                        <a:cs typeface="Arial" panose="020B0604020202020204" pitchFamily="34" charset="0"/>
                      </a:endParaRPr>
                    </a:p>
                    <a:p>
                      <a:pPr marL="0" lvl="1" indent="0" fontAlgn="ctr">
                        <a:buFont typeface="Wingdings" pitchFamily="2" charset="2"/>
                        <a:buNone/>
                      </a:pPr>
                      <a:r>
                        <a:rPr kumimoji="1" lang="en-US" altLang="ja-JP" sz="950" dirty="0">
                          <a:solidFill>
                            <a:schemeClr val="tx1"/>
                          </a:solidFill>
                          <a:latin typeface="+mn-ea"/>
                          <a:ea typeface="+mn-ea"/>
                          <a:cs typeface="Arial" panose="020B0604020202020204" pitchFamily="34" charset="0"/>
                        </a:rPr>
                        <a:t>※</a:t>
                      </a:r>
                      <a:r>
                        <a:rPr kumimoji="1" lang="ja-JP" altLang="en-US" sz="950" dirty="0">
                          <a:solidFill>
                            <a:schemeClr val="tx1"/>
                          </a:solidFill>
                          <a:latin typeface="+mn-ea"/>
                          <a:ea typeface="+mn-ea"/>
                          <a:cs typeface="Arial" panose="020B0604020202020204" pitchFamily="34" charset="0"/>
                        </a:rPr>
                        <a:t>簡易申請の</a:t>
                      </a:r>
                      <a:r>
                        <a:rPr kumimoji="1" lang="ja-JP" altLang="en-US" sz="950" dirty="0">
                          <a:latin typeface="+mn-ea"/>
                          <a:ea typeface="+mn-ea"/>
                          <a:cs typeface="Arial" panose="020B0604020202020204" pitchFamily="34" charset="0"/>
                        </a:rPr>
                        <a:t>適用ができない機器</a:t>
                      </a:r>
                      <a:endParaRPr kumimoji="1" lang="en-US" altLang="ja-JP" sz="950" dirty="0">
                        <a:latin typeface="+mn-ea"/>
                        <a:ea typeface="+mn-ea"/>
                        <a:cs typeface="Arial" panose="020B0604020202020204" pitchFamily="34" charset="0"/>
                      </a:endParaRPr>
                    </a:p>
                    <a:p>
                      <a:pPr marL="72000" lvl="1" indent="0" fontAlgn="ctr">
                        <a:buFont typeface="Wingdings" pitchFamily="2" charset="2"/>
                        <a:buNone/>
                      </a:pPr>
                      <a:r>
                        <a:rPr kumimoji="1" lang="ja-JP" altLang="en-US" sz="950" dirty="0">
                          <a:latin typeface="+mn-ea"/>
                          <a:ea typeface="+mn-ea"/>
                          <a:cs typeface="Arial" panose="020B0604020202020204" pitchFamily="34" charset="0"/>
                        </a:rPr>
                        <a:t>クラス</a:t>
                      </a:r>
                      <a:r>
                        <a:rPr kumimoji="1" lang="en-US" altLang="ja-JP" sz="950" dirty="0">
                          <a:latin typeface="+mj-lt"/>
                          <a:ea typeface="+mn-ea"/>
                          <a:cs typeface="Arial" panose="020B0604020202020204" pitchFamily="34" charset="0"/>
                        </a:rPr>
                        <a:t>C</a:t>
                      </a:r>
                      <a:r>
                        <a:rPr kumimoji="1" lang="en-US" altLang="ja-JP" sz="950" dirty="0">
                          <a:latin typeface="+mn-ea"/>
                          <a:ea typeface="+mn-ea"/>
                          <a:cs typeface="Arial" panose="020B0604020202020204" pitchFamily="34" charset="0"/>
                        </a:rPr>
                        <a:t>: </a:t>
                      </a:r>
                      <a:r>
                        <a:rPr lang="ja-JP" altLang="en-US" sz="950" dirty="0">
                          <a:effectLst/>
                          <a:latin typeface="+mn-ea"/>
                          <a:ea typeface="+mn-ea"/>
                          <a:cs typeface="Times New Roman" panose="02020603050405020304" pitchFamily="18" charset="0"/>
                        </a:rPr>
                        <a:t>股関節、膝関節、肩関節のインプラント（例：非生物活性金属</a:t>
                      </a:r>
                      <a:r>
                        <a:rPr lang="en-US" altLang="ja-JP" sz="950" dirty="0">
                          <a:effectLst/>
                          <a:latin typeface="+mn-ea"/>
                          <a:ea typeface="+mn-ea"/>
                          <a:cs typeface="Times New Roman" panose="02020603050405020304" pitchFamily="18" charset="0"/>
                        </a:rPr>
                        <a:t>/</a:t>
                      </a:r>
                      <a:r>
                        <a:rPr lang="ja-JP" altLang="en-US" sz="950" dirty="0">
                          <a:effectLst/>
                          <a:latin typeface="+mn-ea"/>
                          <a:ea typeface="+mn-ea"/>
                          <a:cs typeface="Times New Roman" panose="02020603050405020304" pitchFamily="18" charset="0"/>
                        </a:rPr>
                        <a:t>ポリマーインプラント）</a:t>
                      </a:r>
                      <a:endParaRPr kumimoji="1" lang="en-US" altLang="ja-JP" sz="950" dirty="0">
                        <a:latin typeface="+mn-ea"/>
                        <a:ea typeface="+mn-ea"/>
                        <a:cs typeface="Arial" panose="020B0604020202020204" pitchFamily="34" charset="0"/>
                      </a:endParaRPr>
                    </a:p>
                    <a:p>
                      <a:pPr marL="71755" lvl="1" indent="0" fontAlgn="ctr">
                        <a:buFont typeface="Wingdings" pitchFamily="2" charset="2"/>
                        <a:buNone/>
                      </a:pPr>
                      <a:r>
                        <a:rPr kumimoji="1" lang="ja-JP" altLang="en-US" sz="950" dirty="0">
                          <a:latin typeface="+mn-ea"/>
                          <a:ea typeface="+mn-ea"/>
                          <a:cs typeface="Arial"/>
                        </a:rPr>
                        <a:t>クラス</a:t>
                      </a:r>
                      <a:r>
                        <a:rPr kumimoji="1" lang="en-US" altLang="ja-JP" sz="950" dirty="0">
                          <a:latin typeface="+mj-lt"/>
                          <a:ea typeface="+mn-ea"/>
                          <a:cs typeface="Arial"/>
                        </a:rPr>
                        <a:t>D</a:t>
                      </a:r>
                      <a:r>
                        <a:rPr kumimoji="1" lang="en-US" altLang="ja-JP" sz="950" dirty="0">
                          <a:latin typeface="+mn-ea"/>
                          <a:ea typeface="+mn-ea"/>
                          <a:cs typeface="Arial"/>
                        </a:rPr>
                        <a:t>: </a:t>
                      </a:r>
                      <a:r>
                        <a:rPr lang="ja-JP" altLang="en-US" sz="950" dirty="0">
                          <a:effectLst/>
                          <a:latin typeface="+mn-ea"/>
                          <a:ea typeface="+mn-ea"/>
                          <a:cs typeface="Times New Roman"/>
                        </a:rPr>
                        <a:t>股関節、膝関節、肩関節のインプラント（例：非生物活性金属</a:t>
                      </a:r>
                      <a:r>
                        <a:rPr lang="en-US" altLang="ja-JP" sz="950" dirty="0">
                          <a:effectLst/>
                          <a:latin typeface="+mn-ea"/>
                          <a:ea typeface="+mn-ea"/>
                          <a:cs typeface="Times New Roman"/>
                        </a:rPr>
                        <a:t>/</a:t>
                      </a:r>
                      <a:r>
                        <a:rPr lang="ja-JP" altLang="en-US" sz="950" dirty="0">
                          <a:effectLst/>
                          <a:latin typeface="+mn-ea"/>
                          <a:ea typeface="+mn-ea"/>
                          <a:cs typeface="Times New Roman"/>
                        </a:rPr>
                        <a:t>ポリマーインプラント</a:t>
                      </a:r>
                      <a:r>
                        <a:rPr lang="en-US" altLang="ja-JP" sz="950" dirty="0">
                          <a:effectLst/>
                          <a:latin typeface="+mn-ea"/>
                          <a:ea typeface="+mn-ea"/>
                          <a:cs typeface="Times New Roman"/>
                        </a:rPr>
                        <a:t>/</a:t>
                      </a:r>
                      <a:r>
                        <a:rPr lang="ja-JP" altLang="en-US" sz="950" dirty="0">
                          <a:effectLst/>
                          <a:latin typeface="+mn-ea"/>
                          <a:ea typeface="+mn-ea"/>
                          <a:cs typeface="Times New Roman"/>
                        </a:rPr>
                        <a:t>生物活性インプラント）、能動体内埋め込み機器（ペースメーカー）、中枢循環又は中枢神経と直接接触するインプラント機器、医薬品組み込み機器、</a:t>
                      </a:r>
                      <a:r>
                        <a:rPr lang="en-US" altLang="ja-JP" sz="950" dirty="0">
                          <a:effectLst/>
                          <a:latin typeface="+mn-ea"/>
                          <a:ea typeface="+mn-ea"/>
                          <a:cs typeface="Times New Roman"/>
                        </a:rPr>
                        <a:t>HIV</a:t>
                      </a:r>
                      <a:r>
                        <a:rPr lang="ja-JP" altLang="en-US" sz="950" dirty="0">
                          <a:effectLst/>
                          <a:latin typeface="+mn-ea"/>
                          <a:ea typeface="+mn-ea"/>
                          <a:cs typeface="Times New Roman"/>
                        </a:rPr>
                        <a:t>検査（スクリーニング、診断）、血液・組織ドナー適合性試験</a:t>
                      </a:r>
                      <a:endParaRPr lang="en-US" altLang="ja-JP" sz="950" dirty="0">
                        <a:effectLst/>
                        <a:latin typeface="+mn-ea"/>
                        <a:ea typeface="+mn-ea"/>
                        <a:cs typeface="Times New Roman"/>
                      </a:endParaRPr>
                    </a:p>
                    <a:p>
                      <a:pPr marL="0" indent="0" fontAlgn="ctr">
                        <a:buFont typeface="Wingdings" pitchFamily="2" charset="2"/>
                        <a:buNone/>
                      </a:pPr>
                      <a:endParaRPr kumimoji="1" lang="en-US" altLang="ja-JP" sz="1050" dirty="0">
                        <a:effectLst/>
                        <a:latin typeface="+mn-ea"/>
                        <a:ea typeface="+mn-ea"/>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Tx/>
                        <a:buSzTx/>
                        <a:buFont typeface="Wingdings" pitchFamily="2" charset="2"/>
                        <a:buNone/>
                        <a:tabLst/>
                        <a:defRPr/>
                      </a:pPr>
                      <a:r>
                        <a:rPr kumimoji="1" lang="en-US" altLang="ja-JP" sz="1050" dirty="0">
                          <a:latin typeface="+mn-ea"/>
                          <a:ea typeface="+mn-ea"/>
                          <a:cs typeface="Arial" panose="020B0604020202020204" pitchFamily="34" charset="0"/>
                        </a:rPr>
                        <a:t>※</a:t>
                      </a:r>
                      <a:r>
                        <a:rPr kumimoji="1" lang="ja-JP" altLang="en-US" sz="1050" dirty="0">
                          <a:latin typeface="+mn-ea"/>
                          <a:ea typeface="+mn-ea"/>
                          <a:cs typeface="Arial" panose="020B0604020202020204" pitchFamily="34" charset="0"/>
                        </a:rPr>
                        <a:t>適合性評価のルートによって審査費用、審査期間が異なる。詳細は当局のホームページを参照。</a:t>
                      </a:r>
                      <a:r>
                        <a:rPr kumimoji="1" lang="en-US" altLang="ja-JP" sz="900" dirty="0">
                          <a:latin typeface="+mj-lt"/>
                          <a:ea typeface="+mn-ea"/>
                          <a:cs typeface="Arial" panose="020B0604020202020204" pitchFamily="34" charset="0"/>
                          <a:hlinkClick r:id="rId8"/>
                        </a:rPr>
                        <a:t>https://www.hsa.gov.sg/medical-devices/fees</a:t>
                      </a:r>
                      <a:endParaRPr kumimoji="1" lang="en-US" altLang="ja-JP" sz="1050" dirty="0">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470" y="10615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n-ea"/>
                <a:cs typeface="Arial" panose="020B0604020202020204" pitchFamily="34" charset="0"/>
              </a:rPr>
              <a:t>シンガポールへの医療機器の輸入・販売には、健康科学庁</a:t>
            </a:r>
            <a:r>
              <a:rPr kumimoji="1" lang="ja-JP" altLang="en-US" sz="1400" dirty="0">
                <a:cs typeface="Arial" panose="020B0604020202020204" pitchFamily="34" charset="0"/>
              </a:rPr>
              <a:t>（</a:t>
            </a:r>
            <a:r>
              <a:rPr kumimoji="1" lang="en-US" altLang="ja-JP" sz="1400" dirty="0">
                <a:cs typeface="Arial" panose="020B0604020202020204" pitchFamily="34" charset="0"/>
              </a:rPr>
              <a:t>HSA: Health Sciences Authority</a:t>
            </a:r>
            <a:r>
              <a:rPr kumimoji="1" lang="ja-JP" altLang="en-US" sz="1400" dirty="0">
                <a:cs typeface="Arial" panose="020B0604020202020204" pitchFamily="34" charset="0"/>
              </a:rPr>
              <a:t>）</a:t>
            </a:r>
            <a:r>
              <a:rPr kumimoji="1" lang="ja-JP" altLang="en-US" sz="1400" dirty="0">
                <a:latin typeface="+mn-ea"/>
                <a:cs typeface="Arial" panose="020B0604020202020204" pitchFamily="34" charset="0"/>
              </a:rPr>
              <a:t>の許可が</a:t>
            </a:r>
            <a:r>
              <a:rPr lang="ja-JP" altLang="en-US" sz="1400" dirty="0">
                <a:latin typeface="+mn-ea"/>
                <a:cs typeface="Arial" panose="020B0604020202020204" pitchFamily="34" charset="0"/>
              </a:rPr>
              <a:t>必要となる。</a:t>
            </a:r>
          </a:p>
        </p:txBody>
      </p:sp>
      <p:sp>
        <p:nvSpPr>
          <p:cNvPr id="11" name="テキスト ボックス 33">
            <a:extLst>
              <a:ext uri="{FF2B5EF4-FFF2-40B4-BE49-F238E27FC236}">
                <a16:creationId xmlns:a16="http://schemas.microsoft.com/office/drawing/2014/main" id="{0EF44EA0-4707-4993-AC95-4C526C3FF8CE}"/>
              </a:ext>
            </a:extLst>
          </p:cNvPr>
          <p:cNvSpPr txBox="1"/>
          <p:nvPr/>
        </p:nvSpPr>
        <p:spPr>
          <a:xfrm>
            <a:off x="128390" y="65973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海外医療機器規制レポート」 （</a:t>
            </a:r>
            <a:r>
              <a:rPr lang="en-US" altLang="ja-JP" sz="800" dirty="0">
                <a:latin typeface="+mj-ea"/>
                <a:ea typeface="+mj-ea"/>
                <a:cs typeface="Arial" panose="020B0604020202020204" pitchFamily="34" charset="0"/>
              </a:rPr>
              <a:t>p.20</a:t>
            </a:r>
            <a:r>
              <a:rPr lang="ja-JP" altLang="en-US" sz="800" dirty="0">
                <a:latin typeface="+mj-ea"/>
                <a:ea typeface="+mj-ea"/>
                <a:cs typeface="Arial" panose="020B0604020202020204" pitchFamily="34" charset="0"/>
              </a:rPr>
              <a:t>）</a:t>
            </a:r>
          </a:p>
        </p:txBody>
      </p:sp>
      <p:sp>
        <p:nvSpPr>
          <p:cNvPr id="14" name="タイトル 4">
            <a:extLst>
              <a:ext uri="{FF2B5EF4-FFF2-40B4-BE49-F238E27FC236}">
                <a16:creationId xmlns:a16="http://schemas.microsoft.com/office/drawing/2014/main" id="{9BDB1E7E-640F-49F5-9110-9DD6FC0814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2" name="テキスト プレースホルダー 2">
            <a:extLst>
              <a:ext uri="{FF2B5EF4-FFF2-40B4-BE49-F238E27FC236}">
                <a16:creationId xmlns:a16="http://schemas.microsoft.com/office/drawing/2014/main" id="{79449F91-CCD5-617B-B78D-E20B623389C2}"/>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医療機器に対する規制（</a:t>
            </a:r>
            <a:r>
              <a:rPr lang="en-US" altLang="ja-JP" dirty="0"/>
              <a:t>1/2</a:t>
            </a:r>
            <a:r>
              <a:rPr lang="ja-JP" altLang="en-US" dirty="0"/>
              <a:t>）</a:t>
            </a:r>
          </a:p>
        </p:txBody>
      </p:sp>
    </p:spTree>
    <p:extLst>
      <p:ext uri="{BB962C8B-B14F-4D97-AF65-F5344CB8AC3E}">
        <p14:creationId xmlns:p14="http://schemas.microsoft.com/office/powerpoint/2010/main" val="31172674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73CA8FA-9B83-48B7-95DE-52E65A9B138F}"/>
              </a:ext>
            </a:extLst>
          </p:cNvPr>
          <p:cNvGraphicFramePr>
            <a:graphicFrameLocks/>
          </p:cNvGraphicFramePr>
          <p:nvPr>
            <p:custDataLst>
              <p:tags r:id="rId1"/>
            </p:custDataLst>
            <p:extLst>
              <p:ext uri="{D42A27DB-BD31-4B8C-83A1-F6EECF244321}">
                <p14:modId xmlns:p14="http://schemas.microsoft.com/office/powerpoint/2010/main" val="287908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7" name="Object 16" hidden="1">
                        <a:extLst>
                          <a:ext uri="{FF2B5EF4-FFF2-40B4-BE49-F238E27FC236}">
                            <a16:creationId xmlns:a16="http://schemas.microsoft.com/office/drawing/2014/main" id="{973CA8FA-9B83-48B7-95DE-52E65A9B13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p:txBody>
          <a:bodyPr/>
          <a:lstStyle/>
          <a:p>
            <a:r>
              <a:rPr lang="ja-JP" altLang="en-US" dirty="0"/>
              <a:t>医療機器に対する規制（</a:t>
            </a:r>
            <a:r>
              <a:rPr lang="en-US" altLang="ja-JP" dirty="0"/>
              <a:t>2/2</a:t>
            </a:r>
            <a:r>
              <a:rPr lang="ja-JP" altLang="en-US" dirty="0"/>
              <a:t>）</a:t>
            </a:r>
          </a:p>
        </p:txBody>
      </p:sp>
      <p:sp>
        <p:nvSpPr>
          <p:cNvPr id="4" name="テキスト ボックス 3"/>
          <p:cNvSpPr txBox="1"/>
          <p:nvPr/>
        </p:nvSpPr>
        <p:spPr>
          <a:xfrm>
            <a:off x="200472" y="1008739"/>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クラス</a:t>
            </a:r>
            <a:r>
              <a:rPr lang="en-US" altLang="ja-JP" sz="1400" dirty="0">
                <a:latin typeface="+mj-lt"/>
                <a:cs typeface="Arial" panose="020B0604020202020204" pitchFamily="34" charset="0"/>
              </a:rPr>
              <a:t>B</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C</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D</a:t>
            </a:r>
            <a:r>
              <a:rPr lang="ja-JP" altLang="en-US" sz="1400" dirty="0">
                <a:latin typeface="+mn-ea"/>
                <a:cs typeface="Arial" panose="020B0604020202020204" pitchFamily="34" charset="0"/>
              </a:rPr>
              <a:t>の申請には簡易審査ルートが設けられている。ここでは本邦の薬事許認可を有する場合</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Abridged</a:t>
            </a:r>
            <a:r>
              <a:rPr lang="ja-JP" altLang="en-US" sz="1400" dirty="0">
                <a:latin typeface="+mn-ea"/>
                <a:cs typeface="Arial" panose="020B0604020202020204" pitchFamily="34" charset="0"/>
              </a:rPr>
              <a:t>審査）を例に示す。</a:t>
            </a:r>
            <a:endParaRPr lang="en-US" altLang="ja-JP" sz="1400" dirty="0">
              <a:latin typeface="+mn-ea"/>
              <a:cs typeface="Arial" panose="020B0604020202020204" pitchFamily="34" charset="0"/>
            </a:endParaRPr>
          </a:p>
        </p:txBody>
      </p:sp>
      <p:grpSp>
        <p:nvGrpSpPr>
          <p:cNvPr id="5" name="グループ化 7"/>
          <p:cNvGrpSpPr/>
          <p:nvPr/>
        </p:nvGrpSpPr>
        <p:grpSpPr>
          <a:xfrm>
            <a:off x="411459" y="1501299"/>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n-ea"/>
                  <a:ea typeface="+mn-ea"/>
                </a:rPr>
                <a:t>医療機器登録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845992"/>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へ</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320489" y="2749696"/>
            <a:ext cx="1742594" cy="91037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bg1"/>
                </a:solidFill>
                <a:latin typeface="+mn-ea"/>
                <a:cs typeface="Arial" panose="020B0604020202020204" pitchFamily="34" charset="0"/>
              </a:rPr>
              <a:t>卸売業者ライセンス</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a:t>
            </a:r>
            <a:r>
              <a:rPr lang="en-US" altLang="ja-JP" sz="1000" b="1" dirty="0">
                <a:solidFill>
                  <a:schemeClr val="bg1"/>
                </a:solidFill>
                <a:latin typeface="+mj-lt"/>
                <a:cs typeface="Arial" panose="020B0604020202020204" pitchFamily="34" charset="0"/>
              </a:rPr>
              <a:t>Wholesaler’s License</a:t>
            </a:r>
            <a:r>
              <a:rPr lang="ja-JP" altLang="en-US" sz="1000" b="1" dirty="0">
                <a:solidFill>
                  <a:schemeClr val="bg1"/>
                </a:solidFill>
                <a:latin typeface="+mn-ea"/>
                <a:cs typeface="Arial" panose="020B0604020202020204" pitchFamily="34" charset="0"/>
              </a:rPr>
              <a:t>）を</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持つ企業が</a:t>
            </a:r>
            <a:r>
              <a:rPr lang="en-US" altLang="ja-JP" sz="1000" b="1" dirty="0">
                <a:solidFill>
                  <a:schemeClr val="bg1"/>
                </a:solidFill>
                <a:latin typeface="+mj-lt"/>
                <a:cs typeface="Arial" panose="020B0604020202020204" pitchFamily="34" charset="0"/>
              </a:rPr>
              <a:t>HSA</a:t>
            </a:r>
            <a:r>
              <a:rPr lang="ja-JP" altLang="en-US" sz="1000" b="1" dirty="0">
                <a:solidFill>
                  <a:schemeClr val="bg1"/>
                </a:solidFill>
                <a:latin typeface="+mn-ea"/>
                <a:cs typeface="Arial" panose="020B0604020202020204" pitchFamily="34" charset="0"/>
              </a:rPr>
              <a:t>へ製品を</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リスティング</a:t>
            </a:r>
            <a:endParaRPr lang="en-US" altLang="ja-JP" sz="1000" b="1" dirty="0">
              <a:solidFill>
                <a:schemeClr val="bg1"/>
              </a:solidFill>
              <a:latin typeface="+mn-ea"/>
              <a:cs typeface="Arial" panose="020B0604020202020204" pitchFamily="34" charset="0"/>
            </a:endParaRPr>
          </a:p>
          <a:p>
            <a:pPr algn="ctr"/>
            <a:r>
              <a:rPr kumimoji="1" lang="ja-JP" altLang="en-US" sz="1000" b="1" dirty="0">
                <a:solidFill>
                  <a:schemeClr val="bg1"/>
                </a:solidFill>
                <a:latin typeface="+mn-ea"/>
                <a:cs typeface="Arial" panose="020B0604020202020204" pitchFamily="34" charset="0"/>
              </a:rPr>
              <a:t>（製品登録不要）</a:t>
            </a:r>
          </a:p>
        </p:txBody>
      </p:sp>
      <p:sp>
        <p:nvSpPr>
          <p:cNvPr id="11" name="角丸四角形 10"/>
          <p:cNvSpPr/>
          <p:nvPr/>
        </p:nvSpPr>
        <p:spPr>
          <a:xfrm>
            <a:off x="2471325" y="3389601"/>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1"/>
                </a:solidFill>
                <a:latin typeface="+mn-ea"/>
                <a:cs typeface="Arial" panose="020B0604020202020204" pitchFamily="34" charset="0"/>
              </a:rPr>
              <a:t>クラス分類の確定</a:t>
            </a:r>
            <a:endParaRPr kumimoji="1" lang="en-US" altLang="ja-JP" sz="1000" b="1" dirty="0">
              <a:solidFill>
                <a:schemeClr val="bg1"/>
              </a:solidFill>
              <a:latin typeface="+mn-ea"/>
              <a:cs typeface="Arial" panose="020B0604020202020204" pitchFamily="34" charset="0"/>
            </a:endParaRPr>
          </a:p>
          <a:p>
            <a:pPr algn="ctr"/>
            <a:r>
              <a:rPr lang="en-US" altLang="ja-JP" sz="1000" b="1" dirty="0">
                <a:solidFill>
                  <a:schemeClr val="bg1"/>
                </a:solidFill>
                <a:latin typeface="+mj-lt"/>
                <a:cs typeface="Arial" panose="020B0604020202020204" pitchFamily="34" charset="0"/>
              </a:rPr>
              <a:t>Abridged</a:t>
            </a:r>
            <a:r>
              <a:rPr lang="ja-JP" altLang="en-US" sz="1000" b="1" dirty="0">
                <a:solidFill>
                  <a:schemeClr val="bg1"/>
                </a:solidFill>
                <a:latin typeface="+mn-ea"/>
                <a:cs typeface="Arial" panose="020B0604020202020204" pitchFamily="34" charset="0"/>
              </a:rPr>
              <a:t>（簡易）審査</a:t>
            </a:r>
            <a:r>
              <a:rPr lang="en-US" altLang="ja-JP" sz="1000" b="1" dirty="0">
                <a:solidFill>
                  <a:schemeClr val="bg1"/>
                </a:solidFill>
                <a:latin typeface="+mn-ea"/>
                <a:cs typeface="Arial" panose="020B0604020202020204" pitchFamily="34" charset="0"/>
              </a:rPr>
              <a:t>*</a:t>
            </a:r>
            <a:endParaRPr kumimoji="1" lang="ja-JP" altLang="en-US" sz="1000" b="1" dirty="0">
              <a:solidFill>
                <a:schemeClr val="bg1"/>
              </a:solidFill>
              <a:latin typeface="+mn-ea"/>
              <a:cs typeface="Arial" panose="020B0604020202020204" pitchFamily="34" charset="0"/>
            </a:endParaRPr>
          </a:p>
        </p:txBody>
      </p:sp>
      <p:sp>
        <p:nvSpPr>
          <p:cNvPr id="12" name="角丸四角形 11"/>
          <p:cNvSpPr/>
          <p:nvPr/>
        </p:nvSpPr>
        <p:spPr>
          <a:xfrm>
            <a:off x="2470163" y="4725144"/>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n-ea"/>
                <a:cs typeface="Arial" panose="020B0604020202020204" pitchFamily="34" charset="0"/>
              </a:rPr>
              <a:t>却下　または　登録</a:t>
            </a:r>
          </a:p>
        </p:txBody>
      </p:sp>
      <p:cxnSp>
        <p:nvCxnSpPr>
          <p:cNvPr id="18" name="カギ線コネクタ 17"/>
          <p:cNvCxnSpPr>
            <a:cxnSpLocks/>
          </p:cNvCxnSpPr>
          <p:nvPr/>
        </p:nvCxnSpPr>
        <p:spPr>
          <a:xfrm rot="5400000">
            <a:off x="1614449" y="1751138"/>
            <a:ext cx="540000" cy="137054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610711" y="2125682"/>
            <a:ext cx="540000" cy="621387"/>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2723025" y="2728893"/>
            <a:ext cx="951541"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n-ea"/>
                <a:cs typeface="Arial" panose="020B0604020202020204" pitchFamily="34" charset="0"/>
              </a:rPr>
              <a:t>リスク分類申請</a:t>
            </a:r>
          </a:p>
        </p:txBody>
      </p:sp>
      <p:sp>
        <p:nvSpPr>
          <p:cNvPr id="39" name="正方形/長方形 38"/>
          <p:cNvSpPr/>
          <p:nvPr/>
        </p:nvSpPr>
        <p:spPr>
          <a:xfrm>
            <a:off x="432914" y="5041858"/>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en-US" altLang="ja-JP" sz="1000" dirty="0">
                <a:latin typeface="+mj-lt"/>
              </a:rPr>
              <a:t>HSA</a:t>
            </a:r>
            <a:r>
              <a:rPr lang="ja-JP" altLang="en-US" sz="1000" dirty="0">
                <a:latin typeface="+mn-ea"/>
              </a:rPr>
              <a:t>の審査では、</a:t>
            </a:r>
            <a:r>
              <a:rPr lang="en-US" altLang="ja-JP" sz="1000" dirty="0">
                <a:latin typeface="+mj-lt"/>
              </a:rPr>
              <a:t>1</a:t>
            </a:r>
            <a:r>
              <a:rPr lang="ja-JP" altLang="en-US" sz="1000" dirty="0">
                <a:latin typeface="+mn-ea"/>
              </a:rPr>
              <a:t>回目の指摘事項へ回答後、</a:t>
            </a:r>
            <a:r>
              <a:rPr lang="en-US" altLang="ja-JP" sz="1000" dirty="0">
                <a:latin typeface="+mj-lt"/>
              </a:rPr>
              <a:t>2</a:t>
            </a:r>
            <a:r>
              <a:rPr lang="ja-JP" altLang="en-US" sz="1000" dirty="0">
                <a:latin typeface="+mn-ea"/>
              </a:rPr>
              <a:t>回目の指摘事項では新たな指摘が</a:t>
            </a:r>
            <a:endParaRPr lang="en-US" altLang="ja-JP" sz="1000" dirty="0">
              <a:latin typeface="+mn-ea"/>
            </a:endParaRPr>
          </a:p>
          <a:p>
            <a:pPr marL="0" lvl="1" algn="just" fontAlgn="ctr">
              <a:lnSpc>
                <a:spcPts val="1100"/>
              </a:lnSpc>
              <a:spcAft>
                <a:spcPts val="300"/>
              </a:spcAft>
              <a:buClr>
                <a:srgbClr val="5F8AC3"/>
              </a:buClr>
              <a:buSzPct val="80000"/>
            </a:pPr>
            <a:r>
              <a:rPr lang="en-US" altLang="ja-JP" sz="1000" dirty="0">
                <a:latin typeface="+mn-ea"/>
              </a:rPr>
              <a:t>   </a:t>
            </a:r>
            <a:r>
              <a:rPr lang="ja-JP" altLang="en-US" sz="1000" dirty="0">
                <a:latin typeface="+mn-ea"/>
              </a:rPr>
              <a:t>出される為、審査完了時期を予想するのが困難である。</a:t>
            </a:r>
            <a:endParaRPr lang="en-US" altLang="ja-JP" sz="1000" dirty="0">
              <a:latin typeface="+mn-ea"/>
            </a:endParaRPr>
          </a:p>
          <a:p>
            <a:pPr marL="0" lvl="1" algn="just" fontAlgn="ctr">
              <a:lnSpc>
                <a:spcPts val="1100"/>
              </a:lnSpc>
              <a:spcAft>
                <a:spcPts val="300"/>
              </a:spcAft>
              <a:buClr>
                <a:srgbClr val="5F8AC3"/>
              </a:buClr>
              <a:buSzPct val="80000"/>
            </a:pPr>
            <a:r>
              <a:rPr lang="en-US" altLang="ja-JP" sz="1000" dirty="0">
                <a:latin typeface="+mn-ea"/>
              </a:rPr>
              <a:t>   </a:t>
            </a:r>
            <a:r>
              <a:rPr lang="ja-JP" altLang="en-US" sz="1000" dirty="0">
                <a:latin typeface="+mn-ea"/>
              </a:rPr>
              <a:t>また、回答までの期間は</a:t>
            </a:r>
            <a:r>
              <a:rPr lang="en-US" altLang="ja-JP" sz="1000" dirty="0">
                <a:latin typeface="+mj-lt"/>
              </a:rPr>
              <a:t>1〜2</a:t>
            </a:r>
            <a:r>
              <a:rPr lang="ja-JP" altLang="en-US" sz="1000" dirty="0">
                <a:latin typeface="+mn-ea"/>
              </a:rPr>
              <a:t>ヶ月程度を設定されることが一般的である。</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上記の審査期間は申請者の回答に要する期間は含まれていない。</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審査期間は目安であり記載の期間より時間がかかる場合もある。</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中古品の医療機器はシンガポールへの輸入は禁止されている。</a:t>
            </a:r>
            <a:endParaRPr lang="en-US" altLang="ja-JP" sz="1000" dirty="0">
              <a:latin typeface="+mn-ea"/>
            </a:endParaRPr>
          </a:p>
          <a:p>
            <a:pPr marL="0" lvl="1" algn="just" fontAlgn="ctr">
              <a:lnSpc>
                <a:spcPts val="1100"/>
              </a:lnSpc>
              <a:spcAft>
                <a:spcPts val="300"/>
              </a:spcAft>
              <a:buClr>
                <a:srgbClr val="5F8AC3"/>
              </a:buClr>
              <a:buSzPct val="80000"/>
            </a:pPr>
            <a:r>
              <a:rPr lang="ja-JP" altLang="en-US" sz="1000" dirty="0">
                <a:latin typeface="+mn-ea"/>
              </a:rPr>
              <a:t>但し、改装された医療機器の流通は可能だが、民間の病院、クリニックに限定されている。</a:t>
            </a:r>
          </a:p>
        </p:txBody>
      </p:sp>
      <p:grpSp>
        <p:nvGrpSpPr>
          <p:cNvPr id="40" name="グループ化 7"/>
          <p:cNvGrpSpPr/>
          <p:nvPr/>
        </p:nvGrpSpPr>
        <p:grpSpPr>
          <a:xfrm>
            <a:off x="5169024" y="135939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n-ea"/>
                  <a:ea typeface="+mn-ea"/>
                </a:rPr>
                <a:t>医療機器登録申請に必要な書類</a:t>
              </a:r>
              <a:r>
                <a:rPr lang="ja-JP" altLang="en-US" sz="1000" b="1" dirty="0">
                  <a:latin typeface="+mj-lt"/>
                  <a:ea typeface="+mn-ea"/>
                </a:rPr>
                <a:t>（</a:t>
              </a:r>
              <a:r>
                <a:rPr lang="en-US" altLang="ja-JP" sz="1000" b="1" dirty="0">
                  <a:latin typeface="+mj-lt"/>
                  <a:ea typeface="+mn-ea"/>
                </a:rPr>
                <a:t>ASEAN</a:t>
              </a:r>
              <a:r>
                <a:rPr lang="ja-JP" altLang="en-US" sz="1000" b="1" dirty="0">
                  <a:latin typeface="+mn-ea"/>
                  <a:ea typeface="+mn-ea"/>
                </a:rPr>
                <a:t>共通申請様式</a:t>
              </a:r>
              <a:r>
                <a:rPr lang="en-US" altLang="ja-JP" sz="1000" b="1" dirty="0">
                  <a:latin typeface="+mj-lt"/>
                  <a:ea typeface="+mn-ea"/>
                </a:rPr>
                <a:t>CSDT</a:t>
              </a:r>
              <a:r>
                <a:rPr lang="ja-JP" altLang="en-US" sz="1000" b="1" dirty="0">
                  <a:latin typeface="+mn-ea"/>
                  <a:ea typeface="+mn-ea"/>
                </a:rPr>
                <a:t>に基づく）</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819203"/>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エグザクティブサマリ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基本要件のチェック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機器概要、設計検証、妥当性確認のサマリー文書</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前臨床試験情報（滅菌バリデーション、製品寿命に関する試験等）</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設計検証、妥当性確認の詳細情報</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全臨床試験に関連する試験報告書一式（例：物性試験、化学性試験、生体適合性試験、動物試験、ソフトウェアバリデーション等）</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滅菌バリデーション（該当する場合）</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品寿命に関する試験データ</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臨床評価報告書（参照した文献一式を含む）</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委任状、機器のラベル、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業者と滅菌製造者（該当する場合）の名称と住所</a:t>
            </a:r>
            <a:endParaRPr lang="en-US" altLang="ja-JP" sz="1000" dirty="0">
              <a:solidFill>
                <a:schemeClr val="tx1"/>
              </a:solidFill>
              <a:latin typeface="+mn-ea"/>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品質マネジメントシステムの証明（少なくとも下記から一つ）　　　　　　</a:t>
            </a:r>
            <a:r>
              <a:rPr lang="ja-JP" altLang="en-US" sz="800" dirty="0">
                <a:solidFill>
                  <a:schemeClr val="tx1"/>
                </a:solidFill>
                <a:latin typeface="+mn-ea"/>
                <a:cs typeface="Arial" panose="020B0604020202020204" pitchFamily="34" charset="0"/>
              </a:rPr>
              <a:t>（</a:t>
            </a:r>
            <a:r>
              <a:rPr lang="en-US" altLang="ja-JP" sz="800" dirty="0">
                <a:solidFill>
                  <a:schemeClr val="tx1"/>
                </a:solidFill>
                <a:latin typeface="+mj-lt"/>
                <a:cs typeface="Arial" panose="020B0604020202020204" pitchFamily="34" charset="0"/>
              </a:rPr>
              <a:t>ISO13485</a:t>
            </a:r>
            <a:r>
              <a:rPr lang="ja-JP" altLang="en-US" sz="800" dirty="0">
                <a:solidFill>
                  <a:schemeClr val="tx1"/>
                </a:solidFill>
                <a:latin typeface="+mn-ea"/>
                <a:cs typeface="Arial" panose="020B0604020202020204" pitchFamily="34" charset="0"/>
              </a:rPr>
              <a:t>、アメリカ</a:t>
            </a:r>
            <a:r>
              <a:rPr lang="en-US" altLang="ja-JP" sz="800" dirty="0">
                <a:solidFill>
                  <a:schemeClr val="tx1"/>
                </a:solidFill>
                <a:latin typeface="+mj-lt"/>
                <a:cs typeface="Arial" panose="020B0604020202020204" pitchFamily="34" charset="0"/>
              </a:rPr>
              <a:t>FDA Quality System Regulations</a:t>
            </a:r>
            <a:r>
              <a:rPr lang="ja-JP" altLang="en-US" sz="800" dirty="0">
                <a:solidFill>
                  <a:schemeClr val="tx1"/>
                </a:solidFill>
                <a:latin typeface="+mn-ea"/>
                <a:cs typeface="Arial" panose="020B0604020202020204" pitchFamily="34" charset="0"/>
              </a:rPr>
              <a:t>、日本　</a:t>
            </a:r>
            <a:r>
              <a:rPr lang="en-US" altLang="ja-JP" sz="800" dirty="0">
                <a:solidFill>
                  <a:schemeClr val="tx1"/>
                </a:solidFill>
                <a:latin typeface="+mj-lt"/>
                <a:cs typeface="Arial" panose="020B0604020202020204" pitchFamily="34" charset="0"/>
              </a:rPr>
              <a:t>QMS</a:t>
            </a:r>
            <a:r>
              <a:rPr lang="ja-JP" altLang="en-US" sz="800" dirty="0">
                <a:solidFill>
                  <a:schemeClr val="tx1"/>
                </a:solidFill>
                <a:latin typeface="+mn-ea"/>
                <a:cs typeface="Arial" panose="020B0604020202020204" pitchFamily="34" charset="0"/>
              </a:rPr>
              <a:t>省令</a:t>
            </a:r>
            <a:r>
              <a:rPr lang="en-US" altLang="ja-JP" sz="800" dirty="0">
                <a:solidFill>
                  <a:schemeClr val="tx1"/>
                </a:solidFill>
                <a:latin typeface="+mn-ea"/>
                <a:cs typeface="Arial" panose="020B0604020202020204" pitchFamily="34" charset="0"/>
              </a:rPr>
              <a:t>169</a:t>
            </a:r>
            <a:r>
              <a:rPr lang="ja-JP" altLang="en-US" sz="800" dirty="0">
                <a:solidFill>
                  <a:schemeClr val="tx1"/>
                </a:solidFill>
                <a:latin typeface="+mn-ea"/>
                <a:cs typeface="Arial" panose="020B0604020202020204" pitchFamily="34" charset="0"/>
              </a:rPr>
              <a:t>号）</a:t>
            </a:r>
            <a:endParaRPr lang="ja-JP" altLang="en-US"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プロセスを含む製造フローチャート</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登録申請する医療機器のリスト（複数品目）</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参照国の薬事登録のエビデンス（日本の場合：届出、認証書、承認書）</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販売実績の証明（インボイス等）、安全有害事象が無いことの宣言書</a:t>
            </a:r>
            <a:endParaRPr lang="en-US" altLang="ja-JP" sz="1000" dirty="0">
              <a:solidFill>
                <a:schemeClr val="tx1"/>
              </a:solidFill>
              <a:latin typeface="+mn-ea"/>
              <a:cs typeface="Arial" panose="020B0604020202020204" pitchFamily="34" charset="0"/>
            </a:endParaRPr>
          </a:p>
        </p:txBody>
      </p:sp>
      <p:sp>
        <p:nvSpPr>
          <p:cNvPr id="46" name="テキスト ボックス 45">
            <a:extLst>
              <a:ext uri="{FF2B5EF4-FFF2-40B4-BE49-F238E27FC236}">
                <a16:creationId xmlns:a16="http://schemas.microsoft.com/office/drawing/2014/main" id="{659E1DCF-ECD0-3941-B287-65592CE37610}"/>
              </a:ext>
            </a:extLst>
          </p:cNvPr>
          <p:cNvSpPr txBox="1"/>
          <p:nvPr/>
        </p:nvSpPr>
        <p:spPr>
          <a:xfrm>
            <a:off x="840025" y="2221356"/>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a:t>
            </a:r>
          </a:p>
        </p:txBody>
      </p:sp>
      <p:sp>
        <p:nvSpPr>
          <p:cNvPr id="47" name="テキスト ボックス 46">
            <a:extLst>
              <a:ext uri="{FF2B5EF4-FFF2-40B4-BE49-F238E27FC236}">
                <a16:creationId xmlns:a16="http://schemas.microsoft.com/office/drawing/2014/main" id="{A980144E-6D12-4442-8D50-3496E4C7EBC8}"/>
              </a:ext>
            </a:extLst>
          </p:cNvPr>
          <p:cNvSpPr txBox="1"/>
          <p:nvPr/>
        </p:nvSpPr>
        <p:spPr>
          <a:xfrm>
            <a:off x="2836211" y="2216361"/>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C, D</a:t>
            </a:r>
          </a:p>
        </p:txBody>
      </p:sp>
      <p:sp>
        <p:nvSpPr>
          <p:cNvPr id="48" name="テキスト ボックス 47">
            <a:extLst>
              <a:ext uri="{FF2B5EF4-FFF2-40B4-BE49-F238E27FC236}">
                <a16:creationId xmlns:a16="http://schemas.microsoft.com/office/drawing/2014/main" id="{63A94EDA-B638-C242-827D-26316C48572D}"/>
              </a:ext>
            </a:extLst>
          </p:cNvPr>
          <p:cNvSpPr txBox="1"/>
          <p:nvPr/>
        </p:nvSpPr>
        <p:spPr>
          <a:xfrm>
            <a:off x="3920079" y="3477767"/>
            <a:ext cx="1069189" cy="324000"/>
          </a:xfrm>
          <a:prstGeom prst="rect">
            <a:avLst/>
          </a:prstGeom>
          <a:noFill/>
        </p:spPr>
        <p:txBody>
          <a:bodyPr wrap="square" lIns="0" tIns="36000" rIns="0" bIns="36000" rtlCol="0" anchor="t" anchorCtr="0">
            <a:noAutofit/>
          </a:bodyPr>
          <a:lstStyle/>
          <a:p>
            <a:pPr algn="ctr"/>
            <a:r>
              <a:rPr lang="en-US" altLang="ja-JP" sz="900" dirty="0">
                <a:latin typeface="+mn-ea"/>
              </a:rPr>
              <a:t>*</a:t>
            </a:r>
            <a:r>
              <a:rPr lang="ja-JP" altLang="en-US" sz="900">
                <a:latin typeface="+mn-ea"/>
              </a:rPr>
              <a:t>日本の許認可を</a:t>
            </a:r>
            <a:endParaRPr lang="en-US" altLang="ja-JP" sz="900" dirty="0">
              <a:latin typeface="+mn-ea"/>
            </a:endParaRPr>
          </a:p>
          <a:p>
            <a:pPr algn="ctr"/>
            <a:r>
              <a:rPr lang="ja-JP" altLang="en-US" sz="900">
                <a:latin typeface="+mn-ea"/>
              </a:rPr>
              <a:t>有する医療機器申請</a:t>
            </a:r>
            <a:endParaRPr lang="en-US" altLang="ja-JP" sz="900" dirty="0">
              <a:latin typeface="+mn-ea"/>
            </a:endParaRPr>
          </a:p>
        </p:txBody>
      </p:sp>
      <p:cxnSp>
        <p:nvCxnSpPr>
          <p:cNvPr id="49" name="直線矢印コネクタ 48">
            <a:extLst>
              <a:ext uri="{FF2B5EF4-FFF2-40B4-BE49-F238E27FC236}">
                <a16:creationId xmlns:a16="http://schemas.microsoft.com/office/drawing/2014/main" id="{08E09372-C8BF-1A49-BF2F-4FFD620D20FE}"/>
              </a:ext>
            </a:extLst>
          </p:cNvPr>
          <p:cNvCxnSpPr/>
          <p:nvPr/>
        </p:nvCxnSpPr>
        <p:spPr>
          <a:xfrm>
            <a:off x="3193113" y="3070465"/>
            <a:ext cx="0" cy="2783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0A201A55-820B-C84E-BCF8-7D3888CA01E1}"/>
              </a:ext>
            </a:extLst>
          </p:cNvPr>
          <p:cNvSpPr txBox="1"/>
          <p:nvPr/>
        </p:nvSpPr>
        <p:spPr>
          <a:xfrm>
            <a:off x="1392957" y="4025697"/>
            <a:ext cx="2154411" cy="619815"/>
          </a:xfrm>
          <a:prstGeom prst="rect">
            <a:avLst/>
          </a:prstGeom>
          <a:noFill/>
        </p:spPr>
        <p:txBody>
          <a:bodyPr wrap="square" lIns="0" tIns="36000" rIns="0" bIns="36000" rtlCol="0" anchor="t" anchorCtr="0">
            <a:noAutofit/>
          </a:bodyPr>
          <a:lstStyle/>
          <a:p>
            <a:r>
              <a:rPr lang="ja-JP" altLang="en-US" sz="900" dirty="0">
                <a:latin typeface="+mn-ea"/>
              </a:rPr>
              <a:t>審査期間（完全審査の場合）</a:t>
            </a:r>
            <a:endParaRPr lang="en-US" altLang="ja-JP" sz="900" dirty="0">
              <a:latin typeface="+mn-ea"/>
            </a:endParaRPr>
          </a:p>
          <a:p>
            <a:r>
              <a:rPr lang="ja-JP" altLang="en-US" sz="900" dirty="0">
                <a:latin typeface="+mn-ea"/>
              </a:rPr>
              <a:t>クラス</a:t>
            </a:r>
            <a:r>
              <a:rPr lang="en-US" altLang="ja-JP" sz="900" dirty="0">
                <a:latin typeface="+mj-lt"/>
              </a:rPr>
              <a:t>B: 100</a:t>
            </a:r>
            <a:r>
              <a:rPr lang="ja-JP" altLang="en-US" sz="900" dirty="0">
                <a:latin typeface="+mn-ea"/>
              </a:rPr>
              <a:t>営業日（</a:t>
            </a:r>
            <a:r>
              <a:rPr lang="en-US" altLang="ja-JP" sz="900" dirty="0">
                <a:latin typeface="+mj-lt"/>
              </a:rPr>
              <a:t>160</a:t>
            </a:r>
            <a:r>
              <a:rPr lang="ja-JP" altLang="en-US" sz="900" dirty="0">
                <a:latin typeface="+mn-ea"/>
              </a:rPr>
              <a:t>営業日）</a:t>
            </a:r>
            <a:r>
              <a:rPr lang="en-US" altLang="ja-JP" sz="900" dirty="0">
                <a:latin typeface="+mn-ea"/>
              </a:rPr>
              <a:t> </a:t>
            </a:r>
          </a:p>
          <a:p>
            <a:r>
              <a:rPr lang="ja-JP" altLang="en-US" sz="900" dirty="0">
                <a:latin typeface="+mn-ea"/>
              </a:rPr>
              <a:t>クラス</a:t>
            </a:r>
            <a:r>
              <a:rPr lang="en-US" altLang="ja-JP" sz="900" dirty="0">
                <a:latin typeface="+mj-lt"/>
              </a:rPr>
              <a:t>C: 160</a:t>
            </a:r>
            <a:r>
              <a:rPr lang="ja-JP" altLang="en-US" sz="900" dirty="0">
                <a:latin typeface="+mn-ea"/>
              </a:rPr>
              <a:t>営業日（</a:t>
            </a:r>
            <a:r>
              <a:rPr lang="en-US" altLang="ja-JP" sz="900" dirty="0">
                <a:latin typeface="+mj-lt"/>
              </a:rPr>
              <a:t>220</a:t>
            </a:r>
            <a:r>
              <a:rPr lang="ja-JP" altLang="en-US" sz="900" dirty="0">
                <a:latin typeface="+mn-ea"/>
              </a:rPr>
              <a:t>営業日）</a:t>
            </a:r>
            <a:r>
              <a:rPr lang="en-US" altLang="ja-JP" sz="900" dirty="0">
                <a:latin typeface="+mn-ea"/>
              </a:rPr>
              <a:t> </a:t>
            </a:r>
          </a:p>
          <a:p>
            <a:r>
              <a:rPr lang="ja-JP" altLang="en-US" sz="900" dirty="0">
                <a:latin typeface="+mn-ea"/>
              </a:rPr>
              <a:t>クラス</a:t>
            </a:r>
            <a:r>
              <a:rPr lang="en-US" altLang="ja-JP" sz="900" dirty="0">
                <a:latin typeface="+mj-lt"/>
              </a:rPr>
              <a:t>D: 220</a:t>
            </a:r>
            <a:r>
              <a:rPr lang="ja-JP" altLang="en-US" sz="900" dirty="0">
                <a:latin typeface="+mn-ea"/>
              </a:rPr>
              <a:t>営業日（</a:t>
            </a:r>
            <a:r>
              <a:rPr lang="en-US" altLang="ja-JP" sz="900" dirty="0">
                <a:latin typeface="+mj-lt"/>
              </a:rPr>
              <a:t>310</a:t>
            </a:r>
            <a:r>
              <a:rPr lang="ja-JP" altLang="en-US" sz="900" dirty="0">
                <a:latin typeface="+mn-ea"/>
              </a:rPr>
              <a:t>営業日）</a:t>
            </a:r>
            <a:r>
              <a:rPr lang="en-US" altLang="ja-JP" sz="900" dirty="0">
                <a:latin typeface="+mn-ea"/>
              </a:rPr>
              <a:t> </a:t>
            </a:r>
          </a:p>
        </p:txBody>
      </p:sp>
      <p:cxnSp>
        <p:nvCxnSpPr>
          <p:cNvPr id="51" name="直線矢印コネクタ 50">
            <a:extLst>
              <a:ext uri="{FF2B5EF4-FFF2-40B4-BE49-F238E27FC236}">
                <a16:creationId xmlns:a16="http://schemas.microsoft.com/office/drawing/2014/main" id="{D4D7DD78-FD0D-DB4E-B231-10A6F21C5228}"/>
              </a:ext>
            </a:extLst>
          </p:cNvPr>
          <p:cNvCxnSpPr/>
          <p:nvPr/>
        </p:nvCxnSpPr>
        <p:spPr>
          <a:xfrm>
            <a:off x="3190243" y="3919583"/>
            <a:ext cx="0" cy="7941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32C05031-08FC-9447-BC87-714E7FE0BA9C}"/>
              </a:ext>
            </a:extLst>
          </p:cNvPr>
          <p:cNvSpPr txBox="1"/>
          <p:nvPr/>
        </p:nvSpPr>
        <p:spPr>
          <a:xfrm>
            <a:off x="3419754" y="3904408"/>
            <a:ext cx="2154411" cy="619815"/>
          </a:xfrm>
          <a:prstGeom prst="rect">
            <a:avLst/>
          </a:prstGeom>
          <a:noFill/>
        </p:spPr>
        <p:txBody>
          <a:bodyPr wrap="square" lIns="0" tIns="36000" rIns="0" bIns="36000" rtlCol="0" anchor="t" anchorCtr="0">
            <a:noAutofit/>
          </a:bodyPr>
          <a:lstStyle/>
          <a:p>
            <a:r>
              <a:rPr lang="ja-JP" altLang="en-US" sz="900" dirty="0">
                <a:latin typeface="+mn-ea"/>
              </a:rPr>
              <a:t>審査費用（完全審査の場合）</a:t>
            </a:r>
            <a:endParaRPr lang="en-US" altLang="ja-JP" sz="900" dirty="0">
              <a:latin typeface="+mn-ea"/>
            </a:endParaRPr>
          </a:p>
          <a:p>
            <a:r>
              <a:rPr lang="ja-JP" altLang="en-US" sz="900" dirty="0">
                <a:latin typeface="+mn-ea"/>
              </a:rPr>
              <a:t>クラス</a:t>
            </a:r>
            <a:r>
              <a:rPr lang="en-US" altLang="ja-JP" sz="900" dirty="0">
                <a:latin typeface="+mn-ea"/>
              </a:rPr>
              <a:t>B</a:t>
            </a:r>
            <a:r>
              <a:rPr lang="en-US" altLang="ja-JP" sz="900" dirty="0">
                <a:latin typeface="+mj-lt"/>
              </a:rPr>
              <a:t>: $1,850</a:t>
            </a:r>
            <a:r>
              <a:rPr lang="ja-JP" altLang="en-US" sz="900" dirty="0">
                <a:latin typeface="+mj-lt"/>
              </a:rPr>
              <a:t>（</a:t>
            </a:r>
            <a:r>
              <a:rPr lang="en-US" altLang="ja-JP" sz="900" dirty="0">
                <a:latin typeface="+mj-lt"/>
              </a:rPr>
              <a:t> $3,605</a:t>
            </a:r>
            <a:r>
              <a:rPr lang="ja-JP" altLang="en-US" sz="900" dirty="0">
                <a:latin typeface="+mj-lt"/>
              </a:rPr>
              <a:t>）</a:t>
            </a:r>
            <a:r>
              <a:rPr lang="en-US" altLang="ja-JP" sz="900" dirty="0">
                <a:latin typeface="+mj-lt"/>
              </a:rPr>
              <a:t> </a:t>
            </a:r>
          </a:p>
          <a:p>
            <a:r>
              <a:rPr lang="ja-JP" altLang="en-US" sz="900" dirty="0">
                <a:latin typeface="+mn-ea"/>
              </a:rPr>
              <a:t>クラス</a:t>
            </a:r>
            <a:r>
              <a:rPr lang="en-US" altLang="ja-JP" sz="900" dirty="0">
                <a:latin typeface="+mn-ea"/>
              </a:rPr>
              <a:t>C</a:t>
            </a:r>
            <a:r>
              <a:rPr lang="en-US" altLang="ja-JP" sz="900" dirty="0">
                <a:latin typeface="+mj-lt"/>
              </a:rPr>
              <a:t>: $3,605</a:t>
            </a:r>
            <a:r>
              <a:rPr lang="ja-JP" altLang="en-US" sz="900" dirty="0">
                <a:latin typeface="+mj-lt"/>
              </a:rPr>
              <a:t>（</a:t>
            </a:r>
            <a:r>
              <a:rPr lang="en-US" altLang="ja-JP" sz="900" dirty="0">
                <a:latin typeface="+mj-lt"/>
              </a:rPr>
              <a:t> $5,870</a:t>
            </a:r>
            <a:r>
              <a:rPr lang="ja-JP" altLang="en-US" sz="900" dirty="0">
                <a:latin typeface="+mj-lt"/>
              </a:rPr>
              <a:t>）</a:t>
            </a:r>
            <a:r>
              <a:rPr lang="en-US" altLang="ja-JP" sz="900" dirty="0">
                <a:latin typeface="+mj-lt"/>
              </a:rPr>
              <a:t> </a:t>
            </a:r>
          </a:p>
          <a:p>
            <a:r>
              <a:rPr lang="ja-JP" altLang="en-US" sz="900" dirty="0">
                <a:latin typeface="+mn-ea"/>
              </a:rPr>
              <a:t>クラス</a:t>
            </a:r>
            <a:r>
              <a:rPr lang="en-US" altLang="ja-JP" sz="900" dirty="0">
                <a:latin typeface="+mn-ea"/>
              </a:rPr>
              <a:t>D: </a:t>
            </a:r>
            <a:r>
              <a:rPr lang="en-US" altLang="ja-JP" sz="900" dirty="0">
                <a:latin typeface="+mj-lt"/>
              </a:rPr>
              <a:t>$5,870</a:t>
            </a:r>
            <a:r>
              <a:rPr lang="ja-JP" altLang="en-US" sz="900" dirty="0">
                <a:latin typeface="+mj-lt"/>
              </a:rPr>
              <a:t>（</a:t>
            </a:r>
            <a:r>
              <a:rPr lang="en-US" altLang="ja-JP" sz="900" dirty="0">
                <a:latin typeface="+mj-lt"/>
              </a:rPr>
              <a:t> $11,600</a:t>
            </a:r>
            <a:r>
              <a:rPr lang="ja-JP" altLang="en-US" sz="900" dirty="0">
                <a:latin typeface="+mj-lt"/>
              </a:rPr>
              <a:t>）</a:t>
            </a:r>
            <a:r>
              <a:rPr lang="en-US" altLang="ja-JP" sz="900" dirty="0">
                <a:latin typeface="+mj-lt"/>
              </a:rPr>
              <a:t> </a:t>
            </a:r>
          </a:p>
        </p:txBody>
      </p:sp>
      <p:sp>
        <p:nvSpPr>
          <p:cNvPr id="29" name="テキスト ボックス 33">
            <a:extLst>
              <a:ext uri="{FF2B5EF4-FFF2-40B4-BE49-F238E27FC236}">
                <a16:creationId xmlns:a16="http://schemas.microsoft.com/office/drawing/2014/main" id="{EA849CFD-9BF2-43A9-8463-1D7DB42A650D}"/>
              </a:ext>
            </a:extLst>
          </p:cNvPr>
          <p:cNvSpPr txBox="1"/>
          <p:nvPr/>
        </p:nvSpPr>
        <p:spPr>
          <a:xfrm>
            <a:off x="599546" y="6597352"/>
            <a:ext cx="8640960" cy="144016"/>
          </a:xfrm>
          <a:prstGeom prst="rect">
            <a:avLst/>
          </a:prstGeom>
          <a:noFill/>
        </p:spPr>
        <p:txBody>
          <a:bodyPr wrap="square" lIns="0" tIns="0" rIns="0" bIns="0" rtlCol="0">
            <a:noAutofit/>
          </a:bodyPr>
          <a:lstStyle/>
          <a:p>
            <a:pPr marL="444500" lvl="0" indent="-444500"/>
            <a:r>
              <a:rPr lang="ja-JP" altLang="en-US" sz="800" dirty="0">
                <a:latin typeface="+mn-ea"/>
                <a:cs typeface="Arial" panose="020B0604020202020204" pitchFamily="34" charset="0"/>
              </a:rPr>
              <a:t>（出所）クアルテック・ジャパン・コンサルティング株式会社「海外医療機器規制レポート」 （</a:t>
            </a:r>
            <a:r>
              <a:rPr lang="en-US" altLang="ja-JP" sz="800" dirty="0">
                <a:latin typeface="+mn-ea"/>
                <a:cs typeface="Arial" panose="020B0604020202020204" pitchFamily="34" charset="0"/>
              </a:rPr>
              <a:t>p.21</a:t>
            </a:r>
            <a:r>
              <a:rPr lang="ja-JP" altLang="en-US" sz="800" dirty="0">
                <a:latin typeface="+mn-ea"/>
                <a:cs typeface="Arial" panose="020B0604020202020204" pitchFamily="34" charset="0"/>
              </a:rPr>
              <a:t>）</a:t>
            </a:r>
          </a:p>
        </p:txBody>
      </p:sp>
      <p:sp>
        <p:nvSpPr>
          <p:cNvPr id="37" name="タイトル 4">
            <a:extLst>
              <a:ext uri="{FF2B5EF4-FFF2-40B4-BE49-F238E27FC236}">
                <a16:creationId xmlns:a16="http://schemas.microsoft.com/office/drawing/2014/main" id="{F3188FB1-CC95-438B-BBEE-3FC8482AAC0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Tree>
    <p:extLst>
      <p:ext uri="{BB962C8B-B14F-4D97-AF65-F5344CB8AC3E}">
        <p14:creationId xmlns:p14="http://schemas.microsoft.com/office/powerpoint/2010/main" val="3444909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385208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latin typeface="HGP創英角ｺﾞｼｯｸUB" panose="020B0900000000000000" pitchFamily="50" charset="-128"/>
              </a:rPr>
              <a:t>医薬品に対する規制</a:t>
            </a:r>
          </a:p>
        </p:txBody>
      </p:sp>
      <p:sp>
        <p:nvSpPr>
          <p:cNvPr id="34" name="テキスト ボックス 33"/>
          <p:cNvSpPr txBox="1"/>
          <p:nvPr/>
        </p:nvSpPr>
        <p:spPr>
          <a:xfrm>
            <a:off x="128390"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a:t>
            </a:r>
            <a:r>
              <a:rPr lang="en-US" altLang="ja-JP" sz="800" dirty="0">
                <a:latin typeface="+mj-lt"/>
                <a:ea typeface="+mj-ea"/>
                <a:cs typeface="Arial" panose="020B0604020202020204" pitchFamily="34" charset="0"/>
              </a:rPr>
              <a:t>Health Sciences Authority</a:t>
            </a:r>
            <a:r>
              <a:rPr lang="ja-JP" altLang="en-US" sz="800" dirty="0">
                <a:latin typeface="+mj-ea"/>
                <a:ea typeface="+mj-ea"/>
                <a:cs typeface="Arial" panose="020B0604020202020204" pitchFamily="34" charset="0"/>
              </a:rPr>
              <a:t>ホームページ</a:t>
            </a:r>
          </a:p>
        </p:txBody>
      </p:sp>
      <p:sp>
        <p:nvSpPr>
          <p:cNvPr id="2" name="TextBox 1">
            <a:extLst>
              <a:ext uri="{FF2B5EF4-FFF2-40B4-BE49-F238E27FC236}">
                <a16:creationId xmlns:a16="http://schemas.microsoft.com/office/drawing/2014/main" id="{ECA4E801-88F9-4C24-91D6-DE67014D9173}"/>
              </a:ext>
            </a:extLst>
          </p:cNvPr>
          <p:cNvSpPr txBox="1"/>
          <p:nvPr/>
        </p:nvSpPr>
        <p:spPr>
          <a:xfrm>
            <a:off x="1689833" y="1491634"/>
            <a:ext cx="8016142"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1977 </a:t>
            </a:r>
            <a:r>
              <a:rPr lang="ja-JP" altLang="en-US" sz="1200" dirty="0"/>
              <a:t>年医薬品法（</a:t>
            </a:r>
            <a:r>
              <a:rPr lang="en-US" altLang="ja-JP" sz="1200" dirty="0"/>
              <a:t>Medicines Act</a:t>
            </a:r>
            <a:r>
              <a:rPr lang="ja-JP" altLang="en-US" sz="1200" dirty="0"/>
              <a:t>）、</a:t>
            </a:r>
            <a:r>
              <a:rPr lang="en-US" altLang="ja-JP" sz="1200" dirty="0"/>
              <a:t>2007 </a:t>
            </a:r>
            <a:r>
              <a:rPr lang="ja-JP" altLang="en-US" sz="1200" dirty="0"/>
              <a:t>年医療製品法（</a:t>
            </a:r>
            <a:r>
              <a:rPr lang="en-US" altLang="ja-JP" sz="1200" dirty="0"/>
              <a:t>Health Products Act of 2007</a:t>
            </a:r>
            <a:r>
              <a:rPr lang="ja-JP" altLang="en-US" sz="1200" dirty="0"/>
              <a:t>）、</a:t>
            </a:r>
            <a:r>
              <a:rPr lang="en-US" altLang="ja-JP" sz="1200" dirty="0"/>
              <a:t>1939 </a:t>
            </a:r>
            <a:r>
              <a:rPr lang="ja-JP" altLang="en-US" sz="1200" dirty="0"/>
              <a:t>年毒物の取り扱いに関する法律（</a:t>
            </a:r>
            <a:r>
              <a:rPr lang="en-US" altLang="ja-JP" sz="1200" dirty="0"/>
              <a:t>Poisons Act</a:t>
            </a:r>
            <a:r>
              <a:rPr lang="ja-JP" altLang="en-US" sz="1200" dirty="0"/>
              <a:t>）、</a:t>
            </a:r>
            <a:r>
              <a:rPr lang="en-US" altLang="ja-JP" sz="1200" dirty="0"/>
              <a:t>1956 </a:t>
            </a:r>
            <a:r>
              <a:rPr lang="ja-JP" altLang="en-US" sz="1200" dirty="0"/>
              <a:t>年医 薬品の宣伝販売に関する法律（</a:t>
            </a:r>
            <a:r>
              <a:rPr lang="en-US" altLang="ja-JP" sz="1200" dirty="0"/>
              <a:t>Medicines </a:t>
            </a:r>
            <a:r>
              <a:rPr lang="ja-JP" altLang="en-US" sz="1200" dirty="0"/>
              <a:t>（</a:t>
            </a:r>
            <a:r>
              <a:rPr lang="en-US" altLang="ja-JP" sz="1200" dirty="0"/>
              <a:t>Advertisement and Sale</a:t>
            </a:r>
            <a:r>
              <a:rPr lang="ja-JP" altLang="en-US" sz="1200" dirty="0"/>
              <a:t>） </a:t>
            </a:r>
            <a:r>
              <a:rPr lang="en-US" altLang="ja-JP" sz="1200" dirty="0"/>
              <a:t>Act</a:t>
            </a:r>
            <a:r>
              <a:rPr lang="ja-JP" altLang="en-US" sz="1200" dirty="0"/>
              <a:t>）、</a:t>
            </a:r>
            <a:r>
              <a:rPr lang="en-US" altLang="ja-JP" sz="1200" dirty="0"/>
              <a:t>1919 </a:t>
            </a:r>
            <a:r>
              <a:rPr lang="ja-JP" altLang="en-US" sz="1200" dirty="0"/>
              <a:t>年薬 物の販売に関する法律（</a:t>
            </a:r>
            <a:r>
              <a:rPr lang="en-US" altLang="ja-JP" sz="1200" dirty="0"/>
              <a:t>Sale of Drugs Act</a:t>
            </a:r>
            <a:r>
              <a:rPr lang="ja-JP" altLang="en-US" sz="1200" dirty="0"/>
              <a:t>）等</a:t>
            </a:r>
            <a:endParaRPr lang="en-US" sz="1200" dirty="0"/>
          </a:p>
        </p:txBody>
      </p:sp>
      <p:sp>
        <p:nvSpPr>
          <p:cNvPr id="11" name="TextBox 10">
            <a:extLst>
              <a:ext uri="{FF2B5EF4-FFF2-40B4-BE49-F238E27FC236}">
                <a16:creationId xmlns:a16="http://schemas.microsoft.com/office/drawing/2014/main" id="{6F1DE076-3BB5-44C6-937C-10804CE40D82}"/>
              </a:ext>
            </a:extLst>
          </p:cNvPr>
          <p:cNvSpPr txBox="1"/>
          <p:nvPr/>
        </p:nvSpPr>
        <p:spPr>
          <a:xfrm>
            <a:off x="272480" y="1491634"/>
            <a:ext cx="142510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根拠となる法律</a:t>
            </a:r>
            <a:endParaRPr lang="en-US" sz="1400" b="1" dirty="0"/>
          </a:p>
        </p:txBody>
      </p:sp>
      <p:sp>
        <p:nvSpPr>
          <p:cNvPr id="12" name="TextBox 11">
            <a:extLst>
              <a:ext uri="{FF2B5EF4-FFF2-40B4-BE49-F238E27FC236}">
                <a16:creationId xmlns:a16="http://schemas.microsoft.com/office/drawing/2014/main" id="{56993E43-7E95-4CE8-AF86-271F3DDD2DD5}"/>
              </a:ext>
            </a:extLst>
          </p:cNvPr>
          <p:cNvSpPr txBox="1"/>
          <p:nvPr/>
        </p:nvSpPr>
        <p:spPr>
          <a:xfrm>
            <a:off x="1689833" y="2605260"/>
            <a:ext cx="8016142"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医薬品を輸入、生産、卸売するためには、企業はディーラーとしての免許を取得する必要がある。また、適正流通基準を順守するための責任者（</a:t>
            </a:r>
            <a:r>
              <a:rPr lang="en-US" altLang="ja-JP" sz="1200" dirty="0"/>
              <a:t>RP: Responsible Person</a:t>
            </a:r>
            <a:r>
              <a:rPr lang="ja-JP" altLang="en-US" sz="1200" dirty="0"/>
              <a:t>）を任命することが求められている。処方箋が必要な、もしくは薬局のみが販売できる医薬品を取り扱うためには、</a:t>
            </a:r>
            <a:r>
              <a:rPr lang="en-US" altLang="ja-JP" sz="1200" dirty="0"/>
              <a:t>RP</a:t>
            </a:r>
            <a:r>
              <a:rPr lang="ja-JP" altLang="en-US" sz="1200" dirty="0"/>
              <a:t>は薬剤師でなくてはならない。</a:t>
            </a:r>
            <a:endParaRPr lang="en-US" sz="1200" dirty="0"/>
          </a:p>
        </p:txBody>
      </p:sp>
      <p:sp>
        <p:nvSpPr>
          <p:cNvPr id="13" name="TextBox 12">
            <a:extLst>
              <a:ext uri="{FF2B5EF4-FFF2-40B4-BE49-F238E27FC236}">
                <a16:creationId xmlns:a16="http://schemas.microsoft.com/office/drawing/2014/main" id="{3813E498-8072-4E0A-8B8A-B3B19C63199C}"/>
              </a:ext>
            </a:extLst>
          </p:cNvPr>
          <p:cNvSpPr txBox="1"/>
          <p:nvPr/>
        </p:nvSpPr>
        <p:spPr>
          <a:xfrm>
            <a:off x="272480" y="2603546"/>
            <a:ext cx="172574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事業者免許</a:t>
            </a:r>
            <a:endParaRPr lang="en-US" sz="1400" b="1" dirty="0"/>
          </a:p>
        </p:txBody>
      </p:sp>
      <p:sp>
        <p:nvSpPr>
          <p:cNvPr id="14" name="TextBox 13">
            <a:extLst>
              <a:ext uri="{FF2B5EF4-FFF2-40B4-BE49-F238E27FC236}">
                <a16:creationId xmlns:a16="http://schemas.microsoft.com/office/drawing/2014/main" id="{08A71E46-16A0-4609-B6DD-79A8AEC16C75}"/>
              </a:ext>
            </a:extLst>
          </p:cNvPr>
          <p:cNvSpPr txBox="1"/>
          <p:nvPr/>
        </p:nvSpPr>
        <p:spPr>
          <a:xfrm>
            <a:off x="1689833" y="2159399"/>
            <a:ext cx="8016142"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保健省、</a:t>
            </a:r>
            <a:r>
              <a:rPr lang="en-US" altLang="ja-JP" sz="1200" dirty="0"/>
              <a:t>HSA</a:t>
            </a:r>
            <a:endParaRPr lang="en-US" sz="1200" dirty="0"/>
          </a:p>
        </p:txBody>
      </p:sp>
      <p:sp>
        <p:nvSpPr>
          <p:cNvPr id="15" name="TextBox 14">
            <a:extLst>
              <a:ext uri="{FF2B5EF4-FFF2-40B4-BE49-F238E27FC236}">
                <a16:creationId xmlns:a16="http://schemas.microsoft.com/office/drawing/2014/main" id="{6F33CAD4-84C4-4668-8C9A-5087599A18AD}"/>
              </a:ext>
            </a:extLst>
          </p:cNvPr>
          <p:cNvSpPr txBox="1"/>
          <p:nvPr/>
        </p:nvSpPr>
        <p:spPr>
          <a:xfrm>
            <a:off x="272480" y="2159399"/>
            <a:ext cx="142510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規制機関</a:t>
            </a:r>
            <a:endParaRPr lang="en-US" sz="1400" b="1" dirty="0"/>
          </a:p>
        </p:txBody>
      </p:sp>
      <p:sp>
        <p:nvSpPr>
          <p:cNvPr id="16" name="TextBox 15">
            <a:extLst>
              <a:ext uri="{FF2B5EF4-FFF2-40B4-BE49-F238E27FC236}">
                <a16:creationId xmlns:a16="http://schemas.microsoft.com/office/drawing/2014/main" id="{D0784085-C61C-4139-940A-8F86058F8338}"/>
              </a:ext>
            </a:extLst>
          </p:cNvPr>
          <p:cNvSpPr txBox="1"/>
          <p:nvPr/>
        </p:nvSpPr>
        <p:spPr>
          <a:xfrm>
            <a:off x="1689833" y="3338961"/>
            <a:ext cx="8016142"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新薬・ジェネリック医薬品ともに、配合・用量・適用に応じて製品の登録が必要となる。</a:t>
            </a:r>
          </a:p>
        </p:txBody>
      </p:sp>
      <p:sp>
        <p:nvSpPr>
          <p:cNvPr id="17" name="TextBox 16">
            <a:extLst>
              <a:ext uri="{FF2B5EF4-FFF2-40B4-BE49-F238E27FC236}">
                <a16:creationId xmlns:a16="http://schemas.microsoft.com/office/drawing/2014/main" id="{9ED343AA-0F41-410D-9D2F-E085D9E95FC4}"/>
              </a:ext>
            </a:extLst>
          </p:cNvPr>
          <p:cNvSpPr txBox="1"/>
          <p:nvPr/>
        </p:nvSpPr>
        <p:spPr>
          <a:xfrm>
            <a:off x="272480" y="3337247"/>
            <a:ext cx="192684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医薬品の登録</a:t>
            </a:r>
            <a:endParaRPr lang="en-US" sz="1400" b="1" dirty="0"/>
          </a:p>
        </p:txBody>
      </p:sp>
      <p:sp>
        <p:nvSpPr>
          <p:cNvPr id="29" name="TextBox 28">
            <a:extLst>
              <a:ext uri="{FF2B5EF4-FFF2-40B4-BE49-F238E27FC236}">
                <a16:creationId xmlns:a16="http://schemas.microsoft.com/office/drawing/2014/main" id="{190D6C94-0F8F-4EAB-8D44-99F0F066EDA6}"/>
              </a:ext>
            </a:extLst>
          </p:cNvPr>
          <p:cNvSpPr txBox="1"/>
          <p:nvPr/>
        </p:nvSpPr>
        <p:spPr>
          <a:xfrm>
            <a:off x="272480" y="3751984"/>
            <a:ext cx="192684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医薬品規制の全体像</a:t>
            </a:r>
            <a:endParaRPr lang="en-US" sz="1400" b="1" dirty="0"/>
          </a:p>
        </p:txBody>
      </p:sp>
      <p:sp>
        <p:nvSpPr>
          <p:cNvPr id="20" name="Rectangle: Rounded Corners 19">
            <a:extLst>
              <a:ext uri="{FF2B5EF4-FFF2-40B4-BE49-F238E27FC236}">
                <a16:creationId xmlns:a16="http://schemas.microsoft.com/office/drawing/2014/main" id="{1C0D28C2-5F88-4DCB-9F6A-3E1B23E91B18}"/>
              </a:ext>
            </a:extLst>
          </p:cNvPr>
          <p:cNvSpPr/>
          <p:nvPr/>
        </p:nvSpPr>
        <p:spPr>
          <a:xfrm>
            <a:off x="3319482" y="3933056"/>
            <a:ext cx="1623575" cy="4165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臨床試験</a:t>
            </a:r>
            <a:endParaRPr kumimoji="1" lang="en-US" sz="1100" dirty="0"/>
          </a:p>
        </p:txBody>
      </p:sp>
      <p:sp>
        <p:nvSpPr>
          <p:cNvPr id="23" name="Rectangle: Rounded Corners 22">
            <a:extLst>
              <a:ext uri="{FF2B5EF4-FFF2-40B4-BE49-F238E27FC236}">
                <a16:creationId xmlns:a16="http://schemas.microsoft.com/office/drawing/2014/main" id="{27BEE10F-3625-4D98-B224-B4528D1BB5D9}"/>
              </a:ext>
            </a:extLst>
          </p:cNvPr>
          <p:cNvSpPr/>
          <p:nvPr/>
        </p:nvSpPr>
        <p:spPr>
          <a:xfrm>
            <a:off x="3319482" y="4601263"/>
            <a:ext cx="1623575" cy="4165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医薬品の登録</a:t>
            </a:r>
            <a:endParaRPr kumimoji="1" lang="en-US" sz="1100" dirty="0"/>
          </a:p>
        </p:txBody>
      </p:sp>
      <p:sp>
        <p:nvSpPr>
          <p:cNvPr id="24" name="Rectangle: Rounded Corners 23">
            <a:extLst>
              <a:ext uri="{FF2B5EF4-FFF2-40B4-BE49-F238E27FC236}">
                <a16:creationId xmlns:a16="http://schemas.microsoft.com/office/drawing/2014/main" id="{D2A35AE7-C7D3-4A67-8E3B-A7827E3C7EAE}"/>
              </a:ext>
            </a:extLst>
          </p:cNvPr>
          <p:cNvSpPr/>
          <p:nvPr/>
        </p:nvSpPr>
        <p:spPr>
          <a:xfrm>
            <a:off x="6753200" y="4513782"/>
            <a:ext cx="121981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ディーラー免許</a:t>
            </a:r>
            <a:endParaRPr kumimoji="1" lang="en-US" sz="1100" dirty="0"/>
          </a:p>
        </p:txBody>
      </p:sp>
      <p:sp>
        <p:nvSpPr>
          <p:cNvPr id="25" name="Rectangle: Rounded Corners 24">
            <a:extLst>
              <a:ext uri="{FF2B5EF4-FFF2-40B4-BE49-F238E27FC236}">
                <a16:creationId xmlns:a16="http://schemas.microsoft.com/office/drawing/2014/main" id="{06D2E063-6F29-439D-8E65-2E30F128A535}"/>
              </a:ext>
            </a:extLst>
          </p:cNvPr>
          <p:cNvSpPr/>
          <p:nvPr/>
        </p:nvSpPr>
        <p:spPr>
          <a:xfrm>
            <a:off x="2455106"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適応・安全性情報などの変更手続き</a:t>
            </a:r>
            <a:endParaRPr kumimoji="1" lang="en-US" sz="1100" dirty="0"/>
          </a:p>
        </p:txBody>
      </p:sp>
      <p:sp>
        <p:nvSpPr>
          <p:cNvPr id="26" name="Rectangle: Rounded Corners 25">
            <a:extLst>
              <a:ext uri="{FF2B5EF4-FFF2-40B4-BE49-F238E27FC236}">
                <a16:creationId xmlns:a16="http://schemas.microsoft.com/office/drawing/2014/main" id="{7BA823B8-1B11-439F-ACE1-FF83CFBE13FB}"/>
              </a:ext>
            </a:extLst>
          </p:cNvPr>
          <p:cNvSpPr/>
          <p:nvPr/>
        </p:nvSpPr>
        <p:spPr>
          <a:xfrm>
            <a:off x="4131269"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広告規制</a:t>
            </a:r>
            <a:br>
              <a:rPr kumimoji="1" lang="en-US" altLang="ja-JP" sz="1100" dirty="0"/>
            </a:br>
            <a:r>
              <a:rPr kumimoji="1" lang="ja-JP" altLang="en-US" sz="1100" dirty="0"/>
              <a:t>（事前承認は不要）</a:t>
            </a:r>
            <a:endParaRPr kumimoji="1" lang="en-US" sz="1100" dirty="0"/>
          </a:p>
        </p:txBody>
      </p:sp>
      <p:sp>
        <p:nvSpPr>
          <p:cNvPr id="27" name="Rectangle: Rounded Corners 26">
            <a:extLst>
              <a:ext uri="{FF2B5EF4-FFF2-40B4-BE49-F238E27FC236}">
                <a16:creationId xmlns:a16="http://schemas.microsoft.com/office/drawing/2014/main" id="{544F9F76-C63B-4759-AD6F-5A142A8AE47E}"/>
              </a:ext>
            </a:extLst>
          </p:cNvPr>
          <p:cNvSpPr/>
          <p:nvPr/>
        </p:nvSpPr>
        <p:spPr>
          <a:xfrm>
            <a:off x="5807432"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有害事象の報告</a:t>
            </a:r>
            <a:endParaRPr kumimoji="1" lang="en-US" sz="1100" dirty="0"/>
          </a:p>
        </p:txBody>
      </p:sp>
      <p:sp>
        <p:nvSpPr>
          <p:cNvPr id="28" name="Rectangle: Rounded Corners 27">
            <a:extLst>
              <a:ext uri="{FF2B5EF4-FFF2-40B4-BE49-F238E27FC236}">
                <a16:creationId xmlns:a16="http://schemas.microsoft.com/office/drawing/2014/main" id="{956757A2-1359-4977-A822-84D16B12D155}"/>
              </a:ext>
            </a:extLst>
          </p:cNvPr>
          <p:cNvSpPr/>
          <p:nvPr/>
        </p:nvSpPr>
        <p:spPr>
          <a:xfrm>
            <a:off x="7483596"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製品欠陥の報告</a:t>
            </a:r>
            <a:endParaRPr kumimoji="1" lang="en-US" sz="1100" dirty="0"/>
          </a:p>
        </p:txBody>
      </p:sp>
      <p:cxnSp>
        <p:nvCxnSpPr>
          <p:cNvPr id="30" name="Straight Arrow Connector 29">
            <a:extLst>
              <a:ext uri="{FF2B5EF4-FFF2-40B4-BE49-F238E27FC236}">
                <a16:creationId xmlns:a16="http://schemas.microsoft.com/office/drawing/2014/main" id="{1665BD04-E2D1-4158-BC1A-CCB200990FF1}"/>
              </a:ext>
            </a:extLst>
          </p:cNvPr>
          <p:cNvCxnSpPr>
            <a:stCxn id="20" idx="2"/>
            <a:endCxn id="23" idx="0"/>
          </p:cNvCxnSpPr>
          <p:nvPr/>
        </p:nvCxnSpPr>
        <p:spPr>
          <a:xfrm>
            <a:off x="4131270" y="4349631"/>
            <a:ext cx="0" cy="25163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C6DFF8B9-3B89-4CC7-B828-D139AB523A6C}"/>
              </a:ext>
            </a:extLst>
          </p:cNvPr>
          <p:cNvCxnSpPr>
            <a:cxnSpLocks/>
            <a:stCxn id="23" idx="2"/>
            <a:endCxn id="28" idx="0"/>
          </p:cNvCxnSpPr>
          <p:nvPr/>
        </p:nvCxnSpPr>
        <p:spPr>
          <a:xfrm rot="16200000" flipH="1">
            <a:off x="5823921" y="3325186"/>
            <a:ext cx="705012" cy="4090315"/>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52488BDD-5FEE-4382-A653-07105306DEB9}"/>
              </a:ext>
            </a:extLst>
          </p:cNvPr>
          <p:cNvSpPr/>
          <p:nvPr/>
        </p:nvSpPr>
        <p:spPr>
          <a:xfrm>
            <a:off x="2013868" y="5536641"/>
            <a:ext cx="7187603" cy="812749"/>
          </a:xfrm>
          <a:prstGeom prst="rect">
            <a:avLst/>
          </a:prstGeom>
          <a:noFill/>
          <a:ln w="12700">
            <a:solidFill>
              <a:schemeClr val="tx1"/>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51" name="TextBox 50">
            <a:extLst>
              <a:ext uri="{FF2B5EF4-FFF2-40B4-BE49-F238E27FC236}">
                <a16:creationId xmlns:a16="http://schemas.microsoft.com/office/drawing/2014/main" id="{C6B27C96-8D56-4526-83F2-4EBCBC04DF08}"/>
              </a:ext>
            </a:extLst>
          </p:cNvPr>
          <p:cNvSpPr txBox="1"/>
          <p:nvPr/>
        </p:nvSpPr>
        <p:spPr>
          <a:xfrm>
            <a:off x="1589388" y="5261940"/>
            <a:ext cx="1656185"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100" b="1" dirty="0"/>
              <a:t>医薬品の輸入及び製造</a:t>
            </a:r>
            <a:endParaRPr lang="en-US" sz="1100" b="1" dirty="0"/>
          </a:p>
        </p:txBody>
      </p:sp>
      <p:sp>
        <p:nvSpPr>
          <p:cNvPr id="7" name="テキスト ボックス 6">
            <a:extLst>
              <a:ext uri="{FF2B5EF4-FFF2-40B4-BE49-F238E27FC236}">
                <a16:creationId xmlns:a16="http://schemas.microsoft.com/office/drawing/2014/main" id="{623D67F7-4E49-22D1-13B9-AD7662600D07}"/>
              </a:ext>
            </a:extLst>
          </p:cNvPr>
          <p:cNvSpPr txBox="1"/>
          <p:nvPr/>
        </p:nvSpPr>
        <p:spPr>
          <a:xfrm>
            <a:off x="200470" y="10615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cs typeface="Arial" panose="020B0604020202020204" pitchFamily="34" charset="0"/>
              </a:rPr>
              <a:t>HSA</a:t>
            </a:r>
            <a:r>
              <a:rPr lang="ja-JP" altLang="en-US" sz="1400" dirty="0">
                <a:cs typeface="Arial" panose="020B0604020202020204" pitchFamily="34" charset="0"/>
              </a:rPr>
              <a:t>は、医療製品法および</a:t>
            </a:r>
            <a:r>
              <a:rPr lang="en-US" altLang="ja-JP" sz="1400" dirty="0">
                <a:cs typeface="Arial" panose="020B0604020202020204" pitchFamily="34" charset="0"/>
              </a:rPr>
              <a:t>2016</a:t>
            </a:r>
            <a:r>
              <a:rPr lang="ja-JP" altLang="en-US" sz="1400" dirty="0">
                <a:cs typeface="Arial" panose="020B0604020202020204" pitchFamily="34" charset="0"/>
              </a:rPr>
              <a:t>年の医療製品（治療製品）規則を含む規則に基づいて医療製品を規制している。</a:t>
            </a:r>
            <a:endParaRPr lang="ja-JP" altLang="en-US" sz="1400" dirty="0">
              <a:latin typeface="+mn-ea"/>
              <a:cs typeface="Arial" panose="020B0604020202020204" pitchFamily="34" charset="0"/>
            </a:endParaRPr>
          </a:p>
        </p:txBody>
      </p:sp>
      <p:cxnSp>
        <p:nvCxnSpPr>
          <p:cNvPr id="32" name="Connector: Elbow 31">
            <a:extLst>
              <a:ext uri="{FF2B5EF4-FFF2-40B4-BE49-F238E27FC236}">
                <a16:creationId xmlns:a16="http://schemas.microsoft.com/office/drawing/2014/main" id="{81BC310B-464D-E066-CC04-70AA3AFE460E}"/>
              </a:ext>
            </a:extLst>
          </p:cNvPr>
          <p:cNvCxnSpPr>
            <a:cxnSpLocks/>
            <a:stCxn id="24" idx="2"/>
            <a:endCxn id="28" idx="0"/>
          </p:cNvCxnSpPr>
          <p:nvPr/>
        </p:nvCxnSpPr>
        <p:spPr>
          <a:xfrm rot="16200000" flipH="1">
            <a:off x="7439840" y="4941105"/>
            <a:ext cx="705012" cy="858477"/>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2D9D3B3-45B1-E6BF-1D82-9C07DB4947DB}"/>
              </a:ext>
            </a:extLst>
          </p:cNvPr>
          <p:cNvCxnSpPr>
            <a:cxnSpLocks/>
            <a:stCxn id="24" idx="2"/>
            <a:endCxn id="27" idx="0"/>
          </p:cNvCxnSpPr>
          <p:nvPr/>
        </p:nvCxnSpPr>
        <p:spPr>
          <a:xfrm rot="5400000">
            <a:off x="6601759" y="4961501"/>
            <a:ext cx="705012" cy="817687"/>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9BE96FB3-5CD3-F6D9-A0EA-32E94DC3ED4A}"/>
              </a:ext>
            </a:extLst>
          </p:cNvPr>
          <p:cNvCxnSpPr>
            <a:cxnSpLocks/>
            <a:stCxn id="23" idx="2"/>
            <a:endCxn id="27" idx="0"/>
          </p:cNvCxnSpPr>
          <p:nvPr/>
        </p:nvCxnSpPr>
        <p:spPr>
          <a:xfrm rot="16200000" flipH="1">
            <a:off x="4985839" y="4163268"/>
            <a:ext cx="705012" cy="2414151"/>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D488A06-2E6D-4C8E-6179-37B91BC07DE9}"/>
              </a:ext>
            </a:extLst>
          </p:cNvPr>
          <p:cNvCxnSpPr>
            <a:cxnSpLocks/>
            <a:stCxn id="23" idx="2"/>
            <a:endCxn id="26" idx="0"/>
          </p:cNvCxnSpPr>
          <p:nvPr/>
        </p:nvCxnSpPr>
        <p:spPr>
          <a:xfrm rot="16200000" flipH="1">
            <a:off x="4147758" y="5001350"/>
            <a:ext cx="705012" cy="737988"/>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12A61E1F-0FA7-2C62-88FB-8018EBC2E6CB}"/>
              </a:ext>
            </a:extLst>
          </p:cNvPr>
          <p:cNvCxnSpPr>
            <a:cxnSpLocks/>
            <a:stCxn id="23" idx="2"/>
            <a:endCxn id="25" idx="0"/>
          </p:cNvCxnSpPr>
          <p:nvPr/>
        </p:nvCxnSpPr>
        <p:spPr>
          <a:xfrm rot="5400000">
            <a:off x="3309677" y="4901257"/>
            <a:ext cx="705012" cy="938175"/>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9645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63632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latin typeface="HGP創英角ｺﾞｼｯｸUB" panose="020B0900000000000000" pitchFamily="50" charset="-128"/>
              </a:rPr>
              <a:t>臨床試験に関する規制</a:t>
            </a:r>
          </a:p>
        </p:txBody>
      </p:sp>
      <p:sp>
        <p:nvSpPr>
          <p:cNvPr id="39" name="テキスト ボックス 3">
            <a:extLst>
              <a:ext uri="{FF2B5EF4-FFF2-40B4-BE49-F238E27FC236}">
                <a16:creationId xmlns:a16="http://schemas.microsoft.com/office/drawing/2014/main" id="{90761275-CB52-4120-9287-BDF9B4ABDDEC}"/>
              </a:ext>
            </a:extLst>
          </p:cNvPr>
          <p:cNvSpPr txBox="1"/>
          <p:nvPr/>
        </p:nvSpPr>
        <p:spPr>
          <a:xfrm>
            <a:off x="200472" y="105273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治療薬、クラス2の細胞・組織・遺伝子治療製品</a:t>
            </a:r>
            <a:r>
              <a:rPr lang="ja-JP" altLang="en-US" sz="1400" dirty="0"/>
              <a:t>（</a:t>
            </a:r>
            <a:r>
              <a:rPr lang="en-US" altLang="ja-JP" sz="1400" dirty="0"/>
              <a:t>CTGTP</a:t>
            </a:r>
            <a:r>
              <a:rPr lang="ja-JP" altLang="en-US" sz="1400" dirty="0"/>
              <a:t>）</a:t>
            </a:r>
            <a:r>
              <a:rPr lang="en-US" altLang="ja-JP" sz="1400" dirty="0"/>
              <a:t>、</a:t>
            </a:r>
            <a:r>
              <a:rPr lang="ja-JP" altLang="en-US" sz="1400" dirty="0"/>
              <a:t>伝統的</a:t>
            </a:r>
            <a:r>
              <a:rPr lang="en-US" altLang="ja-JP" sz="1400" dirty="0" err="1"/>
              <a:t>医薬品</a:t>
            </a:r>
            <a:r>
              <a:rPr lang="ja-JP" altLang="en-US" sz="1400" dirty="0"/>
              <a:t>（</a:t>
            </a:r>
            <a:r>
              <a:rPr lang="en-US" altLang="ja-JP" sz="1400" dirty="0" err="1"/>
              <a:t>中国独自の医薬品、病気の治療や予防を目的とした健康補助食品など</a:t>
            </a:r>
            <a:r>
              <a:rPr lang="ja-JP" altLang="en-US" sz="1400" dirty="0"/>
              <a:t>）</a:t>
            </a:r>
            <a:r>
              <a:rPr lang="en-US" altLang="ja-JP" sz="1400" dirty="0" err="1"/>
              <a:t>の臨床試験は、観察臨床試験を除き、すべてにHSAよって規制されてい</a:t>
            </a:r>
            <a:r>
              <a:rPr lang="ja-JP" altLang="en-US" sz="1400" dirty="0"/>
              <a:t>る</a:t>
            </a:r>
            <a:r>
              <a:rPr lang="en-US" altLang="ja-JP" sz="1400" dirty="0"/>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クラス</a:t>
            </a:r>
            <a:r>
              <a:rPr lang="en-US" altLang="ja-JP" sz="1400" dirty="0"/>
              <a:t>1</a:t>
            </a:r>
            <a:r>
              <a:rPr lang="ja-JP" altLang="en-US" sz="1400" dirty="0"/>
              <a:t>の</a:t>
            </a:r>
            <a:r>
              <a:rPr lang="en-US" altLang="ja-JP" sz="1400" dirty="0"/>
              <a:t>CTGTP</a:t>
            </a:r>
            <a:r>
              <a:rPr lang="ja-JP" altLang="en-US" sz="1400" dirty="0"/>
              <a:t>や医療機器に関する臨床試験は、</a:t>
            </a:r>
            <a:r>
              <a:rPr lang="en-US" altLang="ja-JP" sz="1400" dirty="0"/>
              <a:t>HSA</a:t>
            </a:r>
            <a:r>
              <a:rPr lang="ja-JP" altLang="en-US" sz="1400" dirty="0"/>
              <a:t>による規制はされていないが、ヒト生物医学研究法（</a:t>
            </a:r>
            <a:r>
              <a:rPr lang="en-US" altLang="ja-JP" sz="1400" dirty="0"/>
              <a:t>Human Biomedical Research Act</a:t>
            </a:r>
            <a:r>
              <a:rPr lang="ja-JP" altLang="en-US" sz="1400" dirty="0"/>
              <a:t>）を遵守する必要が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3F78E9A8-DD7A-454D-9FF1-C33DFC200BA8}"/>
              </a:ext>
            </a:extLst>
          </p:cNvPr>
          <p:cNvGrpSpPr/>
          <p:nvPr/>
        </p:nvGrpSpPr>
        <p:grpSpPr>
          <a:xfrm>
            <a:off x="1208584" y="2132856"/>
            <a:ext cx="7488832" cy="288032"/>
            <a:chOff x="4803500" y="2113806"/>
            <a:chExt cx="2954133" cy="288032"/>
          </a:xfrm>
        </p:grpSpPr>
        <p:cxnSp>
          <p:nvCxnSpPr>
            <p:cNvPr id="10" name="直線コネクタ 16">
              <a:extLst>
                <a:ext uri="{FF2B5EF4-FFF2-40B4-BE49-F238E27FC236}">
                  <a16:creationId xmlns:a16="http://schemas.microsoft.com/office/drawing/2014/main" id="{8F5D0961-5DA0-4C64-88CB-FB5E7165398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81CFF87A-40E2-46B3-94FB-1336133DD43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に関する主な規制分類</a:t>
              </a:r>
            </a:p>
          </p:txBody>
        </p:sp>
      </p:grpSp>
      <p:graphicFrame>
        <p:nvGraphicFramePr>
          <p:cNvPr id="12" name="表 34">
            <a:extLst>
              <a:ext uri="{FF2B5EF4-FFF2-40B4-BE49-F238E27FC236}">
                <a16:creationId xmlns:a16="http://schemas.microsoft.com/office/drawing/2014/main" id="{B2D1F001-5BB5-49BB-986A-65101DB1C5ED}"/>
              </a:ext>
            </a:extLst>
          </p:cNvPr>
          <p:cNvGraphicFramePr>
            <a:graphicFrameLocks noGrp="1"/>
          </p:cNvGraphicFramePr>
          <p:nvPr>
            <p:extLst>
              <p:ext uri="{D42A27DB-BD31-4B8C-83A1-F6EECF244321}">
                <p14:modId xmlns:p14="http://schemas.microsoft.com/office/powerpoint/2010/main" val="3706386759"/>
              </p:ext>
            </p:extLst>
          </p:nvPr>
        </p:nvGraphicFramePr>
        <p:xfrm>
          <a:off x="1208583" y="2492896"/>
          <a:ext cx="7488833" cy="1605762"/>
        </p:xfrm>
        <a:graphic>
          <a:graphicData uri="http://schemas.openxmlformats.org/drawingml/2006/table">
            <a:tbl>
              <a:tblPr firstRow="1" bandRow="1">
                <a:tableStyleId>{2D5ABB26-0587-4C30-8999-92F81FD0307C}</a:tableStyleId>
              </a:tblPr>
              <a:tblGrid>
                <a:gridCol w="1800201">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2520280">
                  <a:extLst>
                    <a:ext uri="{9D8B030D-6E8A-4147-A177-3AD203B41FA5}">
                      <a16:colId xmlns:a16="http://schemas.microsoft.com/office/drawing/2014/main" val="20003"/>
                    </a:ext>
                  </a:extLst>
                </a:gridCol>
              </a:tblGrid>
              <a:tr h="347192">
                <a:tc>
                  <a:txBody>
                    <a:bodyPr/>
                    <a:lstStyle/>
                    <a:p>
                      <a:pPr algn="ctr" fontAlgn="ctr" hangingPunct="0"/>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提出内容</a:t>
                      </a:r>
                    </a:p>
                  </a:txBody>
                  <a:tcPr marL="72000" marR="0" marT="0" marB="0" anchor="ctr">
                    <a:lnL w="12700" cap="flat" cmpd="sng" algn="ctr">
                      <a:solidFill>
                        <a:schemeClr val="tx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7192">
                <a:tc>
                  <a:txBody>
                    <a:bodyPr/>
                    <a:lstStyle/>
                    <a:p>
                      <a:pPr algn="ctr" fontAlgn="ctr" hangingPunct="0"/>
                      <a:r>
                        <a:rPr kumimoji="1" lang="ja-JP" altLang="en-US" sz="1100" b="0" dirty="0">
                          <a:solidFill>
                            <a:schemeClr val="bg1"/>
                          </a:solidFill>
                          <a:latin typeface="+mn-ea"/>
                          <a:ea typeface="+mn-ea"/>
                          <a:cs typeface="Arial" panose="020B0604020202020204" pitchFamily="34" charset="0"/>
                        </a:rPr>
                        <a:t>治療薬</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rowSpan="2">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法、健康製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rowSpan="2">
                  <a:txBody>
                    <a:bodyPr/>
                    <a:lstStyle/>
                    <a:p>
                      <a:pPr marL="0" indent="0" algn="ctr" fontAlgn="ctr" hangingPunct="0">
                        <a:buFont typeface="Arial" panose="020B0604020202020204" pitchFamily="34" charset="0"/>
                        <a:buNone/>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認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又は</a:t>
                      </a:r>
                      <a:b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通知（</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N</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64186">
                <a:tc>
                  <a:txBody>
                    <a:bodyPr/>
                    <a:lstStyle/>
                    <a:p>
                      <a:pPr algn="ctr" fontAlgn="ctr" hangingPunct="0"/>
                      <a:r>
                        <a:rPr kumimoji="1" lang="ja-JP" altLang="en-US" sz="1100" b="0" kern="1200" dirty="0">
                          <a:solidFill>
                            <a:schemeClr val="bg1"/>
                          </a:solidFill>
                          <a:latin typeface="+mj-lt"/>
                          <a:ea typeface="+mn-ea"/>
                          <a:cs typeface="Arial" panose="020B0604020202020204" pitchFamily="34" charset="0"/>
                        </a:rPr>
                        <a:t>クラス</a:t>
                      </a:r>
                      <a:r>
                        <a:rPr kumimoji="1" lang="en-US" altLang="ja-JP" sz="1100" b="0" kern="1200" dirty="0">
                          <a:solidFill>
                            <a:schemeClr val="bg1"/>
                          </a:solidFill>
                          <a:latin typeface="+mj-lt"/>
                          <a:ea typeface="+mn-ea"/>
                          <a:cs typeface="Arial" panose="020B0604020202020204" pitchFamily="34" charset="0"/>
                        </a:rPr>
                        <a:t>2</a:t>
                      </a:r>
                      <a:r>
                        <a:rPr kumimoji="1" lang="ja-JP" altLang="en-US" sz="1100" b="0" kern="1200" dirty="0">
                          <a:solidFill>
                            <a:schemeClr val="bg1"/>
                          </a:solidFill>
                          <a:latin typeface="+mj-lt"/>
                          <a:ea typeface="+mn-ea"/>
                          <a:cs typeface="Arial" panose="020B0604020202020204" pitchFamily="34" charset="0"/>
                        </a:rPr>
                        <a:t>の</a:t>
                      </a:r>
                      <a:r>
                        <a:rPr kumimoji="1" lang="en-US" altLang="ja-JP" sz="1100" b="0" kern="1200" dirty="0">
                          <a:solidFill>
                            <a:schemeClr val="bg1"/>
                          </a:solidFill>
                          <a:latin typeface="+mj-lt"/>
                          <a:ea typeface="+mn-ea"/>
                          <a:cs typeface="Arial" panose="020B0604020202020204" pitchFamily="34" charset="0"/>
                        </a:rPr>
                        <a:t>CTGTP</a:t>
                      </a:r>
                      <a:endParaRPr kumimoji="1" lang="ja-JP" altLang="en-US" sz="1100" b="0" kern="1200" dirty="0">
                        <a:solidFill>
                          <a:schemeClr val="bg1"/>
                        </a:solidFill>
                        <a:latin typeface="+mj-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vMerge="1">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7192">
                <a:tc>
                  <a:txBody>
                    <a:bodyPr/>
                    <a:lstStyle/>
                    <a:p>
                      <a:pPr algn="ctr" fontAlgn="ctr" hangingPunct="0"/>
                      <a:r>
                        <a:rPr kumimoji="1" lang="ja-JP" altLang="en-US" sz="1100" b="0" dirty="0">
                          <a:solidFill>
                            <a:schemeClr val="bg1"/>
                          </a:solidFill>
                          <a:latin typeface="+mn-ea"/>
                          <a:ea typeface="+mn-ea"/>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薬品法、薬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証明</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5" name="テキスト ボックス 3">
            <a:extLst>
              <a:ext uri="{FF2B5EF4-FFF2-40B4-BE49-F238E27FC236}">
                <a16:creationId xmlns:a16="http://schemas.microsoft.com/office/drawing/2014/main" id="{D1994498-2DF0-42A7-9331-FA1C6C1CB090}"/>
              </a:ext>
            </a:extLst>
          </p:cNvPr>
          <p:cNvSpPr txBox="1"/>
          <p:nvPr/>
        </p:nvSpPr>
        <p:spPr>
          <a:xfrm>
            <a:off x="200472" y="422108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A</a:t>
            </a:r>
            <a:r>
              <a:rPr lang="ja-JP" altLang="en-US" sz="1400" dirty="0"/>
              <a:t>によって臨床試験が規制されているか否かに関わらず、シンガポールで臨床研究材料（</a:t>
            </a:r>
            <a:r>
              <a:rPr lang="en-US" altLang="ja-JP" sz="1400" dirty="0"/>
              <a:t>CRM</a:t>
            </a:r>
            <a:r>
              <a:rPr lang="ja-JP" altLang="en-US" sz="1400" dirty="0"/>
              <a:t>）として使用される治療薬、</a:t>
            </a:r>
            <a:r>
              <a:rPr lang="en-US" altLang="ja-JP" sz="1400" dirty="0"/>
              <a:t>CTGTP</a:t>
            </a:r>
            <a:r>
              <a:rPr lang="ja-JP" altLang="en-US" sz="1400" dirty="0"/>
              <a:t>、医薬品または医療機器の製造、輸入および供給は、臨床研究材料に関する規制管理を遵守する必要がある。</a:t>
            </a:r>
            <a:endParaRPr lang="en-US" altLang="ja-JP" sz="1400" dirty="0"/>
          </a:p>
        </p:txBody>
      </p:sp>
      <p:grpSp>
        <p:nvGrpSpPr>
          <p:cNvPr id="16" name="グループ化 7">
            <a:extLst>
              <a:ext uri="{FF2B5EF4-FFF2-40B4-BE49-F238E27FC236}">
                <a16:creationId xmlns:a16="http://schemas.microsoft.com/office/drawing/2014/main" id="{85841E91-BA2D-4C33-A756-1BD7EEDCAEC5}"/>
              </a:ext>
            </a:extLst>
          </p:cNvPr>
          <p:cNvGrpSpPr/>
          <p:nvPr/>
        </p:nvGrpSpPr>
        <p:grpSpPr>
          <a:xfrm>
            <a:off x="1208584" y="4737993"/>
            <a:ext cx="7488832" cy="288032"/>
            <a:chOff x="4803500" y="2113806"/>
            <a:chExt cx="2954133" cy="288032"/>
          </a:xfrm>
        </p:grpSpPr>
        <p:cxnSp>
          <p:nvCxnSpPr>
            <p:cNvPr id="17" name="直線コネクタ 16">
              <a:extLst>
                <a:ext uri="{FF2B5EF4-FFF2-40B4-BE49-F238E27FC236}">
                  <a16:creationId xmlns:a16="http://schemas.microsoft.com/office/drawing/2014/main" id="{BDCDE0C5-A5DE-41E8-BBF4-C85FB79C11B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048953D-4F3A-40B0-A51D-02898BAEEE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研究材料の製造、輸入等に関する主な規制分類</a:t>
              </a:r>
            </a:p>
          </p:txBody>
        </p:sp>
      </p:grpSp>
      <p:graphicFrame>
        <p:nvGraphicFramePr>
          <p:cNvPr id="19" name="表 34">
            <a:extLst>
              <a:ext uri="{FF2B5EF4-FFF2-40B4-BE49-F238E27FC236}">
                <a16:creationId xmlns:a16="http://schemas.microsoft.com/office/drawing/2014/main" id="{E44AD1C6-7C22-4F16-9F89-D66FCEE7CF7C}"/>
              </a:ext>
            </a:extLst>
          </p:cNvPr>
          <p:cNvGraphicFramePr>
            <a:graphicFrameLocks noGrp="1"/>
          </p:cNvGraphicFramePr>
          <p:nvPr>
            <p:extLst>
              <p:ext uri="{D42A27DB-BD31-4B8C-83A1-F6EECF244321}">
                <p14:modId xmlns:p14="http://schemas.microsoft.com/office/powerpoint/2010/main" val="3371005574"/>
              </p:ext>
            </p:extLst>
          </p:nvPr>
        </p:nvGraphicFramePr>
        <p:xfrm>
          <a:off x="1208583" y="5098033"/>
          <a:ext cx="7488830" cy="1571327"/>
        </p:xfrm>
        <a:graphic>
          <a:graphicData uri="http://schemas.openxmlformats.org/drawingml/2006/table">
            <a:tbl>
              <a:tblPr firstRow="1" bandRow="1">
                <a:tableStyleId>{2D5ABB26-0587-4C30-8999-92F81FD0307C}</a:tableStyleId>
              </a:tblPr>
              <a:tblGrid>
                <a:gridCol w="3744417">
                  <a:extLst>
                    <a:ext uri="{9D8B030D-6E8A-4147-A177-3AD203B41FA5}">
                      <a16:colId xmlns:a16="http://schemas.microsoft.com/office/drawing/2014/main" val="20000"/>
                    </a:ext>
                  </a:extLst>
                </a:gridCol>
                <a:gridCol w="3744413">
                  <a:extLst>
                    <a:ext uri="{9D8B030D-6E8A-4147-A177-3AD203B41FA5}">
                      <a16:colId xmlns:a16="http://schemas.microsoft.com/office/drawing/2014/main" val="20001"/>
                    </a:ext>
                  </a:extLst>
                </a:gridCol>
              </a:tblGrid>
              <a:tr h="347192">
                <a:tc>
                  <a:txBody>
                    <a:bodyPr/>
                    <a:lstStyle/>
                    <a:p>
                      <a:pPr algn="ctr" fontAlgn="ctr" hangingPunct="0"/>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治療薬、クラス</a:t>
                      </a:r>
                      <a:r>
                        <a:rPr kumimoji="1" lang="en-US" altLang="ja-JP" sz="1100" dirty="0">
                          <a:solidFill>
                            <a:schemeClr val="bg1"/>
                          </a:solidFill>
                          <a:latin typeface="+mj-lt"/>
                          <a:ea typeface="+mn-ea"/>
                          <a:cs typeface="Arial" panose="020B0604020202020204" pitchFamily="34" charset="0"/>
                        </a:rPr>
                        <a:t>2</a:t>
                      </a:r>
                      <a:r>
                        <a:rPr kumimoji="1" lang="ja-JP" altLang="en-US" sz="1100" dirty="0">
                          <a:solidFill>
                            <a:schemeClr val="bg1"/>
                          </a:solidFill>
                          <a:latin typeface="+mn-ea"/>
                          <a:ea typeface="+mn-ea"/>
                          <a:cs typeface="Arial" panose="020B0604020202020204" pitchFamily="34" charset="0"/>
                        </a:rPr>
                        <a:t>の</a:t>
                      </a:r>
                      <a:r>
                        <a:rPr kumimoji="1" lang="en-US" altLang="ja-JP" sz="1100" dirty="0">
                          <a:solidFill>
                            <a:schemeClr val="bg1"/>
                          </a:solidFill>
                          <a:latin typeface="+mj-lt"/>
                          <a:ea typeface="+mn-ea"/>
                          <a:cs typeface="Arial" panose="020B0604020202020204" pitchFamily="34" charset="0"/>
                        </a:rPr>
                        <a:t>CTGTP</a:t>
                      </a:r>
                      <a:r>
                        <a:rPr kumimoji="1" lang="en-US" altLang="ja-JP" sz="1100" dirty="0">
                          <a:solidFill>
                            <a:schemeClr val="bg1"/>
                          </a:solidFill>
                          <a:latin typeface="+mn-ea"/>
                          <a:ea typeface="+mn-ea"/>
                          <a:cs typeface="Arial" panose="020B0604020202020204" pitchFamily="34" charset="0"/>
                        </a:rPr>
                        <a:t>,</a:t>
                      </a:r>
                      <a:r>
                        <a:rPr kumimoji="1" lang="ja-JP" altLang="en-US" sz="1100" dirty="0">
                          <a:solidFill>
                            <a:schemeClr val="bg1"/>
                          </a:solidFill>
                          <a:latin typeface="+mn-ea"/>
                          <a:ea typeface="+mn-ea"/>
                          <a:cs typeface="Arial" panose="020B0604020202020204" pitchFamily="34" charset="0"/>
                        </a:rPr>
                        <a:t>　製造者等の届出が</a:t>
                      </a:r>
                      <a:r>
                        <a:rPr kumimoji="1" lang="en-US" altLang="ja-JP" sz="1100" dirty="0">
                          <a:solidFill>
                            <a:schemeClr val="bg1"/>
                          </a:solidFill>
                          <a:latin typeface="+mj-lt"/>
                          <a:ea typeface="+mn-ea"/>
                          <a:cs typeface="Arial" panose="020B0604020202020204" pitchFamily="34" charset="0"/>
                        </a:rPr>
                        <a:t>HSA</a:t>
                      </a:r>
                      <a:r>
                        <a:rPr kumimoji="1" lang="ja-JP" altLang="en-US" sz="1100" dirty="0">
                          <a:solidFill>
                            <a:schemeClr val="bg1"/>
                          </a:solidFill>
                          <a:latin typeface="+mn-ea"/>
                          <a:ea typeface="+mn-ea"/>
                          <a:cs typeface="Arial" panose="020B0604020202020204" pitchFamily="34" charset="0"/>
                        </a:rPr>
                        <a:t>になされていないクラス</a:t>
                      </a:r>
                      <a:r>
                        <a:rPr kumimoji="1" lang="en-US" altLang="ja-JP" sz="1100" dirty="0">
                          <a:solidFill>
                            <a:schemeClr val="bg1"/>
                          </a:solidFill>
                          <a:latin typeface="+mn-ea"/>
                          <a:ea typeface="+mn-ea"/>
                          <a:cs typeface="Arial" panose="020B0604020202020204" pitchFamily="34" charset="0"/>
                        </a:rPr>
                        <a:t>1</a:t>
                      </a:r>
                      <a:r>
                        <a:rPr kumimoji="1" lang="ja-JP" altLang="en-US" sz="1100" dirty="0">
                          <a:solidFill>
                            <a:schemeClr val="bg1"/>
                          </a:solidFill>
                          <a:latin typeface="+mn-ea"/>
                          <a:ea typeface="+mn-ea"/>
                          <a:cs typeface="Arial" panose="020B0604020202020204" pitchFamily="34" charset="0"/>
                        </a:rPr>
                        <a:t>の</a:t>
                      </a:r>
                      <a:r>
                        <a:rPr kumimoji="1" lang="en-US" altLang="ja-JP" sz="1100" dirty="0">
                          <a:solidFill>
                            <a:schemeClr val="bg1"/>
                          </a:solidFill>
                          <a:latin typeface="+mj-lt"/>
                          <a:ea typeface="+mn-ea"/>
                          <a:cs typeface="Arial" panose="020B0604020202020204" pitchFamily="34" charset="0"/>
                        </a:rPr>
                        <a:t>CTGTP</a:t>
                      </a:r>
                      <a:endParaRPr kumimoji="1" lang="ja-JP" altLang="en-US" sz="1100" dirty="0">
                        <a:solidFill>
                          <a:schemeClr val="bg1"/>
                        </a:solidFill>
                        <a:latin typeface="+mj-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臨床研究材料）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薬品（臨床試験用伝統的医薬品）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医療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医療機器）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34581243"/>
                  </a:ext>
                </a:extLst>
              </a:tr>
            </a:tbl>
          </a:graphicData>
        </a:graphic>
      </p:graphicFrame>
      <p:sp>
        <p:nvSpPr>
          <p:cNvPr id="20" name="テキスト ボックス 33">
            <a:extLst>
              <a:ext uri="{FF2B5EF4-FFF2-40B4-BE49-F238E27FC236}">
                <a16:creationId xmlns:a16="http://schemas.microsoft.com/office/drawing/2014/main" id="{5C9A3424-8388-4712-AF6C-B4D273B096E8}"/>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a:t>
            </a:r>
            <a:r>
              <a:rPr lang="en-US" altLang="ja-JP" sz="800" dirty="0">
                <a:latin typeface="+mj-ea"/>
                <a:ea typeface="+mj-ea"/>
                <a:cs typeface="Arial" panose="020B0604020202020204" pitchFamily="34" charset="0"/>
              </a:rPr>
              <a:t>Health Sciences Authority</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916072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353030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69465" y="5236855"/>
            <a:ext cx="9073008" cy="12159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の国外移転・ローカリゼーション要求</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ついては原則として禁止され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く保護基準と同等の保護を与えることができる国への移転については要件を満たせば認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個人情報などの重要データを自国にとどめるローカリゼーション要求については、特にどの業種についても定めはな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保健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6">
            <a:extLst>
              <a:ext uri="{FF2B5EF4-FFF2-40B4-BE49-F238E27FC236}">
                <a16:creationId xmlns:a16="http://schemas.microsoft.com/office/drawing/2014/main" id="{D54F1358-C4CF-4D33-8FB0-69AEB587D216}"/>
              </a:ext>
            </a:extLst>
          </p:cNvPr>
          <p:cNvSpPr txBox="1"/>
          <p:nvPr/>
        </p:nvSpPr>
        <p:spPr>
          <a:xfrm>
            <a:off x="272479" y="1052736"/>
            <a:ext cx="8928993" cy="168988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個人情報保護に関する包括的な法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 Act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全面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た。個人情報保護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監督機関であり、各種ガイドラインの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違反の可能性があるものに対する直接的な指示権限が与えられている。違反事例は摘発されると実名の公表や罰金につな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規模・法人格の有無を問わずすべての企業・団体が適用対象になる。個人情報には医療情報も含まれ、氏名などとの組み合わせで漏洩した場合、重大な損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通知義務が生じ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
            <a:extLst>
              <a:ext uri="{FF2B5EF4-FFF2-40B4-BE49-F238E27FC236}">
                <a16:creationId xmlns:a16="http://schemas.microsoft.com/office/drawing/2014/main" id="{66BE12F7-B167-10C1-12EC-718AAF437E34}"/>
              </a:ext>
            </a:extLst>
          </p:cNvPr>
          <p:cNvSpPr txBox="1"/>
          <p:nvPr/>
        </p:nvSpPr>
        <p:spPr>
          <a:xfrm>
            <a:off x="272478" y="2887741"/>
            <a:ext cx="8928993"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法案の導入</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同国初の医療データ法である医療情報法案の導入を発表した。この法案は、個人データ全般の法的枠組みを定め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更新された関連する医療分野の諮問ガイドラインを補完するもの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法法案は以下の条項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情報は常に更新され、正確であり、医療提供者がアクセスできるようにする。これは、医療機関に対して、選択した医療情報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EHR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Electronic Health Reco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供するよう求めることで実現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ケアの継続性をサポートするために、医療エコシステム内の医療提供者間で医療情報を共有するための枠組みを確立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が遵守しなければならない基本的なデータセキュリティおよびサイバーセキュリティ要件を規定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AA76A-DAD3-8FCF-17EE-FCFB0AC6FFE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5BF60E-6355-4510-46C4-39BDD06C137E}"/>
              </a:ext>
            </a:extLst>
          </p:cNvPr>
          <p:cNvGraphicFramePr>
            <a:graphicFrameLocks/>
          </p:cNvGraphicFramePr>
          <p:nvPr>
            <p:custDataLst>
              <p:tags r:id="rId1"/>
            </p:custDataLst>
            <p:extLst>
              <p:ext uri="{D42A27DB-BD31-4B8C-83A1-F6EECF244321}">
                <p14:modId xmlns:p14="http://schemas.microsoft.com/office/powerpoint/2010/main" val="401035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4ABE0-9F52-B163-B8DD-C9BEBF40024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03350A42-2E86-177E-CFAC-C362F7D238C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0EF48732-4A43-FC04-79A4-224942379473}"/>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個人データ保護法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2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 name="テキスト ボックス 6">
            <a:extLst>
              <a:ext uri="{FF2B5EF4-FFF2-40B4-BE49-F238E27FC236}">
                <a16:creationId xmlns:a16="http://schemas.microsoft.com/office/drawing/2014/main" id="{8E1BC5F4-B865-CC5E-AB95-2F609437ABB6}"/>
              </a:ext>
            </a:extLst>
          </p:cNvPr>
          <p:cNvSpPr txBox="1"/>
          <p:nvPr/>
        </p:nvSpPr>
        <p:spPr>
          <a:xfrm>
            <a:off x="272479" y="1388187"/>
            <a:ext cx="8928993"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政府は、個人の個人データを保護する権利と、状況に応じて合理的な人が適切と考える目的で組織が個人データを収集、使用、開示する必要性の両方を認める形で、組織による個人データの収集、使用、開示を規制する個人データ保護法を制定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この法律は改正され、データ侵害の通知義務、個人による個人データの不適切な取り扱いに関する犯罪の導入、同意の枠組みの拡大、組織に対する金銭的罰則の強化、およびデータポータビリティの権利が規定された。</a:t>
            </a:r>
          </a:p>
        </p:txBody>
      </p:sp>
      <p:graphicFrame>
        <p:nvGraphicFramePr>
          <p:cNvPr id="11" name="表 8">
            <a:extLst>
              <a:ext uri="{FF2B5EF4-FFF2-40B4-BE49-F238E27FC236}">
                <a16:creationId xmlns:a16="http://schemas.microsoft.com/office/drawing/2014/main" id="{E1A4A6F9-0E4A-76F5-1877-A4BD4B45A6F4}"/>
              </a:ext>
            </a:extLst>
          </p:cNvPr>
          <p:cNvGraphicFramePr>
            <a:graphicFrameLocks noGrp="1"/>
          </p:cNvGraphicFramePr>
          <p:nvPr>
            <p:extLst>
              <p:ext uri="{D42A27DB-BD31-4B8C-83A1-F6EECF244321}">
                <p14:modId xmlns:p14="http://schemas.microsoft.com/office/powerpoint/2010/main" val="1879015501"/>
              </p:ext>
            </p:extLst>
          </p:nvPr>
        </p:nvGraphicFramePr>
        <p:xfrm>
          <a:off x="199577" y="2708920"/>
          <a:ext cx="9505950" cy="3742944"/>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0040">
                <a:tc>
                  <a:txBody>
                    <a:bodyPr/>
                    <a:lstStyle/>
                    <a:p>
                      <a:pPr algn="l"/>
                      <a:r>
                        <a:rPr lang="ja" sz="1000" dirty="0"/>
                        <a:t>個人データの定義</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そのデータから、またはそのデータと組織がアクセスできる、またはアクセスできる可能性のあるその他の情報から識別できる個人に関するデータ。</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0040">
                <a:tc>
                  <a:txBody>
                    <a:bodyPr/>
                    <a:lstStyle/>
                    <a:p>
                      <a:pPr algn="l"/>
                      <a:r>
                        <a:rPr lang="ja" sz="1000" dirty="0"/>
                        <a:t>同意</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を収集、使用、または開示する前に、同意を得る必要があります。個人は同意を撤回することができ</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320040">
                <a:tc>
                  <a:txBody>
                    <a:bodyPr/>
                    <a:lstStyle/>
                    <a:p>
                      <a:pPr algn="l"/>
                      <a:r>
                        <a:rPr lang="ja" sz="1000" dirty="0"/>
                        <a:t>目的の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個人データは、個人が同意した目的および個人が適切と考える目的のためにのみ収集、使用、または開示され</a:t>
                      </a:r>
                      <a:r>
                        <a:rPr lang="ja-JP" altLang="en-US" sz="1000" dirty="0"/>
                        <a:t>る。</a:t>
                      </a:r>
                      <a:endParaRPr lang="ja" sz="1000" dirty="0"/>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320040">
                <a:tc>
                  <a:txBody>
                    <a:bodyPr/>
                    <a:lstStyle/>
                    <a:p>
                      <a:pPr algn="l"/>
                      <a:r>
                        <a:rPr lang="ja" sz="1000" dirty="0"/>
                        <a:t>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の使用目的を個人に通知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320040">
                <a:tc>
                  <a:txBody>
                    <a:bodyPr/>
                    <a:lstStyle/>
                    <a:p>
                      <a:pPr algn="l"/>
                      <a:r>
                        <a:rPr lang="ja" sz="1000" dirty="0"/>
                        <a:t>アクセスと修正</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個人には、自身の個人データへのアクセスおよび修正を要求する権利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320040">
                <a:tc>
                  <a:txBody>
                    <a:bodyPr/>
                    <a:lstStyle/>
                    <a:p>
                      <a:pPr algn="l"/>
                      <a:r>
                        <a:rPr lang="ja" sz="1000" dirty="0"/>
                        <a:t>正確さ</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が正確かつ完全であることを保証するために合理的な努力を払う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320040">
                <a:tc>
                  <a:txBody>
                    <a:bodyPr/>
                    <a:lstStyle/>
                    <a:p>
                      <a:pPr algn="l"/>
                      <a:r>
                        <a:rPr lang="ja" sz="1000" dirty="0"/>
                        <a:t>保護</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不正使用を防ぐためにセキュリティ保護手段を通じて個人データを保護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320040">
                <a:tc>
                  <a:txBody>
                    <a:bodyPr/>
                    <a:lstStyle/>
                    <a:p>
                      <a:pPr algn="l"/>
                      <a:r>
                        <a:rPr lang="ja" sz="1000" dirty="0"/>
                        <a:t>保持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必要な期間のみ個人データを保持でき</a:t>
                      </a:r>
                      <a:r>
                        <a:rPr lang="ja-JP" altLang="en-US" sz="1000" dirty="0"/>
                        <a:t>る。</a:t>
                      </a:r>
                      <a:endParaRPr lang="ja" sz="1000" dirty="0"/>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r h="320040">
                <a:tc>
                  <a:txBody>
                    <a:bodyPr/>
                    <a:lstStyle/>
                    <a:p>
                      <a:pPr algn="l"/>
                      <a:r>
                        <a:rPr lang="ja" sz="1000" dirty="0"/>
                        <a:t>譲渡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PDPAは個人データの海外移転を制限してい</a:t>
                      </a:r>
                      <a:r>
                        <a:rPr lang="ja-JP" altLang="en-US" sz="1000" dirty="0"/>
                        <a:t>る</a:t>
                      </a:r>
                      <a:r>
                        <a:rPr lang="ja" sz="1000" dirty="0"/>
                        <a:t>。PDPCによって免除されない限り、組織はPDPAと同等のデータ保護要件を満たす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6565231"/>
                  </a:ext>
                </a:extLst>
              </a:tr>
              <a:tr h="320040">
                <a:tc>
                  <a:txBody>
                    <a:bodyPr/>
                    <a:lstStyle/>
                    <a:p>
                      <a:pPr algn="l"/>
                      <a:r>
                        <a:rPr lang="ja" sz="1000" dirty="0"/>
                        <a:t>説明責任</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 PDPA を遵守する責任があり、プライバシー ポリシーと実践を公開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0040">
                <a:tc>
                  <a:txBody>
                    <a:bodyPr/>
                    <a:lstStyle/>
                    <a:p>
                      <a:pPr algn="l"/>
                      <a:r>
                        <a:rPr lang="ja" sz="1000" dirty="0"/>
                        <a:t>データ侵害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データ侵害が発生した場合、組織は侵害の重大性を判定してから 3 暦日以内に PDPC に通知する義務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5070645"/>
                  </a:ext>
                </a:extLst>
              </a:tr>
            </a:tbl>
          </a:graphicData>
        </a:graphic>
      </p:graphicFrame>
      <p:sp>
        <p:nvSpPr>
          <p:cNvPr id="13" name="テキスト ボックス 14">
            <a:extLst>
              <a:ext uri="{FF2B5EF4-FFF2-40B4-BE49-F238E27FC236}">
                <a16:creationId xmlns:a16="http://schemas.microsoft.com/office/drawing/2014/main" id="{E2A3DD14-7F36-8418-9620-633E51F8E578}"/>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出典：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H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ヒト研究保護プログラム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HR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oki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あり）</a:t>
            </a:r>
          </a:p>
        </p:txBody>
      </p:sp>
    </p:spTree>
    <p:extLst>
      <p:ext uri="{BB962C8B-B14F-4D97-AF65-F5344CB8AC3E}">
        <p14:creationId xmlns:p14="http://schemas.microsoft.com/office/powerpoint/2010/main" val="1271990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00D74-748E-B388-69C4-407193EF8B3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24798B3-D609-4B53-533F-1D5DB753A06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C35BF60E-6355-4510-46C4-39BDD06C1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F28AE1-A00F-8621-36BD-F83D95D6290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897ECA6B-301A-6DB3-630C-23528E806A1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C8A1C3EB-3021-E43A-F194-2ABFD7E8F15C}"/>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法に基づく医療分野へのガイドライン</a:t>
            </a:r>
          </a:p>
        </p:txBody>
      </p:sp>
      <p:sp>
        <p:nvSpPr>
          <p:cNvPr id="10" name="テキスト ボックス 6">
            <a:extLst>
              <a:ext uri="{FF2B5EF4-FFF2-40B4-BE49-F238E27FC236}">
                <a16:creationId xmlns:a16="http://schemas.microsoft.com/office/drawing/2014/main" id="{E37BF032-59E2-6453-179F-4981C9338B39}"/>
              </a:ext>
            </a:extLst>
          </p:cNvPr>
          <p:cNvSpPr txBox="1"/>
          <p:nvPr/>
        </p:nvSpPr>
        <p:spPr>
          <a:xfrm>
            <a:off x="272479" y="1388187"/>
            <a:ext cx="8928993"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委員会は、個人情報保護法における医療分野向けの助言ガイドラインを更新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勧告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データ保護規定が医療機関による個人データの収集、使用、開示にどのように適用されるかを明確にし、特定のシナリオにおける適切なデータ保護の実践方法を提案している。</a:t>
            </a:r>
          </a:p>
        </p:txBody>
      </p:sp>
      <p:graphicFrame>
        <p:nvGraphicFramePr>
          <p:cNvPr id="11" name="表 8">
            <a:extLst>
              <a:ext uri="{FF2B5EF4-FFF2-40B4-BE49-F238E27FC236}">
                <a16:creationId xmlns:a16="http://schemas.microsoft.com/office/drawing/2014/main" id="{97CBECC5-E0DE-D7F1-E630-74FCCE5AC455}"/>
              </a:ext>
            </a:extLst>
          </p:cNvPr>
          <p:cNvGraphicFramePr>
            <a:graphicFrameLocks noGrp="1"/>
          </p:cNvGraphicFramePr>
          <p:nvPr>
            <p:extLst>
              <p:ext uri="{D42A27DB-BD31-4B8C-83A1-F6EECF244321}">
                <p14:modId xmlns:p14="http://schemas.microsoft.com/office/powerpoint/2010/main" val="1267859206"/>
              </p:ext>
            </p:extLst>
          </p:nvPr>
        </p:nvGraphicFramePr>
        <p:xfrm>
          <a:off x="199577" y="2522192"/>
          <a:ext cx="9505950" cy="3435096"/>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solidFill>
                            <a:schemeClr val="tx1"/>
                          </a:solidFill>
                        </a:rPr>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solidFill>
                            <a:schemeClr val="tx1"/>
                          </a:solidFill>
                        </a:rPr>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l"/>
                      <a:r>
                        <a:rPr lang="ja" sz="1000" b="1" dirty="0"/>
                        <a:t>同意、通知、目的の制限に関する義務</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PDPAに基づき、組織は例外が適用される場合を除き、個人データを収集、利用、または開示する目的を個人に通知し、同意を得る必要が</a:t>
                      </a:r>
                      <a:r>
                        <a:rPr lang="ja-JP" altLang="en-US" sz="1000" dirty="0"/>
                        <a:t>ある</a:t>
                      </a:r>
                      <a:r>
                        <a:rPr lang="ja" sz="1000" dirty="0"/>
                        <a:t>。データ収集は、特定の目的に対して合理的な人が適切かつ関連性があると考える範囲に限定されなければな</a:t>
                      </a:r>
                      <a:r>
                        <a:rPr lang="ja-JP" altLang="en-US" sz="1000" dirty="0"/>
                        <a:t>らない</a:t>
                      </a:r>
                      <a:r>
                        <a:rPr lang="ja" sz="1000" dirty="0"/>
                        <a:t>。</a:t>
                      </a:r>
                    </a:p>
                    <a:p>
                      <a:pPr marL="171450" indent="-171450" algn="l">
                        <a:buFont typeface="Courier New" panose="02070309020205020404" pitchFamily="49" charset="0"/>
                        <a:buChar char="o"/>
                      </a:pPr>
                      <a:r>
                        <a:rPr lang="ja" sz="1000" dirty="0"/>
                        <a:t>以下の規定は、一般的な医療シナリオに同意がどのように適用されるかを説明してい</a:t>
                      </a:r>
                      <a:r>
                        <a:rPr lang="ja-JP" altLang="en-US" sz="1000" dirty="0"/>
                        <a:t>る</a:t>
                      </a:r>
                      <a:r>
                        <a:rPr lang="ja" sz="1000" dirty="0"/>
                        <a:t>。</a:t>
                      </a:r>
                    </a:p>
                    <a:p>
                      <a:pPr marL="266700" indent="-85725" algn="l">
                        <a:buFont typeface="Arial" panose="020B0604020202020204" pitchFamily="34" charset="0"/>
                        <a:buChar char="•"/>
                      </a:pPr>
                      <a:r>
                        <a:rPr lang="ja" sz="1000" dirty="0"/>
                        <a:t>行為による同意とみなされる: 個人が適切な目的のために自発的にデータを提供した場合、同意が与えられたとみなされ</a:t>
                      </a:r>
                      <a:r>
                        <a:rPr lang="ja-JP" altLang="en-US" sz="1000" dirty="0"/>
                        <a:t>る</a:t>
                      </a:r>
                      <a:r>
                        <a:rPr lang="ja" sz="1000" dirty="0"/>
                        <a:t>。</a:t>
                      </a:r>
                    </a:p>
                    <a:p>
                      <a:pPr marL="266700" indent="-85725" algn="l">
                        <a:buFont typeface="Arial" panose="020B0604020202020204" pitchFamily="34" charset="0"/>
                        <a:buChar char="•"/>
                      </a:pPr>
                      <a:r>
                        <a:rPr lang="ja" sz="1000" dirty="0"/>
                        <a:t>契約上の必要性による同意とみなされる: 組織の契約上の義務を履行するために合理的に必要な場合、個人データは他の組織と共有されることがあ</a:t>
                      </a:r>
                      <a:r>
                        <a:rPr lang="ja-JP" altLang="en-US" sz="1000" dirty="0"/>
                        <a:t>る</a:t>
                      </a:r>
                      <a:r>
                        <a:rPr lang="ja" sz="1000" dirty="0"/>
                        <a:t>。</a:t>
                      </a:r>
                    </a:p>
                    <a:p>
                      <a:pPr marL="266700" indent="-85725" algn="l">
                        <a:buFont typeface="Arial" panose="020B0604020202020204" pitchFamily="34" charset="0"/>
                        <a:buChar char="•"/>
                      </a:pPr>
                      <a:r>
                        <a:rPr lang="ja" sz="1000" dirty="0"/>
                        <a:t>通知による同意とみなされる: 個人が目的を通知され、規定の期間内にオプトアウトしない場合は、同意したものとみなされ</a:t>
                      </a:r>
                      <a:r>
                        <a:rPr lang="ja-JP" altLang="en-US" sz="1000" dirty="0"/>
                        <a:t>る</a:t>
                      </a:r>
                      <a:r>
                        <a:rPr lang="ja" sz="1000" dirty="0"/>
                        <a:t>。</a:t>
                      </a:r>
                    </a:p>
                    <a:p>
                      <a:pPr marL="266700" indent="-85725" algn="l">
                        <a:buFont typeface="Arial" panose="020B0604020202020204" pitchFamily="34" charset="0"/>
                        <a:buChar char="•"/>
                      </a:pPr>
                      <a:r>
                        <a:rPr lang="ja" sz="1000" dirty="0"/>
                        <a:t>同意の撤回: 個人はいつでも同意を撤回できますが、組織は他の法的根拠に基づいて許可されている場合、引き続きデータを使用することができ</a:t>
                      </a:r>
                      <a:r>
                        <a:rPr lang="ja-JP" altLang="en-US" sz="1000" dirty="0"/>
                        <a:t>る</a:t>
                      </a:r>
                      <a:r>
                        <a:rPr lang="ja" sz="1000" dirty="0"/>
                        <a:t>。</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l"/>
                      <a:r>
                        <a:rPr lang="ja" sz="1000" b="1" dirty="0"/>
                        <a:t>同意義務の主な例外</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組織は、特定の規定に基づいて、同意なしに個人データを収集、使用、または開示することができ</a:t>
                      </a:r>
                      <a:r>
                        <a:rPr lang="ja-JP" altLang="en-US" sz="1000" dirty="0"/>
                        <a:t>る</a:t>
                      </a:r>
                      <a:r>
                        <a:rPr lang="ja" sz="1000" dirty="0"/>
                        <a:t>。</a:t>
                      </a:r>
                    </a:p>
                    <a:p>
                      <a:pPr marL="268288" indent="-88900" algn="l">
                        <a:buFont typeface="Arial" panose="020B0604020202020204" pitchFamily="34" charset="0"/>
                        <a:buChar char="•"/>
                      </a:pPr>
                      <a:r>
                        <a:rPr lang="ja" sz="1000" dirty="0"/>
                        <a:t>重大な利益: 個人の生命、健康、または安全を脅かす緊急事態に対応するために、データは同意なしに使用される場合があ</a:t>
                      </a:r>
                      <a:r>
                        <a:rPr lang="ja-JP" altLang="en-US" sz="1000" dirty="0"/>
                        <a:t>る</a:t>
                      </a:r>
                      <a:r>
                        <a:rPr lang="ja" sz="1000" dirty="0"/>
                        <a:t>。</a:t>
                      </a:r>
                    </a:p>
                    <a:p>
                      <a:pPr marL="268288" indent="-88900" algn="l">
                        <a:buFont typeface="Arial" panose="020B0604020202020204" pitchFamily="34" charset="0"/>
                        <a:buChar char="•"/>
                      </a:pPr>
                      <a:r>
                        <a:rPr lang="ja" sz="1000" dirty="0"/>
                        <a:t>正当な利益: これは、組織または他の人の合法的な利益が個人への悪影響を上回る場合に適用され</a:t>
                      </a:r>
                      <a:r>
                        <a:rPr lang="ja-JP" altLang="en-US" sz="1000" dirty="0"/>
                        <a:t>る</a:t>
                      </a:r>
                      <a:r>
                        <a:rPr lang="ja" sz="1000" dirty="0"/>
                        <a:t>。</a:t>
                      </a:r>
                    </a:p>
                    <a:p>
                      <a:pPr marL="268288" indent="-88900" algn="l">
                        <a:buFont typeface="Arial" panose="020B0604020202020204" pitchFamily="34" charset="0"/>
                        <a:buChar char="•"/>
                      </a:pPr>
                      <a:r>
                        <a:rPr lang="ja" sz="1000" dirty="0"/>
                        <a:t>ビジネスの改善: 匿名化されたデータを使用してこれらの目的を達成できない場合、個人データは商品/サービス、ビジネス プロセスを改善したり、患者の行動を理解したりするために使用でき</a:t>
                      </a:r>
                      <a:r>
                        <a:rPr lang="ja-JP" altLang="en-US" sz="1000" dirty="0"/>
                        <a:t>る</a:t>
                      </a:r>
                      <a:r>
                        <a:rPr lang="ja" sz="1000" dirty="0"/>
                        <a:t>。</a:t>
                      </a:r>
                    </a:p>
                    <a:p>
                      <a:pPr marL="268288" indent="-88900" algn="l">
                        <a:buFont typeface="Arial" panose="020B0604020202020204" pitchFamily="34" charset="0"/>
                        <a:buChar char="•"/>
                      </a:pPr>
                      <a:r>
                        <a:rPr lang="ja" sz="1000" b="1" dirty="0"/>
                        <a:t>研究: 明らかな公共の利益があり、結果が個人に影響を与えるために使用されず、最終結果が個人を特定しない場合は、同意なしにデータをより広範な研究 (歴史的または統計的) に使用でき</a:t>
                      </a:r>
                      <a:r>
                        <a:rPr lang="ja-JP" altLang="en-US" sz="1000" b="1" dirty="0"/>
                        <a:t>る</a:t>
                      </a:r>
                      <a:r>
                        <a:rPr lang="ja" sz="1000" dirty="0"/>
                        <a:t>。</a:t>
                      </a:r>
                    </a:p>
                    <a:p>
                      <a:pPr marL="268288" indent="-88900" algn="l">
                        <a:buFont typeface="Arial" panose="020B0604020202020204" pitchFamily="34" charset="0"/>
                        <a:buChar char="•"/>
                      </a:pPr>
                      <a:r>
                        <a:rPr lang="ja" sz="1000" dirty="0"/>
                        <a:t>事業資産取引: 患者データは、事業資産取引の一環として後継者と共有される場合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0">
                <a:tc>
                  <a:txBody>
                    <a:bodyPr/>
                    <a:lstStyle/>
                    <a:p>
                      <a:pPr algn="l"/>
                      <a:r>
                        <a:rPr lang="ja" sz="1000" b="1" dirty="0"/>
                        <a:t>アクセスと訂正の義務</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アクセス義務: 組織は、要求に応じて、個人に対して個人データと、過去 1 年間にそのデータがどのように使用または開示されたかに関する情報を提供する必要があ</a:t>
                      </a:r>
                      <a:r>
                        <a:rPr lang="ja-JP" altLang="en-US" sz="1000" dirty="0"/>
                        <a:t>る</a:t>
                      </a:r>
                      <a:r>
                        <a:rPr lang="ja" sz="1000" dirty="0"/>
                        <a:t>。</a:t>
                      </a:r>
                    </a:p>
                    <a:p>
                      <a:pPr marL="171450" indent="-171450" algn="l">
                        <a:buFont typeface="Courier New" panose="02070309020205020404" pitchFamily="49" charset="0"/>
                        <a:buChar char="o"/>
                      </a:pPr>
                      <a:r>
                        <a:rPr lang="ja" sz="1000" dirty="0"/>
                        <a:t>訂正義務: 組織は、組織が所有または管理している個人データ内の誤りや漏れを訂正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66352080"/>
                  </a:ext>
                </a:extLst>
              </a:tr>
            </a:tbl>
          </a:graphicData>
        </a:graphic>
      </p:graphicFrame>
      <p:sp>
        <p:nvSpPr>
          <p:cNvPr id="13" name="テキスト ボックス 14">
            <a:extLst>
              <a:ext uri="{FF2B5EF4-FFF2-40B4-BE49-F238E27FC236}">
                <a16:creationId xmlns:a16="http://schemas.microsoft.com/office/drawing/2014/main" id="{F6418851-114A-E98B-0DE7-C0C404F36224}"/>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 name="テキスト ボックス 6">
            <a:extLst>
              <a:ext uri="{FF2B5EF4-FFF2-40B4-BE49-F238E27FC236}">
                <a16:creationId xmlns:a16="http://schemas.microsoft.com/office/drawing/2014/main" id="{91D3405B-7EB9-4173-A0AF-84D90BD02EAD}"/>
              </a:ext>
            </a:extLst>
          </p:cNvPr>
          <p:cNvSpPr txBox="1"/>
          <p:nvPr/>
        </p:nvSpPr>
        <p:spPr>
          <a:xfrm>
            <a:off x="272479" y="2252598"/>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ケアシナリオにおける個人情報保護法の規定の適用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5618874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F1052-DCF0-FF8C-8D26-E0609F1DA9A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9A47B70-5976-E61B-77C3-BD0BC61471B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C24798B3-D609-4B53-533F-1D5DB753A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A29DC-D172-9871-EBED-627D2845A66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0C707001-DC86-5228-9013-82DD99FC2EF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graphicFrame>
        <p:nvGraphicFramePr>
          <p:cNvPr id="11" name="表 8">
            <a:extLst>
              <a:ext uri="{FF2B5EF4-FFF2-40B4-BE49-F238E27FC236}">
                <a16:creationId xmlns:a16="http://schemas.microsoft.com/office/drawing/2014/main" id="{C690E10D-A5DA-8E76-E452-F712E333AA2C}"/>
              </a:ext>
            </a:extLst>
          </p:cNvPr>
          <p:cNvGraphicFramePr>
            <a:graphicFrameLocks noGrp="1"/>
          </p:cNvGraphicFramePr>
          <p:nvPr>
            <p:extLst>
              <p:ext uri="{D42A27DB-BD31-4B8C-83A1-F6EECF244321}">
                <p14:modId xmlns:p14="http://schemas.microsoft.com/office/powerpoint/2010/main" val="2911547549"/>
              </p:ext>
            </p:extLst>
          </p:nvPr>
        </p:nvGraphicFramePr>
        <p:xfrm>
          <a:off x="199577" y="1346160"/>
          <a:ext cx="9505950" cy="1598168"/>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solidFill>
                            <a:schemeClr val="tx1"/>
                          </a:solidFill>
                        </a:rPr>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solidFill>
                            <a:schemeClr val="tx1"/>
                          </a:solidFill>
                        </a:rPr>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l"/>
                      <a:r>
                        <a:rPr lang="ja" sz="1000" b="1" dirty="0"/>
                        <a:t>データ管理義務</a:t>
                      </a: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spcBef>
                          <a:spcPts val="400"/>
                        </a:spcBef>
                        <a:buFont typeface="Courier New" panose="02070309020205020404" pitchFamily="49" charset="0"/>
                        <a:buChar char="o"/>
                      </a:pPr>
                      <a:r>
                        <a:rPr lang="ja" sz="1000" dirty="0"/>
                        <a:t>正確性義務: データが個人に影響を与える決定を下すために使用される可能性がある場合、組織はデータが正確かつ完全であることを保証するために合理的な努力を払う必要があ</a:t>
                      </a:r>
                      <a:r>
                        <a:rPr lang="ja-JP" altLang="en-US" sz="1000" dirty="0"/>
                        <a:t>る</a:t>
                      </a:r>
                      <a:r>
                        <a:rPr lang="ja" sz="1000" dirty="0"/>
                        <a:t>。</a:t>
                      </a:r>
                    </a:p>
                    <a:p>
                      <a:pPr marL="171450" indent="-171450" algn="l">
                        <a:spcBef>
                          <a:spcPts val="400"/>
                        </a:spcBef>
                        <a:buFont typeface="Courier New" panose="02070309020205020404" pitchFamily="49" charset="0"/>
                        <a:buChar char="o"/>
                      </a:pPr>
                      <a:r>
                        <a:rPr lang="ja" sz="1000" dirty="0"/>
                        <a:t>保護義務: 医療提供者は、個人データへの不正アクセス、開示、または紛失を防ぐために、合理的なセキュリティ対策を実施する必要が</a:t>
                      </a:r>
                      <a:r>
                        <a:rPr lang="ja-JP" altLang="en-US" sz="1000" dirty="0"/>
                        <a:t>ある</a:t>
                      </a:r>
                      <a:r>
                        <a:rPr lang="ja" sz="1000" dirty="0"/>
                        <a:t>。</a:t>
                      </a:r>
                    </a:p>
                    <a:p>
                      <a:pPr marL="171450" indent="-171450" algn="l">
                        <a:spcBef>
                          <a:spcPts val="400"/>
                        </a:spcBef>
                        <a:buFont typeface="Courier New" panose="02070309020205020404" pitchFamily="49" charset="0"/>
                        <a:buChar char="o"/>
                      </a:pPr>
                      <a:r>
                        <a:rPr lang="ja" sz="1000" dirty="0"/>
                        <a:t>保持制限: データは、法的またはビジネス上の目的に必要な期間を超えて保持してはな</a:t>
                      </a:r>
                      <a:r>
                        <a:rPr lang="ja-JP" altLang="en-US" sz="1000" dirty="0"/>
                        <a:t>らない</a:t>
                      </a:r>
                      <a:r>
                        <a:rPr lang="ja" sz="1000" dirty="0"/>
                        <a:t>。</a:t>
                      </a:r>
                    </a:p>
                    <a:p>
                      <a:pPr marL="171450" indent="-171450" algn="l">
                        <a:spcBef>
                          <a:spcPts val="400"/>
                        </a:spcBef>
                        <a:buFont typeface="Courier New" panose="02070309020205020404" pitchFamily="49" charset="0"/>
                        <a:buChar char="o"/>
                      </a:pPr>
                      <a:r>
                        <a:rPr lang="ja" sz="1000" dirty="0"/>
                        <a:t>転送制限: 個人データは、PDPA の保護要件を満たしていない限り、シンガポール国外に転送することはでき</a:t>
                      </a:r>
                      <a:r>
                        <a:rPr lang="ja-JP" altLang="en-US" sz="1000" dirty="0"/>
                        <a:t>ない</a:t>
                      </a:r>
                      <a:r>
                        <a:rPr lang="ja" sz="1000" dirty="0"/>
                        <a:t>。</a:t>
                      </a:r>
                    </a:p>
                    <a:p>
                      <a:pPr marL="171450" indent="-171450" algn="l">
                        <a:spcBef>
                          <a:spcPts val="400"/>
                        </a:spcBef>
                        <a:buFont typeface="Courier New" panose="02070309020205020404" pitchFamily="49" charset="0"/>
                        <a:buChar char="o"/>
                      </a:pPr>
                      <a:r>
                        <a:rPr lang="ja" sz="1000" dirty="0"/>
                        <a:t>データ侵害の通知: 組織は侵害を評価し、侵害が通知対象であると評価された場合は、影響を受ける個人と PDPC に通知する必要があ</a:t>
                      </a:r>
                      <a:r>
                        <a:rPr lang="ja-JP" altLang="en-US" sz="1000" dirty="0"/>
                        <a:t>る</a:t>
                      </a:r>
                      <a:r>
                        <a:rPr lang="ja" sz="1000" dirty="0"/>
                        <a:t>。</a:t>
                      </a:r>
                    </a:p>
                    <a:p>
                      <a:pPr marL="171450" indent="-171450" algn="l">
                        <a:spcBef>
                          <a:spcPts val="400"/>
                        </a:spcBef>
                        <a:buFont typeface="Courier New" panose="02070309020205020404" pitchFamily="49" charset="0"/>
                        <a:buChar char="o"/>
                      </a:pPr>
                      <a:r>
                        <a:rPr lang="ja" sz="1000" dirty="0"/>
                        <a:t>説明責任義務: 組織はデータ保護ポリシーと手順を実施し、公開する必要があ</a:t>
                      </a:r>
                      <a:r>
                        <a:rPr lang="ja-JP" altLang="en-US" sz="1000" dirty="0"/>
                        <a:t>る</a:t>
                      </a:r>
                      <a:r>
                        <a:rPr lang="ja" sz="1000" dirty="0"/>
                        <a:t>。</a:t>
                      </a: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86091184"/>
                  </a:ext>
                </a:extLst>
              </a:tr>
            </a:tbl>
          </a:graphicData>
        </a:graphic>
      </p:graphicFrame>
      <p:sp>
        <p:nvSpPr>
          <p:cNvPr id="13" name="テキスト ボックス 14">
            <a:extLst>
              <a:ext uri="{FF2B5EF4-FFF2-40B4-BE49-F238E27FC236}">
                <a16:creationId xmlns:a16="http://schemas.microsoft.com/office/drawing/2014/main" id="{C491F2BA-8655-2403-2CAA-E0E7BE82667E}"/>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 name="テキスト ボックス 6">
            <a:extLst>
              <a:ext uri="{FF2B5EF4-FFF2-40B4-BE49-F238E27FC236}">
                <a16:creationId xmlns:a16="http://schemas.microsoft.com/office/drawing/2014/main" id="{C294A6A0-B037-0803-FEA4-83A24DF01E80}"/>
              </a:ext>
            </a:extLst>
          </p:cNvPr>
          <p:cNvSpPr txBox="1"/>
          <p:nvPr/>
        </p:nvSpPr>
        <p:spPr>
          <a:xfrm>
            <a:off x="272479" y="107656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ケアシナリオにおける個人情報保護法の規定の適用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0022810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DD1BA-B3FB-2CD6-E9AF-6DA52AD3137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C0DD65-49F9-04DB-7803-C1AFB2555AC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E0DBA35F-0228-6C1C-0B91-984696D91A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9F2CB-E859-4768-3223-D62D5752346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E8BD387B-1151-A36E-8B97-81A03494B47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167E6F99-1210-7A46-81E9-A4A02E9EDF06}"/>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健康情報法（</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HIA</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6</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 name="テキスト ボックス 6">
            <a:extLst>
              <a:ext uri="{FF2B5EF4-FFF2-40B4-BE49-F238E27FC236}">
                <a16:creationId xmlns:a16="http://schemas.microsoft.com/office/drawing/2014/main" id="{9FD865A5-AA83-0E16-5FC3-DC008C1187CB}"/>
              </a:ext>
            </a:extLst>
          </p:cNvPr>
          <p:cNvSpPr txBox="1"/>
          <p:nvPr/>
        </p:nvSpPr>
        <p:spPr>
          <a:xfrm>
            <a:off x="272479" y="1388187"/>
            <a:ext cx="8928993"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シンガポール議会は健康情報法を可決した。この法律は、シンガポール国民がより連携の取れた質の高い医療をより低コストで受けられるように、国家電子記録システム上での、シンガポールの医療システム全体の健康情報の収集、保管、開示を規制するものである。この法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初頭に施行される予定となっている。</a:t>
            </a:r>
          </a:p>
        </p:txBody>
      </p:sp>
      <p:sp>
        <p:nvSpPr>
          <p:cNvPr id="13" name="テキスト ボックス 14">
            <a:extLst>
              <a:ext uri="{FF2B5EF4-FFF2-40B4-BE49-F238E27FC236}">
                <a16:creationId xmlns:a16="http://schemas.microsoft.com/office/drawing/2014/main" id="{52EFBF10-58BA-3702-7DFC-A093EF8E86C9}"/>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ニュース記事</a:t>
            </a:r>
          </a:p>
        </p:txBody>
      </p:sp>
      <p:sp>
        <p:nvSpPr>
          <p:cNvPr id="6" name="テキスト ボックス 6">
            <a:extLst>
              <a:ext uri="{FF2B5EF4-FFF2-40B4-BE49-F238E27FC236}">
                <a16:creationId xmlns:a16="http://schemas.microsoft.com/office/drawing/2014/main" id="{C43B0332-E000-57C2-E214-516500A1F187}"/>
              </a:ext>
            </a:extLst>
          </p:cNvPr>
          <p:cNvSpPr txBox="1"/>
          <p:nvPr/>
        </p:nvSpPr>
        <p:spPr>
          <a:xfrm>
            <a:off x="272479" y="2377263"/>
            <a:ext cx="439248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背景</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6">
            <a:extLst>
              <a:ext uri="{FF2B5EF4-FFF2-40B4-BE49-F238E27FC236}">
                <a16:creationId xmlns:a16="http://schemas.microsoft.com/office/drawing/2014/main" id="{038CE283-4240-7F5E-C7A0-3FA2AE692C19}"/>
              </a:ext>
            </a:extLst>
          </p:cNvPr>
          <p:cNvSpPr txBox="1"/>
          <p:nvPr/>
        </p:nvSpPr>
        <p:spPr>
          <a:xfrm>
            <a:off x="272479" y="2712714"/>
            <a:ext cx="4464497" cy="16589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シンガポール人の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に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が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歳を超え、複数の医療提供者による慢性疾患ケアのニーズが高ま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さまざまな医療提供者からケアを受けるため、データの統合が必要となり、臨床リスクが生じ、ケアの継続性が損なわれる可能性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たがって、この法案に基づ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HER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より良い継続的なケアを実現するために、公的および民間の提供者からの重要なデータの保管と共有を拡大させる。</a:t>
            </a:r>
          </a:p>
        </p:txBody>
      </p:sp>
      <p:sp>
        <p:nvSpPr>
          <p:cNvPr id="9" name="テキスト ボックス 6">
            <a:extLst>
              <a:ext uri="{FF2B5EF4-FFF2-40B4-BE49-F238E27FC236}">
                <a16:creationId xmlns:a16="http://schemas.microsoft.com/office/drawing/2014/main" id="{94A38A43-1C3E-E006-0241-DD35F13B390E}"/>
              </a:ext>
            </a:extLst>
          </p:cNvPr>
          <p:cNvSpPr txBox="1"/>
          <p:nvPr/>
        </p:nvSpPr>
        <p:spPr>
          <a:xfrm>
            <a:off x="5169027" y="2377263"/>
            <a:ext cx="454300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国家電子健康記録（</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E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に基づく健康情報管理の枠組み</a:t>
            </a:r>
          </a:p>
        </p:txBody>
      </p:sp>
      <p:pic>
        <p:nvPicPr>
          <p:cNvPr id="12" name="Picture 2" descr="Patient - Free user icons">
            <a:extLst>
              <a:ext uri="{FF2B5EF4-FFF2-40B4-BE49-F238E27FC236}">
                <a16:creationId xmlns:a16="http://schemas.microsoft.com/office/drawing/2014/main" id="{0BED54A6-B959-A61F-6F75-E9C8147E9AD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38702" y="4091238"/>
            <a:ext cx="559096" cy="5590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ospital buildings - Free medical icons">
            <a:extLst>
              <a:ext uri="{FF2B5EF4-FFF2-40B4-BE49-F238E27FC236}">
                <a16:creationId xmlns:a16="http://schemas.microsoft.com/office/drawing/2014/main" id="{E4650C11-1AAE-CDED-DAF7-AF79613D0A3E}"/>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02283" y="4092345"/>
            <a:ext cx="655915" cy="6559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folder Vector Icons free download in ...">
            <a:extLst>
              <a:ext uri="{FF2B5EF4-FFF2-40B4-BE49-F238E27FC236}">
                <a16:creationId xmlns:a16="http://schemas.microsoft.com/office/drawing/2014/main" id="{12F6DBC9-FE89-56EA-F433-2ED76311E01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6308" y="4041387"/>
            <a:ext cx="663612" cy="6636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General practitioner icon Vector Images ...">
            <a:extLst>
              <a:ext uri="{FF2B5EF4-FFF2-40B4-BE49-F238E27FC236}">
                <a16:creationId xmlns:a16="http://schemas.microsoft.com/office/drawing/2014/main" id="{C7935678-7647-B929-4DD0-E0CD7B95C399}"/>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7388867" y="3313315"/>
            <a:ext cx="422006" cy="4220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Nursing Home Thin Line Icon Elderly ...">
            <a:extLst>
              <a:ext uri="{FF2B5EF4-FFF2-40B4-BE49-F238E27FC236}">
                <a16:creationId xmlns:a16="http://schemas.microsoft.com/office/drawing/2014/main" id="{321B9EE8-A6B0-D162-514B-7BA82C55E6A9}"/>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77923" y="5060374"/>
            <a:ext cx="450920" cy="460774"/>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Down 17">
            <a:extLst>
              <a:ext uri="{FF2B5EF4-FFF2-40B4-BE49-F238E27FC236}">
                <a16:creationId xmlns:a16="http://schemas.microsoft.com/office/drawing/2014/main" id="{AD3E5CD5-5CCF-B7D4-DEED-19C619F300D6}"/>
              </a:ext>
            </a:extLst>
          </p:cNvPr>
          <p:cNvSpPr/>
          <p:nvPr/>
        </p:nvSpPr>
        <p:spPr>
          <a:xfrm rot="16200000">
            <a:off x="6162214" y="4084582"/>
            <a:ext cx="390394" cy="733592"/>
          </a:xfrm>
          <a:prstGeom prst="downArrow">
            <a:avLst>
              <a:gd name="adj1" fmla="val 50000"/>
              <a:gd name="adj2" fmla="val 2926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 rtlCol="0" anchor="ctr"/>
          <a:lstStyle/>
          <a:p>
            <a:pPr algn="ctr"/>
            <a:r>
              <a:rPr kumimoji="1" lang="ja" sz="800" dirty="0"/>
              <a:t>健康情報</a:t>
            </a:r>
            <a:endParaRPr kumimoji="1" lang="en-US" sz="800" dirty="0"/>
          </a:p>
        </p:txBody>
      </p:sp>
      <p:sp>
        <p:nvSpPr>
          <p:cNvPr id="19" name="Arrow: Bent-Up 18">
            <a:extLst>
              <a:ext uri="{FF2B5EF4-FFF2-40B4-BE49-F238E27FC236}">
                <a16:creationId xmlns:a16="http://schemas.microsoft.com/office/drawing/2014/main" id="{E824A289-706B-F288-D583-B194DE163C2F}"/>
              </a:ext>
            </a:extLst>
          </p:cNvPr>
          <p:cNvSpPr/>
          <p:nvPr/>
        </p:nvSpPr>
        <p:spPr>
          <a:xfrm rot="5400000">
            <a:off x="6105309" y="4414424"/>
            <a:ext cx="592623" cy="1492500"/>
          </a:xfrm>
          <a:prstGeom prst="bentUpArrow">
            <a:avLst>
              <a:gd name="adj1" fmla="val 29892"/>
              <a:gd name="adj2" fmla="val 26734"/>
              <a:gd name="adj3" fmla="val 22187"/>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20" name="Arrow: Bent-Up 19">
            <a:extLst>
              <a:ext uri="{FF2B5EF4-FFF2-40B4-BE49-F238E27FC236}">
                <a16:creationId xmlns:a16="http://schemas.microsoft.com/office/drawing/2014/main" id="{C6288B2D-B7B0-25C6-B983-FB11967BD412}"/>
              </a:ext>
            </a:extLst>
          </p:cNvPr>
          <p:cNvSpPr/>
          <p:nvPr/>
        </p:nvSpPr>
        <p:spPr>
          <a:xfrm rot="5400000" flipH="1">
            <a:off x="6172223" y="2973797"/>
            <a:ext cx="438705" cy="1512589"/>
          </a:xfrm>
          <a:prstGeom prst="bentUpArrow">
            <a:avLst>
              <a:gd name="adj1" fmla="val 40738"/>
              <a:gd name="adj2" fmla="val 25978"/>
              <a:gd name="adj3" fmla="val 33685"/>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600" dirty="0"/>
          </a:p>
        </p:txBody>
      </p:sp>
      <p:cxnSp>
        <p:nvCxnSpPr>
          <p:cNvPr id="21" name="Straight Arrow Connector 20">
            <a:extLst>
              <a:ext uri="{FF2B5EF4-FFF2-40B4-BE49-F238E27FC236}">
                <a16:creationId xmlns:a16="http://schemas.microsoft.com/office/drawing/2014/main" id="{5262A19C-9783-453F-459A-AF9326A95BCB}"/>
              </a:ext>
            </a:extLst>
          </p:cNvPr>
          <p:cNvCxnSpPr>
            <a:cxnSpLocks/>
          </p:cNvCxnSpPr>
          <p:nvPr/>
        </p:nvCxnSpPr>
        <p:spPr>
          <a:xfrm>
            <a:off x="7599870" y="4501085"/>
            <a:ext cx="995821" cy="0"/>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40DA788B-95EA-7206-C76B-C4F34B43540C}"/>
              </a:ext>
            </a:extLst>
          </p:cNvPr>
          <p:cNvCxnSpPr>
            <a:cxnSpLocks/>
          </p:cNvCxnSpPr>
          <p:nvPr/>
        </p:nvCxnSpPr>
        <p:spPr>
          <a:xfrm>
            <a:off x="7956272" y="3620954"/>
            <a:ext cx="1099903" cy="422139"/>
          </a:xfrm>
          <a:prstGeom prst="bentConnector2">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65A7B45C-CF7D-923E-9F98-F192AFFFF5EC}"/>
              </a:ext>
            </a:extLst>
          </p:cNvPr>
          <p:cNvCxnSpPr>
            <a:cxnSpLocks/>
          </p:cNvCxnSpPr>
          <p:nvPr/>
        </p:nvCxnSpPr>
        <p:spPr>
          <a:xfrm flipV="1">
            <a:off x="7959748" y="4880893"/>
            <a:ext cx="1043986" cy="544650"/>
          </a:xfrm>
          <a:prstGeom prst="bentConnector2">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BBB2E23-B1C4-F87F-A70C-D6FEB6F324D7}"/>
              </a:ext>
            </a:extLst>
          </p:cNvPr>
          <p:cNvCxnSpPr>
            <a:cxnSpLocks/>
          </p:cNvCxnSpPr>
          <p:nvPr/>
        </p:nvCxnSpPr>
        <p:spPr>
          <a:xfrm flipH="1">
            <a:off x="7599870" y="4346758"/>
            <a:ext cx="894826" cy="0"/>
          </a:xfrm>
          <a:prstGeom prst="straightConnector1">
            <a:avLst/>
          </a:prstGeom>
          <a:ln w="3810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CD8DEB97-EEBA-412F-390E-C58BD6B0370F}"/>
              </a:ext>
            </a:extLst>
          </p:cNvPr>
          <p:cNvCxnSpPr>
            <a:cxnSpLocks/>
          </p:cNvCxnSpPr>
          <p:nvPr/>
        </p:nvCxnSpPr>
        <p:spPr>
          <a:xfrm rot="5400000" flipH="1" flipV="1">
            <a:off x="7205379" y="3754689"/>
            <a:ext cx="297756" cy="491225"/>
          </a:xfrm>
          <a:prstGeom prst="bentConnector3">
            <a:avLst>
              <a:gd name="adj1" fmla="val 4360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ABAF7E9-D8FF-E0F7-048D-063A2D5132CD}"/>
              </a:ext>
            </a:extLst>
          </p:cNvPr>
          <p:cNvCxnSpPr>
            <a:cxnSpLocks/>
          </p:cNvCxnSpPr>
          <p:nvPr/>
        </p:nvCxnSpPr>
        <p:spPr>
          <a:xfrm rot="16200000" flipH="1">
            <a:off x="7244398" y="4541462"/>
            <a:ext cx="229376" cy="5332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667F7F2-E886-C017-FCEE-E105B37DB2FA}"/>
              </a:ext>
            </a:extLst>
          </p:cNvPr>
          <p:cNvCxnSpPr>
            <a:cxnSpLocks/>
          </p:cNvCxnSpPr>
          <p:nvPr/>
        </p:nvCxnSpPr>
        <p:spPr>
          <a:xfrm>
            <a:off x="7501887" y="3892500"/>
            <a:ext cx="9970" cy="1085136"/>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C0B40F21-5D8D-A095-4DAF-2166F6574761}"/>
              </a:ext>
            </a:extLst>
          </p:cNvPr>
          <p:cNvCxnSpPr>
            <a:cxnSpLocks/>
          </p:cNvCxnSpPr>
          <p:nvPr/>
        </p:nvCxnSpPr>
        <p:spPr>
          <a:xfrm rot="10800000">
            <a:off x="7964127" y="3739962"/>
            <a:ext cx="978797" cy="336131"/>
          </a:xfrm>
          <a:prstGeom prst="bentConnector3">
            <a:avLst>
              <a:gd name="adj1" fmla="val 1992"/>
            </a:avLst>
          </a:prstGeom>
          <a:ln w="381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CF55BCF-A3E6-B6CC-DEBD-B26EACCEF48B}"/>
              </a:ext>
            </a:extLst>
          </p:cNvPr>
          <p:cNvCxnSpPr>
            <a:cxnSpLocks/>
          </p:cNvCxnSpPr>
          <p:nvPr/>
        </p:nvCxnSpPr>
        <p:spPr>
          <a:xfrm flipV="1">
            <a:off x="7964127" y="4693413"/>
            <a:ext cx="914496" cy="597348"/>
          </a:xfrm>
          <a:prstGeom prst="bentConnector2">
            <a:avLst/>
          </a:prstGeom>
          <a:ln w="38100">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C0B35B5-9A7D-CB3A-E70E-A589A33BC0E6}"/>
              </a:ext>
            </a:extLst>
          </p:cNvPr>
          <p:cNvSpPr txBox="1"/>
          <p:nvPr/>
        </p:nvSpPr>
        <p:spPr>
          <a:xfrm>
            <a:off x="5916016" y="3503682"/>
            <a:ext cx="1080120" cy="226409"/>
          </a:xfrm>
          <a:prstGeom prst="rect">
            <a:avLst/>
          </a:prstGeom>
          <a:noFill/>
        </p:spPr>
        <p:txBody>
          <a:bodyPr wrap="square" rtlCol="0">
            <a:spAutoFit/>
          </a:bodyPr>
          <a:lstStyle/>
          <a:p>
            <a:pPr algn="ctr">
              <a:lnSpc>
                <a:spcPct val="120000"/>
              </a:lnSpc>
            </a:pPr>
            <a:r>
              <a:rPr kumimoji="1" lang="ja" sz="800" dirty="0"/>
              <a:t>健康情報</a:t>
            </a:r>
            <a:endParaRPr kumimoji="1" lang="en-US" sz="800" dirty="0"/>
          </a:p>
        </p:txBody>
      </p:sp>
      <p:sp>
        <p:nvSpPr>
          <p:cNvPr id="31" name="TextBox 30">
            <a:extLst>
              <a:ext uri="{FF2B5EF4-FFF2-40B4-BE49-F238E27FC236}">
                <a16:creationId xmlns:a16="http://schemas.microsoft.com/office/drawing/2014/main" id="{CB68FA30-6690-F01E-B3E3-4E7EF65B4E3A}"/>
              </a:ext>
            </a:extLst>
          </p:cNvPr>
          <p:cNvSpPr txBox="1"/>
          <p:nvPr/>
        </p:nvSpPr>
        <p:spPr>
          <a:xfrm>
            <a:off x="5916016" y="5184036"/>
            <a:ext cx="1080120" cy="226409"/>
          </a:xfrm>
          <a:prstGeom prst="rect">
            <a:avLst/>
          </a:prstGeom>
          <a:noFill/>
        </p:spPr>
        <p:txBody>
          <a:bodyPr wrap="square" rtlCol="0">
            <a:spAutoFit/>
          </a:bodyPr>
          <a:lstStyle/>
          <a:p>
            <a:pPr algn="ctr">
              <a:lnSpc>
                <a:spcPct val="120000"/>
              </a:lnSpc>
            </a:pPr>
            <a:r>
              <a:rPr kumimoji="1" lang="ja" sz="800" dirty="0"/>
              <a:t>健康情報</a:t>
            </a:r>
            <a:endParaRPr kumimoji="1" lang="en-US" sz="800" dirty="0"/>
          </a:p>
        </p:txBody>
      </p:sp>
      <p:sp>
        <p:nvSpPr>
          <p:cNvPr id="32" name="Rectangle 31">
            <a:extLst>
              <a:ext uri="{FF2B5EF4-FFF2-40B4-BE49-F238E27FC236}">
                <a16:creationId xmlns:a16="http://schemas.microsoft.com/office/drawing/2014/main" id="{1FE086E0-A106-7F05-50A5-0F3FA518608F}"/>
              </a:ext>
            </a:extLst>
          </p:cNvPr>
          <p:cNvSpPr/>
          <p:nvPr/>
        </p:nvSpPr>
        <p:spPr>
          <a:xfrm>
            <a:off x="5372458" y="3287239"/>
            <a:ext cx="4070438" cy="2411817"/>
          </a:xfrm>
          <a:prstGeom prst="rect">
            <a:avLst/>
          </a:prstGeom>
          <a:ln w="57150">
            <a:solidFill>
              <a:srgbClr val="FFDC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33" name="TextBox 32">
            <a:extLst>
              <a:ext uri="{FF2B5EF4-FFF2-40B4-BE49-F238E27FC236}">
                <a16:creationId xmlns:a16="http://schemas.microsoft.com/office/drawing/2014/main" id="{E286DB7C-44E5-A7DE-DD10-2FB267CC020E}"/>
              </a:ext>
            </a:extLst>
          </p:cNvPr>
          <p:cNvSpPr txBox="1"/>
          <p:nvPr/>
        </p:nvSpPr>
        <p:spPr>
          <a:xfrm>
            <a:off x="7085666" y="3692500"/>
            <a:ext cx="1080120" cy="209609"/>
          </a:xfrm>
          <a:prstGeom prst="rect">
            <a:avLst/>
          </a:prstGeom>
          <a:noFill/>
        </p:spPr>
        <p:txBody>
          <a:bodyPr wrap="square" rtlCol="0">
            <a:spAutoFit/>
          </a:bodyPr>
          <a:lstStyle/>
          <a:p>
            <a:pPr algn="ctr">
              <a:lnSpc>
                <a:spcPct val="120000"/>
              </a:lnSpc>
            </a:pPr>
            <a:r>
              <a:rPr kumimoji="1" lang="ja" sz="700" dirty="0"/>
              <a:t>実践者</a:t>
            </a:r>
            <a:endParaRPr kumimoji="1" lang="en-US" sz="700" dirty="0"/>
          </a:p>
        </p:txBody>
      </p:sp>
      <p:sp>
        <p:nvSpPr>
          <p:cNvPr id="34" name="TextBox 33">
            <a:extLst>
              <a:ext uri="{FF2B5EF4-FFF2-40B4-BE49-F238E27FC236}">
                <a16:creationId xmlns:a16="http://schemas.microsoft.com/office/drawing/2014/main" id="{63ED6765-1E0E-E0C5-4FF5-5274E588C875}"/>
              </a:ext>
            </a:extLst>
          </p:cNvPr>
          <p:cNvSpPr txBox="1"/>
          <p:nvPr/>
        </p:nvSpPr>
        <p:spPr>
          <a:xfrm>
            <a:off x="7085666" y="5489447"/>
            <a:ext cx="1080120" cy="209609"/>
          </a:xfrm>
          <a:prstGeom prst="rect">
            <a:avLst/>
          </a:prstGeom>
          <a:noFill/>
        </p:spPr>
        <p:txBody>
          <a:bodyPr wrap="square" rtlCol="0">
            <a:spAutoFit/>
          </a:bodyPr>
          <a:lstStyle/>
          <a:p>
            <a:pPr algn="ctr">
              <a:lnSpc>
                <a:spcPct val="120000"/>
              </a:lnSpc>
            </a:pPr>
            <a:r>
              <a:rPr kumimoji="1" lang="ja" sz="700" dirty="0"/>
              <a:t>老人ホーム</a:t>
            </a:r>
            <a:endParaRPr kumimoji="1" lang="en-US" sz="700" dirty="0"/>
          </a:p>
        </p:txBody>
      </p:sp>
      <p:sp>
        <p:nvSpPr>
          <p:cNvPr id="35" name="TextBox 34">
            <a:extLst>
              <a:ext uri="{FF2B5EF4-FFF2-40B4-BE49-F238E27FC236}">
                <a16:creationId xmlns:a16="http://schemas.microsoft.com/office/drawing/2014/main" id="{1F4E4AE9-48F0-3422-72C5-5A57D7230DC4}"/>
              </a:ext>
            </a:extLst>
          </p:cNvPr>
          <p:cNvSpPr txBox="1"/>
          <p:nvPr/>
        </p:nvSpPr>
        <p:spPr>
          <a:xfrm>
            <a:off x="6765968" y="4601308"/>
            <a:ext cx="1080120" cy="209609"/>
          </a:xfrm>
          <a:prstGeom prst="rect">
            <a:avLst/>
          </a:prstGeom>
          <a:noFill/>
        </p:spPr>
        <p:txBody>
          <a:bodyPr wrap="square" rtlCol="0">
            <a:spAutoFit/>
          </a:bodyPr>
          <a:lstStyle/>
          <a:p>
            <a:pPr algn="ctr">
              <a:lnSpc>
                <a:spcPct val="120000"/>
              </a:lnSpc>
            </a:pPr>
            <a:r>
              <a:rPr kumimoji="1" lang="ja" sz="700" dirty="0"/>
              <a:t>病院</a:t>
            </a:r>
            <a:endParaRPr kumimoji="1" lang="en-US" sz="700" dirty="0"/>
          </a:p>
        </p:txBody>
      </p:sp>
      <p:sp>
        <p:nvSpPr>
          <p:cNvPr id="36" name="TextBox 35">
            <a:extLst>
              <a:ext uri="{FF2B5EF4-FFF2-40B4-BE49-F238E27FC236}">
                <a16:creationId xmlns:a16="http://schemas.microsoft.com/office/drawing/2014/main" id="{A29A3988-E5A6-3852-F20E-F3555821EFF1}"/>
              </a:ext>
            </a:extLst>
          </p:cNvPr>
          <p:cNvSpPr txBox="1"/>
          <p:nvPr/>
        </p:nvSpPr>
        <p:spPr>
          <a:xfrm>
            <a:off x="5354528" y="4611023"/>
            <a:ext cx="751516" cy="209609"/>
          </a:xfrm>
          <a:prstGeom prst="rect">
            <a:avLst/>
          </a:prstGeom>
          <a:noFill/>
        </p:spPr>
        <p:txBody>
          <a:bodyPr wrap="square" rtlCol="0">
            <a:spAutoFit/>
          </a:bodyPr>
          <a:lstStyle/>
          <a:p>
            <a:pPr algn="ctr">
              <a:lnSpc>
                <a:spcPct val="120000"/>
              </a:lnSpc>
            </a:pPr>
            <a:r>
              <a:rPr kumimoji="1" lang="ja" sz="700" dirty="0"/>
              <a:t>忍耐強い</a:t>
            </a:r>
            <a:endParaRPr kumimoji="1" lang="en-US" sz="700" dirty="0"/>
          </a:p>
        </p:txBody>
      </p:sp>
      <p:sp>
        <p:nvSpPr>
          <p:cNvPr id="37" name="TextBox 36">
            <a:extLst>
              <a:ext uri="{FF2B5EF4-FFF2-40B4-BE49-F238E27FC236}">
                <a16:creationId xmlns:a16="http://schemas.microsoft.com/office/drawing/2014/main" id="{9B498B08-5A4D-91B7-A5DE-48523A3460CD}"/>
              </a:ext>
            </a:extLst>
          </p:cNvPr>
          <p:cNvSpPr txBox="1"/>
          <p:nvPr/>
        </p:nvSpPr>
        <p:spPr>
          <a:xfrm>
            <a:off x="5783547" y="5705873"/>
            <a:ext cx="3456619" cy="259879"/>
          </a:xfrm>
          <a:prstGeom prst="rect">
            <a:avLst/>
          </a:prstGeom>
          <a:noFill/>
        </p:spPr>
        <p:txBody>
          <a:bodyPr wrap="square" rtlCol="0">
            <a:spAutoFit/>
          </a:bodyPr>
          <a:lstStyle/>
          <a:p>
            <a:pPr algn="ctr">
              <a:lnSpc>
                <a:spcPct val="120000"/>
              </a:lnSpc>
            </a:pPr>
            <a:r>
              <a:rPr kumimoji="1" lang="ja" sz="1000" i="1" dirty="0"/>
              <a:t>サイバーセキュリティとデータセキュリティ対策によって保護されています</a:t>
            </a:r>
            <a:endParaRPr kumimoji="1" lang="en-US" sz="1000" i="1" dirty="0"/>
          </a:p>
        </p:txBody>
      </p:sp>
      <p:sp>
        <p:nvSpPr>
          <p:cNvPr id="38" name="TextBox 37">
            <a:extLst>
              <a:ext uri="{FF2B5EF4-FFF2-40B4-BE49-F238E27FC236}">
                <a16:creationId xmlns:a16="http://schemas.microsoft.com/office/drawing/2014/main" id="{C9CD9000-4674-468A-4428-33CEE6DB4DA0}"/>
              </a:ext>
            </a:extLst>
          </p:cNvPr>
          <p:cNvSpPr txBox="1"/>
          <p:nvPr/>
        </p:nvSpPr>
        <p:spPr>
          <a:xfrm>
            <a:off x="8707903" y="4281411"/>
            <a:ext cx="635655" cy="259879"/>
          </a:xfrm>
          <a:prstGeom prst="rect">
            <a:avLst/>
          </a:prstGeom>
          <a:noFill/>
        </p:spPr>
        <p:txBody>
          <a:bodyPr wrap="square" rtlCol="0">
            <a:spAutoFit/>
          </a:bodyPr>
          <a:lstStyle/>
          <a:p>
            <a:pPr algn="l">
              <a:lnSpc>
                <a:spcPct val="120000"/>
              </a:lnSpc>
            </a:pPr>
            <a:r>
              <a:rPr lang="en-US" altLang="ja-JP" sz="1000" b="1" dirty="0"/>
              <a:t>NHER</a:t>
            </a:r>
            <a:endParaRPr kumimoji="1" lang="en-US" sz="1000" b="1" dirty="0"/>
          </a:p>
        </p:txBody>
      </p:sp>
      <p:grpSp>
        <p:nvGrpSpPr>
          <p:cNvPr id="39" name="Group 38">
            <a:extLst>
              <a:ext uri="{FF2B5EF4-FFF2-40B4-BE49-F238E27FC236}">
                <a16:creationId xmlns:a16="http://schemas.microsoft.com/office/drawing/2014/main" id="{507581B4-4D39-BF07-78C3-41BFC875097C}"/>
              </a:ext>
            </a:extLst>
          </p:cNvPr>
          <p:cNvGrpSpPr/>
          <p:nvPr/>
        </p:nvGrpSpPr>
        <p:grpSpPr>
          <a:xfrm>
            <a:off x="5372458" y="2842893"/>
            <a:ext cx="1308734" cy="226409"/>
            <a:chOff x="7876951" y="2988008"/>
            <a:chExt cx="1308734" cy="226409"/>
          </a:xfrm>
        </p:grpSpPr>
        <p:cxnSp>
          <p:nvCxnSpPr>
            <p:cNvPr id="40" name="Straight Arrow Connector 39">
              <a:extLst>
                <a:ext uri="{FF2B5EF4-FFF2-40B4-BE49-F238E27FC236}">
                  <a16:creationId xmlns:a16="http://schemas.microsoft.com/office/drawing/2014/main" id="{F9C4370A-D64D-972D-A44F-9EDD9D4DBAA6}"/>
                </a:ext>
              </a:extLst>
            </p:cNvPr>
            <p:cNvCxnSpPr>
              <a:cxnSpLocks/>
            </p:cNvCxnSpPr>
            <p:nvPr/>
          </p:nvCxnSpPr>
          <p:spPr>
            <a:xfrm>
              <a:off x="7876951" y="3101213"/>
              <a:ext cx="422325"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8557B87-D41A-2CD9-8139-9AB95AA6BA1B}"/>
                </a:ext>
              </a:extLst>
            </p:cNvPr>
            <p:cNvSpPr txBox="1"/>
            <p:nvPr/>
          </p:nvSpPr>
          <p:spPr>
            <a:xfrm>
              <a:off x="8259110" y="2988008"/>
              <a:ext cx="926575" cy="226409"/>
            </a:xfrm>
            <a:prstGeom prst="rect">
              <a:avLst/>
            </a:prstGeom>
            <a:noFill/>
          </p:spPr>
          <p:txBody>
            <a:bodyPr wrap="square" rtlCol="0">
              <a:spAutoFit/>
            </a:bodyPr>
            <a:lstStyle/>
            <a:p>
              <a:pPr algn="l">
                <a:lnSpc>
                  <a:spcPct val="120000"/>
                </a:lnSpc>
              </a:pPr>
              <a:r>
                <a:rPr kumimoji="1" lang="ja" sz="800" dirty="0"/>
                <a:t>健康情報の貢献</a:t>
              </a:r>
              <a:endParaRPr kumimoji="1" lang="en-US" sz="800" dirty="0"/>
            </a:p>
          </p:txBody>
        </p:sp>
      </p:grpSp>
      <p:grpSp>
        <p:nvGrpSpPr>
          <p:cNvPr id="42" name="Group 41">
            <a:extLst>
              <a:ext uri="{FF2B5EF4-FFF2-40B4-BE49-F238E27FC236}">
                <a16:creationId xmlns:a16="http://schemas.microsoft.com/office/drawing/2014/main" id="{1F280B1F-B354-03B3-E1D9-25BD72138A0F}"/>
              </a:ext>
            </a:extLst>
          </p:cNvPr>
          <p:cNvGrpSpPr/>
          <p:nvPr/>
        </p:nvGrpSpPr>
        <p:grpSpPr>
          <a:xfrm>
            <a:off x="6955310" y="2842893"/>
            <a:ext cx="1309561" cy="226409"/>
            <a:chOff x="7887528" y="3193559"/>
            <a:chExt cx="1309561" cy="226409"/>
          </a:xfrm>
        </p:grpSpPr>
        <p:sp>
          <p:nvSpPr>
            <p:cNvPr id="43" name="TextBox 42">
              <a:extLst>
                <a:ext uri="{FF2B5EF4-FFF2-40B4-BE49-F238E27FC236}">
                  <a16:creationId xmlns:a16="http://schemas.microsoft.com/office/drawing/2014/main" id="{865B7FDC-71C3-7819-6B6F-430BE62B5FDF}"/>
                </a:ext>
              </a:extLst>
            </p:cNvPr>
            <p:cNvSpPr txBox="1"/>
            <p:nvPr/>
          </p:nvSpPr>
          <p:spPr>
            <a:xfrm>
              <a:off x="8270513" y="3193559"/>
              <a:ext cx="926576" cy="226409"/>
            </a:xfrm>
            <a:prstGeom prst="rect">
              <a:avLst/>
            </a:prstGeom>
            <a:noFill/>
          </p:spPr>
          <p:txBody>
            <a:bodyPr wrap="square" rtlCol="0">
              <a:spAutoFit/>
            </a:bodyPr>
            <a:lstStyle/>
            <a:p>
              <a:pPr algn="l">
                <a:lnSpc>
                  <a:spcPct val="120000"/>
                </a:lnSpc>
              </a:pPr>
              <a:r>
                <a:rPr kumimoji="1" lang="ja" sz="800" dirty="0"/>
                <a:t>健康情報の共有</a:t>
              </a:r>
              <a:endParaRPr kumimoji="1" lang="en-US" sz="800" dirty="0"/>
            </a:p>
          </p:txBody>
        </p:sp>
        <p:cxnSp>
          <p:nvCxnSpPr>
            <p:cNvPr id="44" name="Straight Arrow Connector 43">
              <a:extLst>
                <a:ext uri="{FF2B5EF4-FFF2-40B4-BE49-F238E27FC236}">
                  <a16:creationId xmlns:a16="http://schemas.microsoft.com/office/drawing/2014/main" id="{21593236-A5EA-2A7F-1615-E28E0939E4E4}"/>
                </a:ext>
              </a:extLst>
            </p:cNvPr>
            <p:cNvCxnSpPr/>
            <p:nvPr/>
          </p:nvCxnSpPr>
          <p:spPr>
            <a:xfrm>
              <a:off x="7887528" y="3311949"/>
              <a:ext cx="421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3BF4E557-22B8-AA43-2046-93CAD088EF8B}"/>
              </a:ext>
            </a:extLst>
          </p:cNvPr>
          <p:cNvGrpSpPr/>
          <p:nvPr/>
        </p:nvGrpSpPr>
        <p:grpSpPr>
          <a:xfrm>
            <a:off x="8538989" y="2842893"/>
            <a:ext cx="973482" cy="226409"/>
            <a:chOff x="7887528" y="3381775"/>
            <a:chExt cx="973482" cy="226409"/>
          </a:xfrm>
        </p:grpSpPr>
        <p:sp>
          <p:nvSpPr>
            <p:cNvPr id="46" name="TextBox 45">
              <a:extLst>
                <a:ext uri="{FF2B5EF4-FFF2-40B4-BE49-F238E27FC236}">
                  <a16:creationId xmlns:a16="http://schemas.microsoft.com/office/drawing/2014/main" id="{9108BF39-9BBB-6B01-9BF2-9604A84C66AC}"/>
                </a:ext>
              </a:extLst>
            </p:cNvPr>
            <p:cNvSpPr txBox="1"/>
            <p:nvPr/>
          </p:nvSpPr>
          <p:spPr>
            <a:xfrm>
              <a:off x="8270512" y="3381775"/>
              <a:ext cx="590498" cy="226409"/>
            </a:xfrm>
            <a:prstGeom prst="rect">
              <a:avLst/>
            </a:prstGeom>
            <a:noFill/>
          </p:spPr>
          <p:txBody>
            <a:bodyPr wrap="square" rtlCol="0">
              <a:spAutoFit/>
            </a:bodyPr>
            <a:lstStyle/>
            <a:p>
              <a:pPr algn="l">
                <a:lnSpc>
                  <a:spcPct val="120000"/>
                </a:lnSpc>
              </a:pPr>
              <a:r>
                <a:rPr kumimoji="1" lang="ja" sz="800" dirty="0"/>
                <a:t>健康情報</a:t>
              </a:r>
              <a:endParaRPr kumimoji="1" lang="en-US" sz="800" dirty="0"/>
            </a:p>
          </p:txBody>
        </p:sp>
        <p:cxnSp>
          <p:nvCxnSpPr>
            <p:cNvPr id="47" name="Straight Arrow Connector 46">
              <a:extLst>
                <a:ext uri="{FF2B5EF4-FFF2-40B4-BE49-F238E27FC236}">
                  <a16:creationId xmlns:a16="http://schemas.microsoft.com/office/drawing/2014/main" id="{44696628-6AB8-8365-A031-F58BE8098F9D}"/>
                </a:ext>
              </a:extLst>
            </p:cNvPr>
            <p:cNvCxnSpPr/>
            <p:nvPr/>
          </p:nvCxnSpPr>
          <p:spPr>
            <a:xfrm>
              <a:off x="7887528" y="3493866"/>
              <a:ext cx="421200" cy="0"/>
            </a:xfrm>
            <a:prstGeom prst="straightConnector1">
              <a:avLst/>
            </a:prstGeom>
            <a:ln w="1905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48" name="表 8">
            <a:extLst>
              <a:ext uri="{FF2B5EF4-FFF2-40B4-BE49-F238E27FC236}">
                <a16:creationId xmlns:a16="http://schemas.microsoft.com/office/drawing/2014/main" id="{BAFF72C0-231D-45B5-A17E-305242D490C7}"/>
              </a:ext>
            </a:extLst>
          </p:cNvPr>
          <p:cNvGraphicFramePr>
            <a:graphicFrameLocks noGrp="1"/>
          </p:cNvGraphicFramePr>
          <p:nvPr>
            <p:extLst>
              <p:ext uri="{D42A27DB-BD31-4B8C-83A1-F6EECF244321}">
                <p14:modId xmlns:p14="http://schemas.microsoft.com/office/powerpoint/2010/main" val="197988358"/>
              </p:ext>
            </p:extLst>
          </p:nvPr>
        </p:nvGraphicFramePr>
        <p:xfrm>
          <a:off x="199577" y="4715273"/>
          <a:ext cx="4572039" cy="1645920"/>
        </p:xfrm>
        <a:graphic>
          <a:graphicData uri="http://schemas.openxmlformats.org/drawingml/2006/table">
            <a:tbl>
              <a:tblPr firstRow="1" bandRow="1">
                <a:tableStyleId>{5C22544A-7EE6-4342-B048-85BDC9FD1C3A}</a:tableStyleId>
              </a:tblPr>
              <a:tblGrid>
                <a:gridCol w="288927">
                  <a:extLst>
                    <a:ext uri="{9D8B030D-6E8A-4147-A177-3AD203B41FA5}">
                      <a16:colId xmlns:a16="http://schemas.microsoft.com/office/drawing/2014/main" val="20000"/>
                    </a:ext>
                  </a:extLst>
                </a:gridCol>
                <a:gridCol w="4283112">
                  <a:extLst>
                    <a:ext uri="{9D8B030D-6E8A-4147-A177-3AD203B41FA5}">
                      <a16:colId xmlns:a16="http://schemas.microsoft.com/office/drawing/2014/main" val="20001"/>
                    </a:ext>
                  </a:extLst>
                </a:gridCol>
              </a:tblGrid>
              <a:tr h="0">
                <a:tc>
                  <a:txBody>
                    <a:bodyPr/>
                    <a:lstStyle/>
                    <a:p>
                      <a:pPr algn="ctr"/>
                      <a:r>
                        <a:rPr lang="ja" sz="1000" b="1" dirty="0">
                          <a:solidFill>
                            <a:schemeClr val="accent1"/>
                          </a:solidFill>
                        </a:rPr>
                        <a:t>①</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民間クリニック、臨床検査室、放射線サービス、そして小売薬局の免許保有者を含む、すべての認可医療提供者に対し、NEHRへの特定の医療情報の提供を義務付け</a:t>
                      </a:r>
                      <a:r>
                        <a:rPr lang="ja-JP" altLang="en-US" sz="1000" b="0" dirty="0">
                          <a:solidFill>
                            <a:schemeClr val="tx1"/>
                          </a:solidFill>
                        </a:rPr>
                        <a:t>る</a:t>
                      </a:r>
                      <a:r>
                        <a:rPr lang="ja" sz="1000" b="0" dirty="0">
                          <a:solidFill>
                            <a:schemeClr val="tx1"/>
                          </a:solidFill>
                        </a:rPr>
                        <a:t>。これらの提供者には、ケアの継続性向上と患者の福祉確保を支援するため、NEHRへのアクセスも付与され</a:t>
                      </a:r>
                      <a:r>
                        <a:rPr lang="ja-JP" altLang="en-US" sz="1000" b="0" dirty="0">
                          <a:solidFill>
                            <a:schemeClr val="tx1"/>
                          </a:solidFill>
                        </a:rPr>
                        <a:t>る</a:t>
                      </a:r>
                      <a:r>
                        <a:rPr lang="ja" sz="1000" b="0" dirty="0">
                          <a:solidFill>
                            <a:schemeClr val="tx1"/>
                          </a:solidFill>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86091184"/>
                  </a:ext>
                </a:extLst>
              </a:tr>
              <a:tr h="0">
                <a:tc>
                  <a:txBody>
                    <a:bodyPr/>
                    <a:lstStyle/>
                    <a:p>
                      <a:pPr algn="ctr"/>
                      <a:r>
                        <a:rPr lang="ja" sz="1000" b="1" dirty="0">
                          <a:solidFill>
                            <a:schemeClr val="accent1"/>
                          </a:solidFill>
                        </a:rPr>
                        <a:t>②</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kern="1200" dirty="0">
                          <a:solidFill>
                            <a:schemeClr val="tx1"/>
                          </a:solidFill>
                          <a:effectLst/>
                          <a:latin typeface="+mn-lt"/>
                          <a:ea typeface="+mn-ea"/>
                          <a:cs typeface="+mn-cs"/>
                        </a:rPr>
                        <a:t>国家の健康プログラムおよび取り組みをサポートするために、医療エコシステム内で NEHR 以外の個人識別可能な健康情報の共有を可能にし、規制</a:t>
                      </a:r>
                      <a:r>
                        <a:rPr kumimoji="1" lang="ja-JP" altLang="en-US" sz="1000" b="0" i="0" kern="1200" dirty="0">
                          <a:solidFill>
                            <a:schemeClr val="tx1"/>
                          </a:solidFill>
                          <a:effectLst/>
                          <a:latin typeface="+mn-lt"/>
                          <a:ea typeface="+mn-ea"/>
                          <a:cs typeface="+mn-cs"/>
                        </a:rPr>
                        <a:t>する</a:t>
                      </a:r>
                      <a:r>
                        <a:rPr kumimoji="1" lang="ja" sz="1000" b="0" i="0" kern="1200" dirty="0">
                          <a:solidFill>
                            <a:schemeClr val="tx1"/>
                          </a:solidFill>
                          <a:effectLst/>
                          <a:latin typeface="+mn-lt"/>
                          <a:ea typeface="+mn-ea"/>
                          <a:cs typeface="+mn-cs"/>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3634825"/>
                  </a:ext>
                </a:extLst>
              </a:tr>
              <a:tr h="0">
                <a:tc>
                  <a:txBody>
                    <a:bodyPr/>
                    <a:lstStyle/>
                    <a:p>
                      <a:pPr algn="ctr"/>
                      <a:r>
                        <a:rPr lang="ja" sz="1000" b="1" dirty="0">
                          <a:solidFill>
                            <a:schemeClr val="accent1"/>
                          </a:solidFill>
                        </a:rPr>
                        <a:t>③</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 sz="1000" b="0" dirty="0">
                          <a:solidFill>
                            <a:schemeClr val="tx1"/>
                          </a:solidFill>
                        </a:rPr>
                        <a:t>健康情報の機密性、完全性、可用性を確保するため、HIA は医療提供者と健康情報管理システム (HIMS) 向けのサイバーセキュリティとデータセキュリティの標準を定め</a:t>
                      </a:r>
                      <a:r>
                        <a:rPr lang="ja-JP" altLang="en-US" sz="1000" b="0" dirty="0">
                          <a:solidFill>
                            <a:schemeClr val="tx1"/>
                          </a:solidFill>
                        </a:rPr>
                        <a:t>る</a:t>
                      </a:r>
                      <a:r>
                        <a:rPr lang="ja" sz="1000" b="0" dirty="0">
                          <a:solidFill>
                            <a:schemeClr val="tx1"/>
                          </a:solidFill>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1818236"/>
                  </a:ext>
                </a:extLst>
              </a:tr>
            </a:tbl>
          </a:graphicData>
        </a:graphic>
      </p:graphicFrame>
    </p:spTree>
    <p:extLst>
      <p:ext uri="{BB962C8B-B14F-4D97-AF65-F5344CB8AC3E}">
        <p14:creationId xmlns:p14="http://schemas.microsoft.com/office/powerpoint/2010/main" val="1618378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044A9-7BF7-FE2A-7C76-EBF108871B15}"/>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7A4C59-1446-E0BD-0CCA-4D352921DF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0EC0DD65-49F9-04DB-7803-C1AFB2555A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029DA4-A90B-1D7A-524E-9B5635223A6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C1439AD4-CE10-2DA1-4589-63FD55ABF18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6E620797-E92C-CA3C-A38E-272C4AB553A3}"/>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健康情報法（</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HIA</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6</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テキスト ボックス 14">
            <a:extLst>
              <a:ext uri="{FF2B5EF4-FFF2-40B4-BE49-F238E27FC236}">
                <a16:creationId xmlns:a16="http://schemas.microsoft.com/office/drawing/2014/main" id="{C6712C6A-3AEA-60E2-126D-26B27546D29B}"/>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ニュース記事</a:t>
            </a:r>
          </a:p>
        </p:txBody>
      </p:sp>
      <p:grpSp>
        <p:nvGrpSpPr>
          <p:cNvPr id="4" name="Group 3">
            <a:extLst>
              <a:ext uri="{FF2B5EF4-FFF2-40B4-BE49-F238E27FC236}">
                <a16:creationId xmlns:a16="http://schemas.microsoft.com/office/drawing/2014/main" id="{FEDB7C3F-7CEC-F5A0-4A47-859D4EFD0556}"/>
              </a:ext>
            </a:extLst>
          </p:cNvPr>
          <p:cNvGrpSpPr/>
          <p:nvPr/>
        </p:nvGrpSpPr>
        <p:grpSpPr>
          <a:xfrm>
            <a:off x="201975" y="1586656"/>
            <a:ext cx="9508567" cy="4491580"/>
            <a:chOff x="201975" y="1853508"/>
            <a:chExt cx="9508567" cy="4491580"/>
          </a:xfrm>
        </p:grpSpPr>
        <p:grpSp>
          <p:nvGrpSpPr>
            <p:cNvPr id="11" name="Group 10">
              <a:extLst>
                <a:ext uri="{FF2B5EF4-FFF2-40B4-BE49-F238E27FC236}">
                  <a16:creationId xmlns:a16="http://schemas.microsoft.com/office/drawing/2014/main" id="{8A122DA3-7DC6-351F-99BA-68FDD50AE91F}"/>
                </a:ext>
              </a:extLst>
            </p:cNvPr>
            <p:cNvGrpSpPr/>
            <p:nvPr/>
          </p:nvGrpSpPr>
          <p:grpSpPr>
            <a:xfrm>
              <a:off x="201975" y="1853508"/>
              <a:ext cx="4602918" cy="2124000"/>
              <a:chOff x="201975" y="1853508"/>
              <a:chExt cx="4602918" cy="2124000"/>
            </a:xfrm>
          </p:grpSpPr>
          <p:grpSp>
            <p:nvGrpSpPr>
              <p:cNvPr id="67" name="Group 66">
                <a:extLst>
                  <a:ext uri="{FF2B5EF4-FFF2-40B4-BE49-F238E27FC236}">
                    <a16:creationId xmlns:a16="http://schemas.microsoft.com/office/drawing/2014/main" id="{378F4FB6-7AE3-48B4-4F94-C34AE2514DEB}"/>
                  </a:ext>
                </a:extLst>
              </p:cNvPr>
              <p:cNvGrpSpPr/>
              <p:nvPr/>
            </p:nvGrpSpPr>
            <p:grpSpPr>
              <a:xfrm>
                <a:off x="201975" y="1853508"/>
                <a:ext cx="4593994" cy="2124000"/>
                <a:chOff x="201975" y="1853508"/>
                <a:chExt cx="4593994" cy="2124000"/>
              </a:xfrm>
            </p:grpSpPr>
            <p:sp>
              <p:nvSpPr>
                <p:cNvPr id="69" name="Rectangle 68">
                  <a:extLst>
                    <a:ext uri="{FF2B5EF4-FFF2-40B4-BE49-F238E27FC236}">
                      <a16:creationId xmlns:a16="http://schemas.microsoft.com/office/drawing/2014/main" id="{E6C62FA7-39BF-A9C2-59F8-F08DBA7DEA37}"/>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70" name="TextBox 69">
                  <a:extLst>
                    <a:ext uri="{FF2B5EF4-FFF2-40B4-BE49-F238E27FC236}">
                      <a16:creationId xmlns:a16="http://schemas.microsoft.com/office/drawing/2014/main" id="{CA294F3B-F7E2-1376-4800-4AE0E971A5E8}"/>
                    </a:ext>
                  </a:extLst>
                </p:cNvPr>
                <p:cNvSpPr txBox="1"/>
                <p:nvPr/>
              </p:nvSpPr>
              <p:spPr>
                <a:xfrm>
                  <a:off x="201975" y="1921039"/>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① 健康情報へのアクセス</a:t>
                  </a:r>
                </a:p>
              </p:txBody>
            </p:sp>
            <p:cxnSp>
              <p:nvCxnSpPr>
                <p:cNvPr id="71" name="Straight Connector 70">
                  <a:extLst>
                    <a:ext uri="{FF2B5EF4-FFF2-40B4-BE49-F238E27FC236}">
                      <a16:creationId xmlns:a16="http://schemas.microsoft.com/office/drawing/2014/main" id="{F42181B7-2B1A-CAE5-3B4B-88DCF95C156C}"/>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8" name="TextBox 67">
                <a:extLst>
                  <a:ext uri="{FF2B5EF4-FFF2-40B4-BE49-F238E27FC236}">
                    <a16:creationId xmlns:a16="http://schemas.microsoft.com/office/drawing/2014/main" id="{8137EEB2-9027-301D-82C0-5B69E6BC8D79}"/>
                  </a:ext>
                </a:extLst>
              </p:cNvPr>
              <p:cNvSpPr txBox="1"/>
              <p:nvPr/>
            </p:nvSpPr>
            <p:spPr>
              <a:xfrm>
                <a:off x="210900" y="2223914"/>
                <a:ext cx="4593993" cy="139217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NEHR にアクセスできるのは、直接的な患者ケアのため、またはその他の法令で義務付けられている場合、許可された医療専門家のみ。</a:t>
                </a:r>
              </a:p>
              <a:p>
                <a:pPr marL="171450" lvl="0" indent="-171450">
                  <a:lnSpc>
                    <a:spcPct val="120000"/>
                  </a:lnSpc>
                  <a:spcAft>
                    <a:spcPts val="100"/>
                  </a:spcAft>
                  <a:buFont typeface="Arial" panose="020B0604020202020204" pitchFamily="34" charset="0"/>
                  <a:buChar char="•"/>
                  <a:defRPr/>
                </a:pPr>
                <a:r>
                  <a:rPr lang="ja" sz="1000" dirty="0"/>
                  <a:t>医療従事者は</a:t>
                </a:r>
                <a:r>
                  <a:rPr lang="ja" sz="1000" b="1" dirty="0"/>
                  <a:t>雇用や保険の目的</a:t>
                </a:r>
                <a:r>
                  <a:rPr lang="ja" sz="1000" dirty="0"/>
                  <a:t>で</a:t>
                </a:r>
                <a:r>
                  <a:rPr lang="ja" sz="1000" b="1" dirty="0"/>
                  <a:t>NEHR にアクセスしてはならず</a:t>
                </a:r>
                <a:r>
                  <a:rPr lang="ja" sz="1000" dirty="0"/>
                  <a:t>、また</a:t>
                </a:r>
                <a:r>
                  <a:rPr lang="ja" sz="1000" b="1" dirty="0"/>
                  <a:t>医療に関与していない者は</a:t>
                </a:r>
                <a:r>
                  <a:rPr lang="ja" sz="1000" dirty="0"/>
                  <a:t>記録にアクセスしてはな</a:t>
                </a:r>
                <a:r>
                  <a:rPr lang="ja-JP" altLang="en-US" sz="1000" dirty="0"/>
                  <a:t>らない</a:t>
                </a:r>
                <a:r>
                  <a:rPr lang="ja" sz="1000" dirty="0"/>
                  <a:t>。</a:t>
                </a:r>
              </a:p>
              <a:p>
                <a:pPr marL="171450" lvl="0" indent="-171450">
                  <a:lnSpc>
                    <a:spcPct val="120000"/>
                  </a:lnSpc>
                  <a:spcAft>
                    <a:spcPts val="100"/>
                  </a:spcAft>
                  <a:buFont typeface="Arial" panose="020B0604020202020204" pitchFamily="34" charset="0"/>
                  <a:buChar char="•"/>
                  <a:defRPr/>
                </a:pPr>
                <a:r>
                  <a:rPr lang="ja" sz="1000" dirty="0"/>
                  <a:t>個人は、 </a:t>
                </a:r>
                <a:r>
                  <a:rPr lang="ja" sz="1000" b="1" dirty="0"/>
                  <a:t>NEHR アクセス履歴セクション</a:t>
                </a:r>
                <a:r>
                  <a:rPr lang="ja" sz="1000" dirty="0"/>
                  <a:t>を通じて</a:t>
                </a:r>
                <a:r>
                  <a:rPr lang="ja" sz="1000" b="1" dirty="0"/>
                  <a:t>自分の情報にアクセスしたユーザーを確認し</a:t>
                </a:r>
                <a:r>
                  <a:rPr lang="ja" sz="1000" dirty="0"/>
                  <a:t>、疑わしいアクティビティがあれば NEHR システム オペレーターに報告することができ</a:t>
                </a:r>
                <a:r>
                  <a:rPr lang="ja-JP" altLang="en-US" sz="1000" dirty="0"/>
                  <a:t>る</a:t>
                </a:r>
                <a:r>
                  <a:rPr lang="ja" sz="1000" dirty="0"/>
                  <a:t>。</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49" name="Group 48">
              <a:extLst>
                <a:ext uri="{FF2B5EF4-FFF2-40B4-BE49-F238E27FC236}">
                  <a16:creationId xmlns:a16="http://schemas.microsoft.com/office/drawing/2014/main" id="{30F9D5B0-023E-8400-3105-C6D06409590C}"/>
                </a:ext>
              </a:extLst>
            </p:cNvPr>
            <p:cNvGrpSpPr/>
            <p:nvPr/>
          </p:nvGrpSpPr>
          <p:grpSpPr>
            <a:xfrm>
              <a:off x="5107624" y="1853508"/>
              <a:ext cx="4602918" cy="2124000"/>
              <a:chOff x="201975" y="1853508"/>
              <a:chExt cx="4602918" cy="2124000"/>
            </a:xfrm>
          </p:grpSpPr>
          <p:grpSp>
            <p:nvGrpSpPr>
              <p:cNvPr id="62" name="Group 61">
                <a:extLst>
                  <a:ext uri="{FF2B5EF4-FFF2-40B4-BE49-F238E27FC236}">
                    <a16:creationId xmlns:a16="http://schemas.microsoft.com/office/drawing/2014/main" id="{13D285A2-F2F2-AC73-CB21-8F01FC2F3444}"/>
                  </a:ext>
                </a:extLst>
              </p:cNvPr>
              <p:cNvGrpSpPr/>
              <p:nvPr/>
            </p:nvGrpSpPr>
            <p:grpSpPr>
              <a:xfrm>
                <a:off x="201975" y="1853508"/>
                <a:ext cx="4593994" cy="2124000"/>
                <a:chOff x="201975" y="1853508"/>
                <a:chExt cx="4593994" cy="2124000"/>
              </a:xfrm>
            </p:grpSpPr>
            <p:sp>
              <p:nvSpPr>
                <p:cNvPr id="64" name="Rectangle 63">
                  <a:extLst>
                    <a:ext uri="{FF2B5EF4-FFF2-40B4-BE49-F238E27FC236}">
                      <a16:creationId xmlns:a16="http://schemas.microsoft.com/office/drawing/2014/main" id="{16CF6E5A-46BE-4DAA-813E-8B24F0518CFB}"/>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65" name="TextBox 64">
                  <a:extLst>
                    <a:ext uri="{FF2B5EF4-FFF2-40B4-BE49-F238E27FC236}">
                      <a16:creationId xmlns:a16="http://schemas.microsoft.com/office/drawing/2014/main" id="{E72576D1-A9D5-F8C2-D9E8-AF6434572497}"/>
                    </a:ext>
                  </a:extLst>
                </p:cNvPr>
                <p:cNvSpPr txBox="1"/>
                <p:nvPr/>
              </p:nvSpPr>
              <p:spPr>
                <a:xfrm>
                  <a:off x="201975" y="1921039"/>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② 健康情報への制限</a:t>
                  </a:r>
                </a:p>
              </p:txBody>
            </p:sp>
            <p:cxnSp>
              <p:nvCxnSpPr>
                <p:cNvPr id="66" name="Straight Connector 65">
                  <a:extLst>
                    <a:ext uri="{FF2B5EF4-FFF2-40B4-BE49-F238E27FC236}">
                      <a16:creationId xmlns:a16="http://schemas.microsoft.com/office/drawing/2014/main" id="{CFB2ECCF-D3C6-7069-6BDE-C648ACF5E211}"/>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E4A17996-948A-2DBC-DB15-EB55EC23E06B}"/>
                  </a:ext>
                </a:extLst>
              </p:cNvPr>
              <p:cNvSpPr txBox="1"/>
              <p:nvPr/>
            </p:nvSpPr>
            <p:spPr>
              <a:xfrm>
                <a:off x="210900" y="2223914"/>
                <a:ext cx="4593993" cy="157684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個人はNEHRへのアクセスを制限することができ、制限されると医療従事者はケア目的であってもアクセスしてはならない。</a:t>
                </a:r>
              </a:p>
              <a:p>
                <a:pPr marL="171450" lvl="0" indent="-171450">
                  <a:lnSpc>
                    <a:spcPct val="120000"/>
                  </a:lnSpc>
                  <a:spcAft>
                    <a:spcPts val="100"/>
                  </a:spcAft>
                  <a:buFont typeface="Arial" panose="020B0604020202020204" pitchFamily="34" charset="0"/>
                  <a:buChar char="•"/>
                  <a:defRPr/>
                </a:pPr>
                <a:r>
                  <a:rPr lang="ja" sz="1000" dirty="0"/>
                  <a:t>アクセス制限があっても、</a:t>
                </a:r>
                <a:r>
                  <a:rPr lang="ja" sz="1000" b="1" dirty="0"/>
                  <a:t>患者の安全を</a:t>
                </a:r>
                <a:r>
                  <a:rPr lang="ja" sz="1000" dirty="0"/>
                  <a:t>守るために</a:t>
                </a:r>
                <a:r>
                  <a:rPr lang="ja" sz="1000" b="1" dirty="0"/>
                  <a:t>基本的な必須健康情報</a:t>
                </a:r>
                <a:r>
                  <a:rPr lang="ja" sz="1000" dirty="0"/>
                  <a:t>（アレルギー、予防接種、主要な人口統計など）に</a:t>
                </a:r>
                <a:r>
                  <a:rPr lang="ja" sz="1000" b="1" dirty="0"/>
                  <a:t>は引き続きアクセスでき</a:t>
                </a:r>
                <a:r>
                  <a:rPr lang="ja" sz="1000" dirty="0"/>
                  <a:t>、</a:t>
                </a:r>
                <a:r>
                  <a:rPr lang="ja" sz="1000" b="1" dirty="0"/>
                  <a:t>医療上の緊急事態の場合にはアクセス制限を無効にすることができ</a:t>
                </a:r>
                <a:r>
                  <a:rPr lang="ja-JP" altLang="en-US" sz="1000" b="1" dirty="0"/>
                  <a:t>る</a:t>
                </a:r>
                <a:r>
                  <a:rPr lang="ja" sz="1000" dirty="0"/>
                  <a:t>。</a:t>
                </a:r>
              </a:p>
              <a:p>
                <a:pPr marL="171450" lvl="0" indent="-171450">
                  <a:lnSpc>
                    <a:spcPct val="120000"/>
                  </a:lnSpc>
                  <a:spcAft>
                    <a:spcPts val="100"/>
                  </a:spcAft>
                  <a:buFont typeface="Arial" panose="020B0604020202020204" pitchFamily="34" charset="0"/>
                  <a:buChar char="•"/>
                  <a:defRPr/>
                </a:pPr>
                <a:r>
                  <a:rPr lang="ja" sz="1000" b="1" dirty="0"/>
                  <a:t>MOH はアクセス制限の無効化を監査しており</a:t>
                </a:r>
                <a:r>
                  <a:rPr lang="ja" sz="1000" dirty="0"/>
                  <a:t>、 </a:t>
                </a:r>
                <a:r>
                  <a:rPr lang="ja" sz="1000" b="1" dirty="0"/>
                  <a:t>NEHR 情報に不適切にアクセスしたり無効化したりする医療従事者は、法的罰則や職務上の懲戒処分</a:t>
                </a:r>
                <a:r>
                  <a:rPr lang="ja" sz="1000" dirty="0"/>
                  <a:t>を受ける可能性があ</a:t>
                </a:r>
                <a:r>
                  <a:rPr lang="ja-JP" altLang="en-US" sz="1000" dirty="0"/>
                  <a:t>る</a:t>
                </a:r>
                <a:r>
                  <a:rPr lang="ja" sz="1000" dirty="0"/>
                  <a:t>。</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50" name="Group 49">
              <a:extLst>
                <a:ext uri="{FF2B5EF4-FFF2-40B4-BE49-F238E27FC236}">
                  <a16:creationId xmlns:a16="http://schemas.microsoft.com/office/drawing/2014/main" id="{725606BB-C3E6-381E-C5D0-7EC52CFEED13}"/>
                </a:ext>
              </a:extLst>
            </p:cNvPr>
            <p:cNvGrpSpPr/>
            <p:nvPr/>
          </p:nvGrpSpPr>
          <p:grpSpPr>
            <a:xfrm>
              <a:off x="201975" y="4221088"/>
              <a:ext cx="4602918" cy="2124000"/>
              <a:chOff x="201975" y="1853508"/>
              <a:chExt cx="4602918" cy="2124000"/>
            </a:xfrm>
          </p:grpSpPr>
          <p:grpSp>
            <p:nvGrpSpPr>
              <p:cNvPr id="57" name="Group 56">
                <a:extLst>
                  <a:ext uri="{FF2B5EF4-FFF2-40B4-BE49-F238E27FC236}">
                    <a16:creationId xmlns:a16="http://schemas.microsoft.com/office/drawing/2014/main" id="{55D83358-0A45-AEF7-0855-B9EB206F3952}"/>
                  </a:ext>
                </a:extLst>
              </p:cNvPr>
              <p:cNvGrpSpPr/>
              <p:nvPr/>
            </p:nvGrpSpPr>
            <p:grpSpPr>
              <a:xfrm>
                <a:off x="201975" y="1853508"/>
                <a:ext cx="4593994" cy="2124000"/>
                <a:chOff x="201975" y="1853508"/>
                <a:chExt cx="4593994" cy="2124000"/>
              </a:xfrm>
            </p:grpSpPr>
            <p:sp>
              <p:nvSpPr>
                <p:cNvPr id="59" name="Rectangle 58">
                  <a:extLst>
                    <a:ext uri="{FF2B5EF4-FFF2-40B4-BE49-F238E27FC236}">
                      <a16:creationId xmlns:a16="http://schemas.microsoft.com/office/drawing/2014/main" id="{71F70E83-F745-9464-AF01-6F18E453D1ED}"/>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60" name="TextBox 59">
                  <a:extLst>
                    <a:ext uri="{FF2B5EF4-FFF2-40B4-BE49-F238E27FC236}">
                      <a16:creationId xmlns:a16="http://schemas.microsoft.com/office/drawing/2014/main" id="{FF9D82AD-36AE-05F1-2A24-E1A08DBA1326}"/>
                    </a:ext>
                  </a:extLst>
                </p:cNvPr>
                <p:cNvSpPr txBox="1"/>
                <p:nvPr/>
              </p:nvSpPr>
              <p:spPr>
                <a:xfrm>
                  <a:off x="201975" y="1916644"/>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③ 健康情報の共有</a:t>
                  </a:r>
                </a:p>
              </p:txBody>
            </p:sp>
            <p:cxnSp>
              <p:nvCxnSpPr>
                <p:cNvPr id="61" name="Straight Connector 60">
                  <a:extLst>
                    <a:ext uri="{FF2B5EF4-FFF2-40B4-BE49-F238E27FC236}">
                      <a16:creationId xmlns:a16="http://schemas.microsoft.com/office/drawing/2014/main" id="{964B62F5-BB7D-0DD5-1EED-EFA9D3A53C51}"/>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F2A125BE-D2DE-9477-E627-E67B326DFF0E}"/>
                  </a:ext>
                </a:extLst>
              </p:cNvPr>
              <p:cNvSpPr txBox="1"/>
              <p:nvPr/>
            </p:nvSpPr>
            <p:spPr>
              <a:xfrm>
                <a:off x="210900" y="2219519"/>
                <a:ext cx="4593993" cy="14572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さまざまな環境や医療機関とコミュニティ パートナー間でのケアの共有と調整を促進するために、健康情報を共有するための法的根拠を提供</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す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健康情報は、HIA 要件が満たされている場合にのみ共有でき</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つまり、許可された関係者をリストし、ユースケースを指定する必要があり、リストされたユースケースに対して規定されたデータ タイプのみを共有で</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き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ガバナンス、サイバーセキュリティ、データセキュリティの保護策を導入し、保健省は健康情報の不正な共有を阻止でき</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p:txBody>
          </p:sp>
        </p:grpSp>
        <p:grpSp>
          <p:nvGrpSpPr>
            <p:cNvPr id="51" name="Group 50">
              <a:extLst>
                <a:ext uri="{FF2B5EF4-FFF2-40B4-BE49-F238E27FC236}">
                  <a16:creationId xmlns:a16="http://schemas.microsoft.com/office/drawing/2014/main" id="{7A0E40BC-5EF5-2250-F5F6-64305B3C11B7}"/>
                </a:ext>
              </a:extLst>
            </p:cNvPr>
            <p:cNvGrpSpPr/>
            <p:nvPr/>
          </p:nvGrpSpPr>
          <p:grpSpPr>
            <a:xfrm>
              <a:off x="5107624" y="4221088"/>
              <a:ext cx="4602918" cy="2124000"/>
              <a:chOff x="201975" y="1853508"/>
              <a:chExt cx="4602918" cy="2124000"/>
            </a:xfrm>
          </p:grpSpPr>
          <p:grpSp>
            <p:nvGrpSpPr>
              <p:cNvPr id="52" name="Group 51">
                <a:extLst>
                  <a:ext uri="{FF2B5EF4-FFF2-40B4-BE49-F238E27FC236}">
                    <a16:creationId xmlns:a16="http://schemas.microsoft.com/office/drawing/2014/main" id="{A99C4358-AB57-9DFF-2224-6456FE414CEE}"/>
                  </a:ext>
                </a:extLst>
              </p:cNvPr>
              <p:cNvGrpSpPr/>
              <p:nvPr/>
            </p:nvGrpSpPr>
            <p:grpSpPr>
              <a:xfrm>
                <a:off x="201975" y="1853508"/>
                <a:ext cx="4593994" cy="2124000"/>
                <a:chOff x="201975" y="1853508"/>
                <a:chExt cx="4593994" cy="2124000"/>
              </a:xfrm>
            </p:grpSpPr>
            <p:sp>
              <p:nvSpPr>
                <p:cNvPr id="54" name="Rectangle 53">
                  <a:extLst>
                    <a:ext uri="{FF2B5EF4-FFF2-40B4-BE49-F238E27FC236}">
                      <a16:creationId xmlns:a16="http://schemas.microsoft.com/office/drawing/2014/main" id="{90599769-51E8-3244-D846-778E1A0D0096}"/>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55" name="TextBox 54">
                  <a:extLst>
                    <a:ext uri="{FF2B5EF4-FFF2-40B4-BE49-F238E27FC236}">
                      <a16:creationId xmlns:a16="http://schemas.microsoft.com/office/drawing/2014/main" id="{A0A3AF4A-47F7-A899-1124-F4BBCF924338}"/>
                    </a:ext>
                  </a:extLst>
                </p:cNvPr>
                <p:cNvSpPr txBox="1"/>
                <p:nvPr/>
              </p:nvSpPr>
              <p:spPr>
                <a:xfrm>
                  <a:off x="201975" y="1916644"/>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④ 健康情報の保護</a:t>
                  </a:r>
                </a:p>
              </p:txBody>
            </p:sp>
            <p:cxnSp>
              <p:nvCxnSpPr>
                <p:cNvPr id="56" name="Straight Connector 55">
                  <a:extLst>
                    <a:ext uri="{FF2B5EF4-FFF2-40B4-BE49-F238E27FC236}">
                      <a16:creationId xmlns:a16="http://schemas.microsoft.com/office/drawing/2014/main" id="{EA95C5BE-A226-9926-224C-FA228D1CF6C2}"/>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1162D72C-2A59-FBFF-9643-AC4710A027EC}"/>
                  </a:ext>
                </a:extLst>
              </p:cNvPr>
              <p:cNvSpPr txBox="1"/>
              <p:nvPr/>
            </p:nvSpPr>
            <p:spPr>
              <a:xfrm>
                <a:off x="210900" y="2219519"/>
                <a:ext cx="4593993" cy="14572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医療提供者が NEHR に貢献またはアクセスしたり、HIA に基づいてデータを共有したりする場合のサイバーセキュリティとデータセキュリティの標準を</a:t>
                </a:r>
                <a:r>
                  <a:rPr lang="ja-JP" altLang="en-US" sz="1050" dirty="0">
                    <a:solidFill>
                      <a:srgbClr val="000000"/>
                    </a:solidFill>
                    <a:latin typeface="Yu Gothic UI"/>
                    <a:ea typeface="Yu Gothic UI"/>
                  </a:rPr>
                  <a:t>設定す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医療提供者は、サイバーセキュリティインシデントまたはデータ侵害を保健省に報告する義務があり、最初の報告は 2 時間以内に、詳細報告は 14 日以内に提出する必要があ</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義務的なインシデント報告により、保健省は対応を調整し、より大規模な脅威を検出し、患者の安全とプライバシーを保護することができ</a:t>
                </a:r>
                <a:r>
                  <a:rPr kumimoji="1" lang="ja-JP" altLang="en-US" sz="1050" b="0" i="0" u="none" strike="noStrike" kern="1200" cap="none" spc="0" normalizeH="0" baseline="0" noProof="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a:ln>
                      <a:noFill/>
                    </a:ln>
                    <a:solidFill>
                      <a:srgbClr val="000000"/>
                    </a:solidFill>
                    <a:effectLst/>
                    <a:uLnTx/>
                    <a:uFillTx/>
                    <a:latin typeface="Yu Gothic UI"/>
                    <a:ea typeface="Yu Gothic UI"/>
                    <a:cs typeface="+mn-cs"/>
                  </a:rPr>
                  <a:t>。</a:t>
                </a:r>
                <a:endParaRPr kumimoji="1" lang="ja" sz="105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spTree>
    <p:extLst>
      <p:ext uri="{BB962C8B-B14F-4D97-AF65-F5344CB8AC3E}">
        <p14:creationId xmlns:p14="http://schemas.microsoft.com/office/powerpoint/2010/main" val="1938283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025" y="1268760"/>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は必ずしも英語が堪能とは限らず、マレー語や中国語 （北京語）などが必要となる場面も多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1603479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344487" y="1144968"/>
            <a:ext cx="8928993" cy="42393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科大学もしくは米国のシステムに則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系大学院に入ることが必要となる。シンガポールの医科大学は教授陣や教育設備の質の高さから多くの留学生も集まる先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経て、シンガポール医療評議会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 Singapor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となる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研修医としての勤務が必要となるうえ、専門分野についての講義を受け、試験に合格しなくては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道を選んだ場合は、家庭医学を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修める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として開業することを希望する医師は、専門医認定委員会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B: the Specialists Accreditation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定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関連する専門分野に登録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認定の一般的基準：</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内容はシンガポールで認められている専門分野で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認定の申請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認められた訓練および大学院の資格を有していなければなら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され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者は、認定及び免許を受けた専門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を有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者は、修了した専門訓練が正式な訓練の課程であり、またフルタイムであることを確認し、専門の中間試験に合格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の認定を受けようとする申請者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年間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時間以上の専門診療を行うことにより、専門診療要件を満たす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B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149175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医師になるには、医科大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nyang Technologic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しくは医科大学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uke-NUS Medical Schoo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いずれかに入学する必要があり、毎年の入学者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程度とみられる。競争は熾烈で、バカロレア</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で高い成績を修めていることが求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収入面では、比較的高給が約束されているが、昨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系の職種のほうがさらに高給を提示され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専門医に比べて社会的地位が低く、激務にもかかわらず報酬が比較的低いということで不満を抱えているという調査結果も出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シンガポール労働省のホームページ</a:t>
            </a:r>
          </a:p>
        </p:txBody>
      </p:sp>
      <p:sp>
        <p:nvSpPr>
          <p:cNvPr id="10" name="テキスト ボックス 14">
            <a:extLst>
              <a:ext uri="{FF2B5EF4-FFF2-40B4-BE49-F238E27FC236}">
                <a16:creationId xmlns:a16="http://schemas.microsoft.com/office/drawing/2014/main" id="{B3D18B8D-DD6B-43F8-A7E6-6D50E6C08983}"/>
              </a:ext>
            </a:extLst>
          </p:cNvPr>
          <p:cNvSpPr txBox="1"/>
          <p:nvPr/>
        </p:nvSpPr>
        <p:spPr>
          <a:xfrm>
            <a:off x="200472" y="633670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800" dirty="0"/>
              <a:t> 国際バカロレア機構（本部ジュネーブ）が</a:t>
            </a:r>
            <a:r>
              <a:rPr lang="en-US" altLang="ja-JP" sz="800" dirty="0"/>
              <a:t>1968</a:t>
            </a:r>
            <a:r>
              <a:rPr lang="ja-JP" altLang="en-US" sz="800" dirty="0"/>
              <a:t>年から提供している国 際的な教育プログラム。 特に高校レベルの ディプロマ・プログラム（</a:t>
            </a:r>
            <a:r>
              <a:rPr lang="en-US" altLang="ja-JP" sz="800" dirty="0"/>
              <a:t>DP</a:t>
            </a:r>
            <a:r>
              <a:rPr lang="ja-JP" altLang="en-US" sz="800" dirty="0"/>
              <a:t>）では、国際的に通用する大学入学資格（</a:t>
            </a:r>
            <a:r>
              <a:rPr lang="en-US" altLang="ja-JP" sz="800" dirty="0"/>
              <a:t>IB</a:t>
            </a:r>
            <a:r>
              <a:rPr lang="ja-JP" altLang="en-US" sz="800" dirty="0"/>
              <a:t>資格）が取得可能。</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
            <a:extLst>
              <a:ext uri="{FF2B5EF4-FFF2-40B4-BE49-F238E27FC236}">
                <a16:creationId xmlns:a16="http://schemas.microsoft.com/office/drawing/2014/main" id="{48923A94-6A0C-9FD4-5CCA-C98634D59C7C}"/>
              </a:ext>
            </a:extLst>
          </p:cNvPr>
          <p:cNvSpPr txBox="1"/>
          <p:nvPr/>
        </p:nvSpPr>
        <p:spPr>
          <a:xfrm>
            <a:off x="416495" y="2918682"/>
            <a:ext cx="8928993" cy="10045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医療従事者の月収の中央値は以下の通り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医：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40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看護師およびその他の看護専門家：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814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9820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72480" y="1052736"/>
            <a:ext cx="8928993" cy="16642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シンガポール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Medical Gradu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医師登録をするためには、指定された大学の医学士の取得もしくはメディカルスクールの修了が要件となっている。日本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東京大学・京都大学・大阪大学の医学部が指定されている。条件付き登録が許され、一定期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ngapor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病院にて勤務をしたあ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ull registr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切り替えることが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験を積んだ外国人医師がシンガポールで治療に携わ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ting exper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の一時的な登録をすることもできる。ただし、母国での有効な医師免許保持などの条件の他、シンガポールの医療に資するかどうか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審査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182430"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ホームページ、シンガポー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4" name="テキスト ボックス 5">
            <a:extLst>
              <a:ext uri="{FF2B5EF4-FFF2-40B4-BE49-F238E27FC236}">
                <a16:creationId xmlns:a16="http://schemas.microsoft.com/office/drawing/2014/main" id="{6B9BB0A1-B3FD-077C-DC08-359DC96D5696}"/>
              </a:ext>
            </a:extLst>
          </p:cNvPr>
          <p:cNvSpPr txBox="1"/>
          <p:nvPr/>
        </p:nvSpPr>
        <p:spPr>
          <a:xfrm>
            <a:off x="417662" y="2765834"/>
            <a:ext cx="4463752" cy="3733340"/>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en-US" altLang="ja-JP" sz="1120" b="1" u="sng" noProof="1">
                <a:latin typeface="+mn-ea"/>
                <a:cs typeface="Arial" panose="020B0604020202020204" pitchFamily="34" charset="0"/>
              </a:rPr>
              <a:t>派遣専門家としての仮登録</a:t>
            </a:r>
          </a:p>
          <a:p>
            <a:pPr algn="just">
              <a:lnSpc>
                <a:spcPct val="113000"/>
              </a:lnSpc>
              <a:spcAft>
                <a:spcPts val="400"/>
              </a:spcAft>
            </a:pPr>
            <a:r>
              <a:rPr lang="ja-JP" altLang="en-US" sz="1120" noProof="1">
                <a:latin typeface="+mn-ea"/>
                <a:cs typeface="Arial" panose="020B0604020202020204" pitchFamily="34" charset="0"/>
              </a:rPr>
              <a:t>派遣</a:t>
            </a:r>
            <a:r>
              <a:rPr lang="en-US" altLang="ja-JP" sz="1120" noProof="1">
                <a:latin typeface="+mn-ea"/>
                <a:cs typeface="Arial" panose="020B0604020202020204" pitchFamily="34" charset="0"/>
              </a:rPr>
              <a:t>専門家は</a:t>
            </a:r>
            <a:r>
              <a:rPr lang="en-US" sz="1200" b="0" i="0" noProof="1">
                <a:solidFill>
                  <a:srgbClr val="000000"/>
                </a:solidFill>
                <a:effectLst/>
                <a:latin typeface="+mn-ea"/>
              </a:rPr>
              <a:t>処置を実施したり、患者に</a:t>
            </a:r>
            <a:r>
              <a:rPr lang="ja-JP" altLang="en-US" sz="1200" b="0" i="0" noProof="1">
                <a:solidFill>
                  <a:srgbClr val="000000"/>
                </a:solidFill>
                <a:effectLst/>
                <a:latin typeface="+mn-ea"/>
              </a:rPr>
              <a:t>医療</a:t>
            </a:r>
            <a:r>
              <a:rPr lang="en-US" sz="1200" b="0" i="0" noProof="1">
                <a:solidFill>
                  <a:srgbClr val="000000"/>
                </a:solidFill>
                <a:effectLst/>
                <a:latin typeface="+mn-ea"/>
              </a:rPr>
              <a:t>技術</a:t>
            </a:r>
            <a:r>
              <a:rPr lang="ja-JP" altLang="en-US" sz="1200" b="0" i="0" noProof="1">
                <a:solidFill>
                  <a:srgbClr val="000000"/>
                </a:solidFill>
                <a:effectLst/>
                <a:latin typeface="+mn-ea"/>
              </a:rPr>
              <a:t>を施す</a:t>
            </a:r>
            <a:r>
              <a:rPr lang="en-US" sz="1200" b="0" i="0" noProof="1">
                <a:solidFill>
                  <a:srgbClr val="000000"/>
                </a:solidFill>
                <a:effectLst/>
                <a:latin typeface="+mn-ea"/>
              </a:rPr>
              <a:t>必要がある場合は、仮登録を申請しなければならない</a:t>
            </a:r>
            <a:r>
              <a:rPr lang="en-US" altLang="ja-JP" sz="1120" noProof="1">
                <a:latin typeface="+mn-ea"/>
                <a:cs typeface="Arial" panose="020B0604020202020204" pitchFamily="34" charset="0"/>
              </a:rPr>
              <a:t>。</a:t>
            </a:r>
            <a:endParaRPr lang="en-US" sz="1120" b="0" i="0" noProof="1">
              <a:solidFill>
                <a:srgbClr val="000000"/>
              </a:solidFill>
              <a:effectLst/>
              <a:latin typeface="+mn-ea"/>
              <a:cs typeface="Arial" panose="020B0604020202020204" pitchFamily="34" charset="0"/>
            </a:endParaRPr>
          </a:p>
          <a:p>
            <a:pPr algn="just">
              <a:lnSpc>
                <a:spcPct val="113000"/>
              </a:lnSpc>
              <a:spcAft>
                <a:spcPts val="400"/>
              </a:spcAft>
            </a:pPr>
            <a:endParaRPr lang="en-US" altLang="ja-JP" sz="1120" noProof="1">
              <a:latin typeface="+mn-ea"/>
              <a:cs typeface="Arial" panose="020B0604020202020204" pitchFamily="34" charset="0"/>
            </a:endParaRPr>
          </a:p>
          <a:p>
            <a:pPr algn="just">
              <a:lnSpc>
                <a:spcPct val="113000"/>
              </a:lnSpc>
              <a:spcAft>
                <a:spcPts val="400"/>
              </a:spcAft>
            </a:pPr>
            <a:r>
              <a:rPr lang="ja-JP" altLang="en-US" sz="1120" noProof="1">
                <a:latin typeface="+mn-ea"/>
                <a:cs typeface="Arial" panose="020B0604020202020204" pitchFamily="34" charset="0"/>
              </a:rPr>
              <a:t>派遣専門家</a:t>
            </a:r>
            <a:r>
              <a:rPr lang="en-US" altLang="ja-JP" sz="1120" noProof="1">
                <a:latin typeface="+mn-ea"/>
                <a:cs typeface="Arial" panose="020B0604020202020204" pitchFamily="34" charset="0"/>
              </a:rPr>
              <a:t>の資格要件:</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j-lt"/>
                <a:cs typeface="Arial" panose="020B0604020202020204" pitchFamily="34" charset="0"/>
              </a:rPr>
              <a:t>SMC</a:t>
            </a:r>
            <a:r>
              <a:rPr lang="en-US" sz="1120" b="0" i="0" noProof="1">
                <a:solidFill>
                  <a:srgbClr val="000000"/>
                </a:solidFill>
                <a:effectLst/>
                <a:latin typeface="+mn-ea"/>
                <a:cs typeface="Arial" panose="020B0604020202020204" pitchFamily="34" charset="0"/>
              </a:rPr>
              <a:t>が</a:t>
            </a:r>
            <a:r>
              <a:rPr lang="ja-JP" altLang="en-US" sz="1120" b="0" i="0" noProof="1">
                <a:solidFill>
                  <a:srgbClr val="000000"/>
                </a:solidFill>
                <a:effectLst/>
                <a:latin typeface="+mn-ea"/>
                <a:cs typeface="Arial" panose="020B0604020202020204" pitchFamily="34" charset="0"/>
              </a:rPr>
              <a:t>医師の医学的知識、経験および技能が国際的にも通じるレベルであると認める医師、医師の知識や経験がシンガポールの国民にとって</a:t>
            </a:r>
            <a:r>
              <a:rPr lang="en-US" sz="1120" b="0" i="0" noProof="1">
                <a:solidFill>
                  <a:srgbClr val="000000"/>
                </a:solidFill>
                <a:effectLst/>
                <a:latin typeface="+mn-ea"/>
                <a:cs typeface="Arial" panose="020B0604020202020204" pitchFamily="34" charset="0"/>
              </a:rPr>
              <a:t>特別の価値</a:t>
            </a:r>
            <a:r>
              <a:rPr lang="ja-JP" altLang="en-US" sz="1120" b="0" i="0" noProof="1">
                <a:solidFill>
                  <a:srgbClr val="000000"/>
                </a:solidFill>
                <a:effectLst/>
                <a:latin typeface="+mn-ea"/>
                <a:cs typeface="Arial" panose="020B0604020202020204" pitchFamily="34" charset="0"/>
              </a:rPr>
              <a:t>に値する</a:t>
            </a:r>
            <a:r>
              <a:rPr lang="ja-JP" altLang="en-US" sz="1120" noProof="1">
                <a:solidFill>
                  <a:srgbClr val="000000"/>
                </a:solidFill>
                <a:latin typeface="+mn-ea"/>
                <a:cs typeface="Arial" panose="020B0604020202020204" pitchFamily="34" charset="0"/>
              </a:rPr>
              <a:t>医師。</a:t>
            </a:r>
            <a:endParaRPr lang="en-US" sz="1120" b="0" i="0" noProof="1">
              <a:solidFill>
                <a:srgbClr val="000000"/>
              </a:solidFill>
              <a:effectLst/>
              <a:latin typeface="+mn-ea"/>
              <a:cs typeface="Arial" panose="020B0604020202020204" pitchFamily="34" charset="0"/>
            </a:endParaRP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現役の</a:t>
            </a:r>
            <a:r>
              <a:rPr lang="ja-JP" altLang="en-US" sz="1120" b="0" i="0" noProof="1">
                <a:solidFill>
                  <a:srgbClr val="000000"/>
                </a:solidFill>
                <a:effectLst/>
                <a:latin typeface="+mn-ea"/>
                <a:cs typeface="Arial" panose="020B0604020202020204" pitchFamily="34" charset="0"/>
              </a:rPr>
              <a:t>医師であること</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認可された医科大学または医学部</a:t>
            </a:r>
            <a:r>
              <a:rPr lang="ja-JP" altLang="en-US" sz="1120" b="0" i="0" noProof="1">
                <a:solidFill>
                  <a:srgbClr val="000000"/>
                </a:solidFill>
                <a:effectLst/>
                <a:latin typeface="+mn-ea"/>
                <a:cs typeface="Arial" panose="020B0604020202020204" pitchFamily="34" charset="0"/>
              </a:rPr>
              <a:t>からの</a:t>
            </a:r>
            <a:r>
              <a:rPr lang="en-US" sz="1120" b="0" i="0" noProof="1">
                <a:solidFill>
                  <a:srgbClr val="000000"/>
                </a:solidFill>
                <a:effectLst/>
                <a:latin typeface="+mn-ea"/>
                <a:cs typeface="Arial" panose="020B0604020202020204" pitchFamily="34" charset="0"/>
              </a:rPr>
              <a:t>基礎医学の学位</a:t>
            </a:r>
            <a:r>
              <a:rPr lang="ja-JP" altLang="en-US" sz="1120" b="0" i="0" noProof="1">
                <a:solidFill>
                  <a:srgbClr val="000000"/>
                </a:solidFill>
                <a:effectLst/>
                <a:latin typeface="+mn-ea"/>
                <a:cs typeface="Arial" panose="020B0604020202020204" pitchFamily="34" charset="0"/>
              </a:rPr>
              <a:t>を取得していること</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基本学位の授与</a:t>
            </a:r>
            <a:r>
              <a:rPr lang="ja-JP" altLang="en-US" sz="1120" b="0" i="0" noProof="1">
                <a:solidFill>
                  <a:srgbClr val="000000"/>
                </a:solidFill>
                <a:effectLst/>
                <a:latin typeface="+mn-ea"/>
                <a:cs typeface="Arial" panose="020B0604020202020204" pitchFamily="34" charset="0"/>
              </a:rPr>
              <a:t>した</a:t>
            </a:r>
            <a:r>
              <a:rPr lang="en-US" sz="1120" b="0" i="0" noProof="1">
                <a:solidFill>
                  <a:srgbClr val="000000"/>
                </a:solidFill>
                <a:effectLst/>
                <a:latin typeface="+mn-ea"/>
                <a:cs typeface="Arial" panose="020B0604020202020204" pitchFamily="34" charset="0"/>
              </a:rPr>
              <a:t>国における</a:t>
            </a:r>
            <a:r>
              <a:rPr lang="ja-JP" altLang="en-US" sz="1120" b="0" i="0" noProof="1">
                <a:solidFill>
                  <a:srgbClr val="000000"/>
                </a:solidFill>
                <a:effectLst/>
                <a:latin typeface="+mn-ea"/>
                <a:cs typeface="Arial" panose="020B0604020202020204" pitchFamily="34" charset="0"/>
              </a:rPr>
              <a:t>医師の</a:t>
            </a:r>
            <a:r>
              <a:rPr lang="en-US" sz="1120" b="0" i="0" noProof="1">
                <a:solidFill>
                  <a:srgbClr val="000000"/>
                </a:solidFill>
                <a:effectLst/>
                <a:latin typeface="+mn-ea"/>
                <a:cs typeface="Arial" panose="020B0604020202020204" pitchFamily="34" charset="0"/>
              </a:rPr>
              <a:t>国家免許試験に合格し</a:t>
            </a:r>
            <a:r>
              <a:rPr lang="ja-JP" altLang="en-US" sz="1120" b="0" i="0" noProof="1">
                <a:solidFill>
                  <a:srgbClr val="000000"/>
                </a:solidFill>
                <a:effectLst/>
                <a:latin typeface="+mn-ea"/>
                <a:cs typeface="Arial" panose="020B0604020202020204" pitchFamily="34" charset="0"/>
              </a:rPr>
              <a:t>ている</a:t>
            </a:r>
            <a:r>
              <a:rPr lang="en-US" sz="1120" b="0" i="0" noProof="1">
                <a:solidFill>
                  <a:srgbClr val="000000"/>
                </a:solidFill>
                <a:effectLst/>
                <a:latin typeface="+mn-ea"/>
                <a:cs typeface="Arial" panose="020B0604020202020204" pitchFamily="34" charset="0"/>
              </a:rPr>
              <a:t>こと</a:t>
            </a:r>
            <a:r>
              <a:rPr lang="ja-JP" altLang="en-US" sz="1120" noProof="1">
                <a:solidFill>
                  <a:srgbClr val="000000"/>
                </a:solidFill>
                <a:latin typeface="+mn-ea"/>
                <a:cs typeface="Arial" panose="020B0604020202020204" pitchFamily="34" charset="0"/>
              </a:rPr>
              <a:t> </a:t>
            </a:r>
            <a:r>
              <a:rPr lang="ja-JP" altLang="en-US" sz="1120" noProof="1">
                <a:solidFill>
                  <a:srgbClr val="000000"/>
                </a:solidFill>
                <a:latin typeface="+mj-lt"/>
                <a:cs typeface="Arial" panose="020B0604020202020204" pitchFamily="34" charset="0"/>
              </a:rPr>
              <a:t>（</a:t>
            </a:r>
            <a:r>
              <a:rPr lang="ja-JP" altLang="en-US" sz="1120" noProof="1">
                <a:solidFill>
                  <a:srgbClr val="000000"/>
                </a:solidFill>
                <a:latin typeface="+mn-ea"/>
                <a:cs typeface="Arial" panose="020B0604020202020204" pitchFamily="34" charset="0"/>
              </a:rPr>
              <a:t>該当する場合のみ</a:t>
            </a:r>
            <a:r>
              <a:rPr lang="ja-JP" altLang="en-US" sz="1120" noProof="1">
                <a:solidFill>
                  <a:srgbClr val="000000"/>
                </a:solidFill>
                <a:latin typeface="+mj-lt"/>
                <a:cs typeface="Arial" panose="020B0604020202020204" pitchFamily="34" charset="0"/>
              </a:rPr>
              <a:t>）</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現在</a:t>
            </a:r>
            <a:r>
              <a:rPr lang="ja-JP" altLang="en-US" sz="1120" b="0" i="0" noProof="1">
                <a:solidFill>
                  <a:srgbClr val="000000"/>
                </a:solidFill>
                <a:effectLst/>
                <a:latin typeface="+mn-ea"/>
                <a:cs typeface="Arial" panose="020B0604020202020204" pitchFamily="34" charset="0"/>
              </a:rPr>
              <a:t>、医療</a:t>
            </a:r>
            <a:r>
              <a:rPr lang="en-US" sz="1120" b="0" i="0" noProof="1">
                <a:solidFill>
                  <a:srgbClr val="000000"/>
                </a:solidFill>
                <a:effectLst/>
                <a:latin typeface="+mn-ea"/>
                <a:cs typeface="Arial" panose="020B0604020202020204" pitchFamily="34" charset="0"/>
              </a:rPr>
              <a:t>活動している国で医師として登録されていること。</a:t>
            </a:r>
            <a:endParaRPr lang="en-US" sz="1120" dirty="0">
              <a:solidFill>
                <a:srgbClr val="000000"/>
              </a:solidFill>
              <a:latin typeface="+mn-ea"/>
              <a:cs typeface="Arial" panose="020B0604020202020204" pitchFamily="34" charset="0"/>
            </a:endParaRP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医学審議会または関連する国家機関によって優良である</a:t>
            </a:r>
            <a:r>
              <a:rPr lang="en-US" sz="1120" noProof="1">
                <a:solidFill>
                  <a:srgbClr val="000000"/>
                </a:solidFill>
                <a:latin typeface="+mn-ea"/>
                <a:cs typeface="Arial" panose="020B0604020202020204" pitchFamily="34" charset="0"/>
              </a:rPr>
              <a:t>と認定され</a:t>
            </a:r>
            <a:r>
              <a:rPr lang="ja-JP" altLang="en-US" sz="1120" noProof="1">
                <a:solidFill>
                  <a:srgbClr val="000000"/>
                </a:solidFill>
                <a:latin typeface="+mn-ea"/>
                <a:cs typeface="Arial" panose="020B0604020202020204" pitchFamily="34" charset="0"/>
              </a:rPr>
              <a:t>ていること</a:t>
            </a:r>
            <a:r>
              <a:rPr lang="en-US" sz="1120" noProof="1">
                <a:solidFill>
                  <a:srgbClr val="000000"/>
                </a:solidFill>
                <a:latin typeface="+mn-ea"/>
                <a:cs typeface="Arial" panose="020B0604020202020204" pitchFamily="34" charset="0"/>
              </a:rPr>
              <a:t>。</a:t>
            </a:r>
            <a:endParaRPr lang="en-US" altLang="ja-JP" sz="1120" noProof="1">
              <a:latin typeface="+mn-ea"/>
              <a:cs typeface="Arial" panose="020B0604020202020204" pitchFamily="34" charset="0"/>
            </a:endParaRPr>
          </a:p>
        </p:txBody>
      </p:sp>
      <p:sp>
        <p:nvSpPr>
          <p:cNvPr id="5" name="テキスト ボックス 5">
            <a:extLst>
              <a:ext uri="{FF2B5EF4-FFF2-40B4-BE49-F238E27FC236}">
                <a16:creationId xmlns:a16="http://schemas.microsoft.com/office/drawing/2014/main" id="{7DD1A5FC-2A20-EC4A-BE73-7FEC67B1426F}"/>
              </a:ext>
            </a:extLst>
          </p:cNvPr>
          <p:cNvSpPr txBox="1"/>
          <p:nvPr/>
        </p:nvSpPr>
        <p:spPr>
          <a:xfrm>
            <a:off x="5069865" y="2765834"/>
            <a:ext cx="4275623" cy="3736362"/>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en-US" altLang="ja-JP" sz="1120" b="1" u="sng" noProof="1">
                <a:latin typeface="+mn-ea"/>
                <a:cs typeface="Arial" panose="020B0604020202020204" pitchFamily="34" charset="0"/>
              </a:rPr>
              <a:t>外国</a:t>
            </a:r>
            <a:r>
              <a:rPr lang="ja-JP" altLang="en-US" sz="1120" b="1" u="sng" noProof="1">
                <a:latin typeface="+mn-ea"/>
                <a:cs typeface="Arial" panose="020B0604020202020204" pitchFamily="34" charset="0"/>
              </a:rPr>
              <a:t>人</a:t>
            </a:r>
            <a:r>
              <a:rPr lang="en-US" altLang="ja-JP" sz="1120" b="1" u="sng" noProof="1">
                <a:latin typeface="+mn-ea"/>
                <a:cs typeface="Arial" panose="020B0604020202020204" pitchFamily="34" charset="0"/>
              </a:rPr>
              <a:t>医学</a:t>
            </a:r>
            <a:r>
              <a:rPr lang="ja-JP" altLang="en-US" sz="1120" b="1" u="sng" noProof="1">
                <a:latin typeface="+mn-ea"/>
                <a:cs typeface="Arial" panose="020B0604020202020204" pitchFamily="34" charset="0"/>
              </a:rPr>
              <a:t>部</a:t>
            </a:r>
            <a:r>
              <a:rPr lang="en-US" altLang="ja-JP" sz="1120" b="1" u="sng" noProof="1">
                <a:latin typeface="+mn-ea"/>
                <a:cs typeface="Arial" panose="020B0604020202020204" pitchFamily="34" charset="0"/>
              </a:rPr>
              <a:t>卒業者の条件付登録</a:t>
            </a:r>
          </a:p>
          <a:p>
            <a:pPr algn="just">
              <a:lnSpc>
                <a:spcPct val="113000"/>
              </a:lnSpc>
              <a:spcAft>
                <a:spcPts val="400"/>
              </a:spcAft>
            </a:pPr>
            <a:r>
              <a:rPr lang="en-US" altLang="ja-JP" sz="1120" noProof="1">
                <a:latin typeface="+mn-ea"/>
                <a:cs typeface="Arial" panose="020B0604020202020204" pitchFamily="34" charset="0"/>
              </a:rPr>
              <a:t>条件付き</a:t>
            </a:r>
            <a:r>
              <a:rPr lang="ja-JP" altLang="en-US" sz="1120" noProof="1">
                <a:latin typeface="+mn-ea"/>
                <a:cs typeface="Arial" panose="020B0604020202020204" pitchFamily="34" charset="0"/>
              </a:rPr>
              <a:t>で</a:t>
            </a:r>
            <a:r>
              <a:rPr lang="en-US" altLang="ja-JP" sz="1120" noProof="1">
                <a:latin typeface="+mn-ea"/>
                <a:cs typeface="Arial" panose="020B0604020202020204" pitchFamily="34" charset="0"/>
              </a:rPr>
              <a:t>登録</a:t>
            </a:r>
            <a:r>
              <a:rPr lang="ja-JP" altLang="en-US" sz="1120" noProof="1">
                <a:latin typeface="+mn-ea"/>
                <a:cs typeface="Arial" panose="020B0604020202020204" pitchFamily="34" charset="0"/>
              </a:rPr>
              <a:t>された</a:t>
            </a:r>
            <a:r>
              <a:rPr lang="en-US" altLang="ja-JP" sz="1120" noProof="1">
                <a:solidFill>
                  <a:srgbClr val="000000"/>
                </a:solidFill>
                <a:latin typeface="+mn-ea"/>
                <a:cs typeface="Arial" panose="020B0604020202020204" pitchFamily="34" charset="0"/>
              </a:rPr>
              <a:t>すべて</a:t>
            </a:r>
            <a:r>
              <a:rPr lang="en-US" sz="1120" noProof="1">
                <a:solidFill>
                  <a:srgbClr val="000000"/>
                </a:solidFill>
                <a:latin typeface="+mn-ea"/>
              </a:rPr>
              <a:t>外国人</a:t>
            </a:r>
            <a:r>
              <a:rPr lang="en-US" sz="1120" b="0" i="0" noProof="1">
                <a:solidFill>
                  <a:srgbClr val="000000"/>
                </a:solidFill>
                <a:effectLst/>
                <a:latin typeface="+mn-ea"/>
              </a:rPr>
              <a:t>医学</a:t>
            </a:r>
            <a:r>
              <a:rPr lang="ja-JP" altLang="en-US" sz="1120" b="0" i="0" noProof="1">
                <a:solidFill>
                  <a:srgbClr val="000000"/>
                </a:solidFill>
                <a:effectLst/>
                <a:latin typeface="+mn-ea"/>
              </a:rPr>
              <a:t>部</a:t>
            </a:r>
            <a:r>
              <a:rPr lang="en-US" sz="1120" b="0" i="0" noProof="1">
                <a:solidFill>
                  <a:srgbClr val="000000"/>
                </a:solidFill>
                <a:effectLst/>
                <a:latin typeface="+mn-ea"/>
              </a:rPr>
              <a:t>卒業生</a:t>
            </a:r>
            <a:r>
              <a:rPr lang="en-US" altLang="ja-JP" sz="1120" noProof="1">
                <a:latin typeface="+mn-ea"/>
                <a:cs typeface="Arial" panose="020B0604020202020204" pitchFamily="34" charset="0"/>
              </a:rPr>
              <a:t>は、</a:t>
            </a:r>
            <a:r>
              <a:rPr lang="en-US" altLang="ja-JP" sz="1120" noProof="1">
                <a:latin typeface="+mj-lt"/>
                <a:cs typeface="Arial" panose="020B0604020202020204" pitchFamily="34" charset="0"/>
              </a:rPr>
              <a:t>SMC</a:t>
            </a:r>
            <a:r>
              <a:rPr lang="en-US" altLang="ja-JP" sz="1120" noProof="1">
                <a:latin typeface="+mn-ea"/>
                <a:cs typeface="Arial" panose="020B0604020202020204" pitchFamily="34" charset="0"/>
              </a:rPr>
              <a:t>が承認した医療機関でのみ、正式に登録された医師の監督下で働くことを</a:t>
            </a:r>
            <a:r>
              <a:rPr lang="en-US" sz="1120" b="0" i="0" noProof="1">
                <a:solidFill>
                  <a:srgbClr val="000000"/>
                </a:solidFill>
                <a:effectLst/>
                <a:latin typeface="+mn-ea"/>
              </a:rPr>
              <a:t>制限</a:t>
            </a:r>
            <a:r>
              <a:rPr lang="en-US" altLang="ja-JP" sz="1120" noProof="1">
                <a:latin typeface="+mn-ea"/>
                <a:cs typeface="Arial" panose="020B0604020202020204" pitchFamily="34" charset="0"/>
              </a:rPr>
              <a:t>する。</a:t>
            </a:r>
          </a:p>
          <a:p>
            <a:pPr algn="just">
              <a:lnSpc>
                <a:spcPct val="113000"/>
              </a:lnSpc>
              <a:spcAft>
                <a:spcPts val="400"/>
              </a:spcAft>
            </a:pPr>
            <a:endParaRPr lang="en-US" altLang="ja-JP" sz="1120" noProof="1">
              <a:latin typeface="+mn-ea"/>
              <a:cs typeface="Arial" panose="020B0604020202020204" pitchFamily="34" charset="0"/>
            </a:endParaRPr>
          </a:p>
          <a:p>
            <a:pPr algn="just">
              <a:lnSpc>
                <a:spcPct val="113000"/>
              </a:lnSpc>
              <a:spcAft>
                <a:spcPts val="400"/>
              </a:spcAft>
            </a:pPr>
            <a:r>
              <a:rPr lang="en-US" altLang="ja-JP" sz="1120" noProof="1">
                <a:latin typeface="+mn-ea"/>
                <a:cs typeface="Arial" panose="020B0604020202020204" pitchFamily="34" charset="0"/>
              </a:rPr>
              <a:t>外国</a:t>
            </a:r>
            <a:r>
              <a:rPr lang="ja-JP" altLang="en-US" sz="1120" noProof="1">
                <a:latin typeface="+mn-ea"/>
                <a:cs typeface="Arial" panose="020B0604020202020204" pitchFamily="34" charset="0"/>
              </a:rPr>
              <a:t>人</a:t>
            </a:r>
            <a:r>
              <a:rPr lang="en-US" altLang="ja-JP" sz="1120" noProof="1">
                <a:latin typeface="+mn-ea"/>
                <a:cs typeface="Arial" panose="020B0604020202020204" pitchFamily="34" charset="0"/>
              </a:rPr>
              <a:t>医学</a:t>
            </a:r>
            <a:r>
              <a:rPr lang="ja-JP" altLang="en-US" sz="1120" noProof="1">
                <a:latin typeface="+mn-ea"/>
                <a:cs typeface="Arial" panose="020B0604020202020204" pitchFamily="34" charset="0"/>
              </a:rPr>
              <a:t>部</a:t>
            </a:r>
            <a:r>
              <a:rPr lang="en-US" altLang="ja-JP" sz="1120" noProof="1">
                <a:latin typeface="+mn-ea"/>
                <a:cs typeface="Arial" panose="020B0604020202020204" pitchFamily="34" charset="0"/>
              </a:rPr>
              <a:t>卒業者の受験資格</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altLang="ja-JP" sz="1120" noProof="1">
                <a:latin typeface="+mn-ea"/>
              </a:rPr>
              <a:t>医師登録法別表第二に掲げる医科大学の医学基礎学位。</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altLang="ja-JP" sz="1120" noProof="1">
                <a:latin typeface="+mj-lt"/>
              </a:rPr>
              <a:t>SMC</a:t>
            </a:r>
            <a:r>
              <a:rPr lang="en-US" altLang="ja-JP" sz="1120" noProof="1">
                <a:latin typeface="+mn-ea"/>
              </a:rPr>
              <a:t>が認定する大学院修了資格。</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SMC</a:t>
            </a:r>
            <a:r>
              <a:rPr lang="en-US" sz="1120" noProof="1">
                <a:latin typeface="+mn-ea"/>
              </a:rPr>
              <a:t>認定医療機関への採用。</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1</a:t>
            </a:r>
            <a:r>
              <a:rPr lang="en-US" sz="1120" noProof="1">
                <a:latin typeface="+mn-ea"/>
              </a:rPr>
              <a:t>年間のインターンシップを終了。</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n-ea"/>
              </a:rPr>
              <a:t>現在</a:t>
            </a:r>
            <a:r>
              <a:rPr lang="ja-JP" altLang="en-US" sz="1120" noProof="1">
                <a:latin typeface="+mn-ea"/>
              </a:rPr>
              <a:t>も活発的に医療に従事している</a:t>
            </a:r>
            <a:r>
              <a:rPr lang="en-US" sz="1120" noProof="1">
                <a:latin typeface="+mn-ea"/>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n-ea"/>
              </a:rPr>
              <a:t>基礎医学の学位が授与された国 （該当する場合） で必要とされる国家免許試験に合格していること。</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SMC</a:t>
            </a:r>
            <a:r>
              <a:rPr lang="en-US" sz="1120" noProof="1">
                <a:latin typeface="+mn-ea"/>
              </a:rPr>
              <a:t>の英語要件を満たしていること （基本的な医療資格のための教育媒体が英語でない場合） 。</a:t>
            </a:r>
            <a:endParaRPr lang="en-US" altLang="ja-JP" sz="1120" noProof="1">
              <a:latin typeface="+mn-ea"/>
            </a:endParaRPr>
          </a:p>
        </p:txBody>
      </p:sp>
    </p:spTree>
    <p:extLst>
      <p:ext uri="{BB962C8B-B14F-4D97-AF65-F5344CB8AC3E}">
        <p14:creationId xmlns:p14="http://schemas.microsoft.com/office/powerpoint/2010/main" val="23379138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4081251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9" imgW="360" imgH="360" progId="TCLayout.ActiveDocument.1">
                  <p:embed/>
                </p:oleObj>
              </mc:Choice>
              <mc:Fallback>
                <p:oleObj name="think-cellスライド" r:id="rId59" imgW="360" imgH="360" progId="TCLayout.ActiveDocument.1">
                  <p:embed/>
                  <p:pic>
                    <p:nvPicPr>
                      <p:cNvPr id="11" name="Object 10"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ている。</a:t>
            </a:r>
          </a:p>
        </p:txBody>
      </p:sp>
      <p:graphicFrame>
        <p:nvGraphicFramePr>
          <p:cNvPr id="126" name="Chart 125">
            <a:extLst>
              <a:ext uri="{FF2B5EF4-FFF2-40B4-BE49-F238E27FC236}">
                <a16:creationId xmlns:a16="http://schemas.microsoft.com/office/drawing/2014/main" id="{9A8CD7FB-A126-D73B-C6CC-7BD1638F0A8B}"/>
              </a:ext>
            </a:extLst>
          </p:cNvPr>
          <p:cNvGraphicFramePr/>
          <p:nvPr>
            <p:custDataLst>
              <p:tags r:id="rId3"/>
            </p:custDataLst>
            <p:extLst>
              <p:ext uri="{D42A27DB-BD31-4B8C-83A1-F6EECF244321}">
                <p14:modId xmlns:p14="http://schemas.microsoft.com/office/powerpoint/2010/main" val="771957782"/>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61"/>
          </a:graphicData>
        </a:graphic>
      </p:graphicFrame>
      <p:sp>
        <p:nvSpPr>
          <p:cNvPr id="86" name="テキスト プレースホルダ 9">
            <a:extLst>
              <a:ext uri="{FF2B5EF4-FFF2-40B4-BE49-F238E27FC236}">
                <a16:creationId xmlns:a16="http://schemas.microsoft.com/office/drawing/2014/main" id="{2C042C5F-E512-94F8-A620-41420181856A}"/>
              </a:ext>
            </a:extLst>
          </p:cNvPr>
          <p:cNvSpPr>
            <a:spLocks/>
          </p:cNvSpPr>
          <p:nvPr>
            <p:custDataLst>
              <p:tags r:id="rId4"/>
            </p:custDataLst>
          </p:nvPr>
        </p:nvSpPr>
        <p:spPr bwMode="gray">
          <a:xfrm>
            <a:off x="433388"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212F6A6-0FA2-4427-8E79-4E500A7A425A}"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5883AE38-4181-7792-577F-1CDBB27A5E93}"/>
              </a:ext>
            </a:extLst>
          </p:cNvPr>
          <p:cNvSpPr>
            <a:spLocks/>
          </p:cNvSpPr>
          <p:nvPr>
            <p:custDataLst>
              <p:tags r:id="rId5"/>
            </p:custDataLst>
          </p:nvPr>
        </p:nvSpPr>
        <p:spPr bwMode="gray">
          <a:xfrm>
            <a:off x="363538"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5CEAAF-3EB0-4ECA-BCCA-07AA5F815C6E}"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195BEE5F-5C67-1621-75D3-5E8F96CF2884}"/>
              </a:ext>
            </a:extLst>
          </p:cNvPr>
          <p:cNvSpPr>
            <a:spLocks/>
          </p:cNvSpPr>
          <p:nvPr>
            <p:custDataLst>
              <p:tags r:id="rId6"/>
            </p:custDataLst>
          </p:nvPr>
        </p:nvSpPr>
        <p:spPr bwMode="gray">
          <a:xfrm>
            <a:off x="433388" y="5033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51DCD0-87DC-4A5E-B5DF-EE6A3EBC542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723F1A09-DE96-8206-937B-020663B89605}"/>
              </a:ext>
            </a:extLst>
          </p:cNvPr>
          <p:cNvSpPr>
            <a:spLocks/>
          </p:cNvSpPr>
          <p:nvPr>
            <p:custDataLst>
              <p:tags r:id="rId7"/>
            </p:custDataLst>
          </p:nvPr>
        </p:nvSpPr>
        <p:spPr bwMode="gray">
          <a:xfrm>
            <a:off x="363538" y="4391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D8407A-EFAC-4D53-8B48-39DCCC867DBC}"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149A337-346B-98C1-0D91-39AA42191916}"/>
              </a:ext>
            </a:extLst>
          </p:cNvPr>
          <p:cNvSpPr>
            <a:spLocks/>
          </p:cNvSpPr>
          <p:nvPr>
            <p:custDataLst>
              <p:tags r:id="rId8"/>
            </p:custDataLst>
          </p:nvPr>
        </p:nvSpPr>
        <p:spPr bwMode="gray">
          <a:xfrm>
            <a:off x="363538" y="3106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88B867-6A5D-4CEE-9D97-11674F1DCA7E}"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D5FCE64C-C685-89DD-8339-18AFF51779B1}"/>
              </a:ext>
            </a:extLst>
          </p:cNvPr>
          <p:cNvSpPr>
            <a:spLocks/>
          </p:cNvSpPr>
          <p:nvPr>
            <p:custDataLst>
              <p:tags r:id="rId9"/>
            </p:custDataLst>
          </p:nvPr>
        </p:nvSpPr>
        <p:spPr bwMode="gray">
          <a:xfrm>
            <a:off x="363538"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3DB7E18-7BD6-46FC-AE77-A7B8E5AA4E7A}"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A727A320-7293-3290-BC6C-7C459B302778}"/>
              </a:ext>
            </a:extLst>
          </p:cNvPr>
          <p:cNvSpPr>
            <a:spLocks/>
          </p:cNvSpPr>
          <p:nvPr>
            <p:custDataLst>
              <p:tags r:id="rId10"/>
            </p:custDataLst>
          </p:nvPr>
        </p:nvSpPr>
        <p:spPr bwMode="gray">
          <a:xfrm>
            <a:off x="1787525" y="4672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87FDBE-DB41-46EB-ADD0-2345721606C2}" type="datetime'''7''''''''''''''''''''''''''.0'">
              <a:rPr lang="ja-JP" altLang="en-US" sz="1000" smtClean="0"/>
              <a:pPr/>
              <a:t>7.0</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86D16020-E3E3-68CF-E120-95FD1F076E00}"/>
              </a:ext>
            </a:extLst>
          </p:cNvPr>
          <p:cNvSpPr>
            <a:spLocks/>
          </p:cNvSpPr>
          <p:nvPr>
            <p:custDataLst>
              <p:tags r:id="rId11"/>
            </p:custDataLst>
          </p:nvPr>
        </p:nvSpPr>
        <p:spPr bwMode="gray">
          <a:xfrm>
            <a:off x="2146300" y="4706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043A8-17BF-40E1-BF84-438F4A8240BF}" type="datetime'''''6''''''''''''''''''''''.''''''''''''''''''''''''8'''">
              <a:rPr lang="ja-JP" altLang="en-US" sz="1000" smtClean="0"/>
              <a:pPr/>
              <a:t>6.8</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1A0F69E6-0777-D52E-597B-BB9665108A96}"/>
              </a:ext>
            </a:extLst>
          </p:cNvPr>
          <p:cNvSpPr>
            <a:spLocks/>
          </p:cNvSpPr>
          <p:nvPr>
            <p:custDataLst>
              <p:tags r:id="rId12"/>
            </p:custDataLst>
          </p:nvPr>
        </p:nvSpPr>
        <p:spPr bwMode="gray">
          <a:xfrm>
            <a:off x="2506663" y="4678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3314E-7D65-4756-AD79-C06C3CD10CAA}" type="datetime'''''''''''''''''''''''7''''''''''''''''''''''''.''''''0'''''">
              <a:rPr lang="ja-JP" altLang="en-US" sz="1000" smtClean="0"/>
              <a:pPr/>
              <a:t>7.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B6175A58-05E8-40D1-4DC6-8DFD4509855A}"/>
              </a:ext>
            </a:extLst>
          </p:cNvPr>
          <p:cNvSpPr>
            <a:spLocks/>
          </p:cNvSpPr>
          <p:nvPr>
            <p:custDataLst>
              <p:tags r:id="rId13"/>
            </p:custDataLst>
          </p:nvPr>
        </p:nvSpPr>
        <p:spPr bwMode="gray">
          <a:xfrm>
            <a:off x="2867025" y="4629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1F3E4-736F-47BC-828B-B0C98828B602}" type="datetime'''''''''''''7''''''''''''''''''.''''''''''''4'''''''''''">
              <a:rPr lang="ja-JP" altLang="en-US" sz="1000" smtClean="0"/>
              <a:pPr/>
              <a:t>7.4</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181FDC34-63C9-DC8C-8BFB-328296351992}"/>
              </a:ext>
            </a:extLst>
          </p:cNvPr>
          <p:cNvSpPr>
            <a:spLocks/>
          </p:cNvSpPr>
          <p:nvPr>
            <p:custDataLst>
              <p:tags r:id="rId14"/>
            </p:custDataLst>
          </p:nvPr>
        </p:nvSpPr>
        <p:spPr bwMode="gray">
          <a:xfrm>
            <a:off x="3227388" y="4578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480CCB-995B-4C40-8E11-BC4CDA859E39}" type="datetime'''''''''''''''''''''''7''''''''''''''''''''''''.''8'''''''''''">
              <a:rPr lang="ja-JP" altLang="en-US" sz="1000" smtClean="0"/>
              <a:pPr/>
              <a:t>7.8</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AD79A8DE-E742-EB44-9755-8562C6827C51}"/>
              </a:ext>
            </a:extLst>
          </p:cNvPr>
          <p:cNvSpPr>
            <a:spLocks/>
          </p:cNvSpPr>
          <p:nvPr>
            <p:custDataLst>
              <p:tags r:id="rId15"/>
            </p:custDataLst>
          </p:nvPr>
        </p:nvSpPr>
        <p:spPr bwMode="gray">
          <a:xfrm>
            <a:off x="3587750" y="4430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ABE61-58FF-4653-96DF-33748116DDB7}" type="datetime'''''''''''''''''8''''''''''''''''''.''''''9'">
              <a:rPr lang="ja-JP" altLang="en-US" sz="1000" smtClean="0"/>
              <a:pPr/>
              <a:t>8.9</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292CA3F0-FF85-5A29-880C-DF401DDFD2D0}"/>
              </a:ext>
            </a:extLst>
          </p:cNvPr>
          <p:cNvSpPr>
            <a:spLocks/>
          </p:cNvSpPr>
          <p:nvPr>
            <p:custDataLst>
              <p:tags r:id="rId16"/>
            </p:custDataLst>
          </p:nvPr>
        </p:nvSpPr>
        <p:spPr bwMode="gray">
          <a:xfrm>
            <a:off x="3948113" y="4357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68DFFA-4508-4C0D-A74B-627833807044}" type="datetime'''''9.''''''5'''''''''''''''''''''''''">
              <a:rPr lang="ja-JP" altLang="en-US" sz="1000" smtClean="0"/>
              <a:pPr/>
              <a:t>9.5</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F60BB52C-DF29-4E4A-FC64-0F869E139324}"/>
              </a:ext>
            </a:extLst>
          </p:cNvPr>
          <p:cNvSpPr>
            <a:spLocks/>
          </p:cNvSpPr>
          <p:nvPr>
            <p:custDataLst>
              <p:tags r:id="rId17"/>
            </p:custDataLst>
          </p:nvPr>
        </p:nvSpPr>
        <p:spPr bwMode="gray">
          <a:xfrm>
            <a:off x="4271963" y="4262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37F82-E5F0-45EF-B544-A72320CC3654}" type="datetime'''1''''''0''''''''''''''''''''''''''''''.''''''''''''''''''2'">
              <a:rPr lang="ja-JP" altLang="en-US" sz="1000" smtClean="0"/>
              <a:pPr/>
              <a:t>10.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23656A5-1883-496B-661C-96E0C984A501}"/>
              </a:ext>
            </a:extLst>
          </p:cNvPr>
          <p:cNvSpPr>
            <a:spLocks/>
          </p:cNvSpPr>
          <p:nvPr>
            <p:custDataLst>
              <p:tags r:id="rId18"/>
            </p:custDataLst>
          </p:nvPr>
        </p:nvSpPr>
        <p:spPr bwMode="gray">
          <a:xfrm>
            <a:off x="4632325" y="4200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3A6DB-971E-4FA8-AFBC-FEEDD026AFAB}" type="datetime'''''1''''''''''''''''''0''''''''''''''''.7'''''''''">
              <a:rPr lang="ja-JP" altLang="en-US" sz="1000" smtClean="0"/>
              <a:pPr/>
              <a:t>10.7</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3A266B1A-FBC5-6209-EE10-EBF3C23A9AC4}"/>
              </a:ext>
            </a:extLst>
          </p:cNvPr>
          <p:cNvSpPr>
            <a:spLocks/>
          </p:cNvSpPr>
          <p:nvPr>
            <p:custDataLst>
              <p:tags r:id="rId19"/>
            </p:custDataLst>
          </p:nvPr>
        </p:nvSpPr>
        <p:spPr bwMode="gray">
          <a:xfrm>
            <a:off x="4992688" y="4060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00A3EE-ECA6-48D8-B410-C95E0981F301}" type="datetime'''1''''''''''''''''''1''''.''''''''''''''''''''''8'''">
              <a:rPr lang="ja-JP" altLang="en-US" sz="1000" smtClean="0"/>
              <a:pPr/>
              <a:t>11.8</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C682C03A-255A-F7FE-0768-54EE1E11570D}"/>
              </a:ext>
            </a:extLst>
          </p:cNvPr>
          <p:cNvSpPr>
            <a:spLocks/>
          </p:cNvSpPr>
          <p:nvPr>
            <p:custDataLst>
              <p:tags r:id="rId20"/>
            </p:custDataLst>
          </p:nvPr>
        </p:nvSpPr>
        <p:spPr bwMode="gray">
          <a:xfrm>
            <a:off x="5353050" y="3817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B572E0-C128-41C6-8DD6-E0519D757023}" type="datetime'''''''''''''1''''3''.''''7'''''''''''''''''''''''">
              <a:rPr lang="ja-JP" altLang="en-US" sz="1000" smtClean="0"/>
              <a:pPr/>
              <a:t>13.7</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5985063B-233F-C6B8-38FD-56C33F09B7CA}"/>
              </a:ext>
            </a:extLst>
          </p:cNvPr>
          <p:cNvSpPr>
            <a:spLocks/>
          </p:cNvSpPr>
          <p:nvPr>
            <p:custDataLst>
              <p:tags r:id="rId21"/>
            </p:custDataLst>
          </p:nvPr>
        </p:nvSpPr>
        <p:spPr bwMode="gray">
          <a:xfrm>
            <a:off x="5713413" y="3654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FB9A3D-74EA-41C7-9288-5736323EAB5C}" type="datetime'''''''''''1''4''''''''''''''''''''''''''''''''''''''.9'">
              <a:rPr lang="ja-JP" altLang="en-US" sz="1000" smtClean="0"/>
              <a:pPr/>
              <a:t>14.9</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2BAAB32-79DA-19E7-6DDE-8A490C856A3A}"/>
              </a:ext>
            </a:extLst>
          </p:cNvPr>
          <p:cNvSpPr>
            <a:spLocks/>
          </p:cNvSpPr>
          <p:nvPr>
            <p:custDataLst>
              <p:tags r:id="rId22"/>
            </p:custDataLst>
          </p:nvPr>
        </p:nvSpPr>
        <p:spPr bwMode="gray">
          <a:xfrm>
            <a:off x="6073775" y="3438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CE168-9AA8-4545-B504-D6FC5EFF9423}" type="datetime'''1''''''6''.''''''''''''6'''''''''''''''''''''''''''''''''">
              <a:rPr lang="ja-JP" altLang="en-US" sz="1000" smtClean="0"/>
              <a:pPr/>
              <a:t>16.6</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064DC2E9-E213-109B-D8F5-A0BF6062C89E}"/>
              </a:ext>
            </a:extLst>
          </p:cNvPr>
          <p:cNvSpPr>
            <a:spLocks/>
          </p:cNvSpPr>
          <p:nvPr>
            <p:custDataLst>
              <p:tags r:id="rId23"/>
            </p:custDataLst>
          </p:nvPr>
        </p:nvSpPr>
        <p:spPr bwMode="gray">
          <a:xfrm>
            <a:off x="6432550" y="3252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FA09D7-A74D-4F71-BB90-2A918E0E0646}" type="datetime'''''''''''''''''''''18''.1'''''''">
              <a:rPr lang="ja-JP" altLang="en-US" sz="1000" smtClean="0"/>
              <a:pPr/>
              <a:t>18.1</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99B86AFD-68CA-35E7-77C7-AE73CA013A58}"/>
              </a:ext>
            </a:extLst>
          </p:cNvPr>
          <p:cNvSpPr>
            <a:spLocks/>
          </p:cNvSpPr>
          <p:nvPr>
            <p:custDataLst>
              <p:tags r:id="rId24"/>
            </p:custDataLst>
          </p:nvPr>
        </p:nvSpPr>
        <p:spPr bwMode="gray">
          <a:xfrm>
            <a:off x="6792913" y="3160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A4E9C-27AF-4ADC-84F4-A5E8938C32C9}" type="datetime'''''''''''''''''''''''1''''''''''''''''''''''8.8'''''''">
              <a:rPr lang="ja-JP" altLang="en-US" sz="1000" smtClean="0"/>
              <a:pPr/>
              <a:t>18.8</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A89CB315-50C2-2BD8-B504-AE3E53639D70}"/>
              </a:ext>
            </a:extLst>
          </p:cNvPr>
          <p:cNvSpPr>
            <a:spLocks/>
          </p:cNvSpPr>
          <p:nvPr>
            <p:custDataLst>
              <p:tags r:id="rId25"/>
            </p:custDataLst>
          </p:nvPr>
        </p:nvSpPr>
        <p:spPr bwMode="gray">
          <a:xfrm>
            <a:off x="7153275" y="3241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B707B-0782-43F3-B273-84ECE6D56D2F}" type="datetime'''''''''''''''''''''1''8''''''''''''''.''''2'''">
              <a:rPr lang="ja-JP" altLang="en-US" sz="1000" smtClean="0"/>
              <a:pPr/>
              <a:t>18.2</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11547B7-6F71-FFE5-081F-B150E5A9BE56}"/>
              </a:ext>
            </a:extLst>
          </p:cNvPr>
          <p:cNvSpPr>
            <a:spLocks/>
          </p:cNvSpPr>
          <p:nvPr>
            <p:custDataLst>
              <p:tags r:id="rId26"/>
            </p:custDataLst>
          </p:nvPr>
        </p:nvSpPr>
        <p:spPr bwMode="gray">
          <a:xfrm>
            <a:off x="7513638" y="3016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D2880-947E-4154-AB70-081122E2C7F7}" type="datetime'''''''''''''''''''''1''''9''''''''.''''''''''''9'''''''''">
              <a:rPr lang="ja-JP" altLang="en-US" sz="1000" smtClean="0"/>
              <a:pPr/>
              <a:t>19.9</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A98B960E-A9EC-4686-D80D-1A8B205A44E7}"/>
              </a:ext>
            </a:extLst>
          </p:cNvPr>
          <p:cNvSpPr>
            <a:spLocks/>
          </p:cNvSpPr>
          <p:nvPr>
            <p:custDataLst>
              <p:tags r:id="rId27"/>
            </p:custDataLst>
          </p:nvPr>
        </p:nvSpPr>
        <p:spPr bwMode="gray">
          <a:xfrm>
            <a:off x="7874000" y="2392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1E89A-7410-4D24-9485-527610D21C40}" type="datetime'''''2''''''4''''''''.''''''8'''''''''''''''''''''''''''''">
              <a:rPr lang="ja-JP" altLang="en-US" sz="1000" smtClean="0"/>
              <a:pPr/>
              <a:t>24.8</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E1DB1038-4D4F-C024-2034-4F6B23A3AD64}"/>
              </a:ext>
            </a:extLst>
          </p:cNvPr>
          <p:cNvSpPr>
            <a:spLocks/>
          </p:cNvSpPr>
          <p:nvPr>
            <p:custDataLst>
              <p:tags r:id="rId28"/>
            </p:custDataLst>
          </p:nvPr>
        </p:nvSpPr>
        <p:spPr bwMode="gray">
          <a:xfrm>
            <a:off x="8593138" y="2811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351AE-689B-4433-9865-09CC88E2F3CF}" type="datetime'''2''''''''''''''''''''''''''1.''5'''''''">
              <a:rPr lang="ja-JP" altLang="en-US" sz="1000" smtClean="0"/>
              <a:pPr/>
              <a:t>21.5</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3BCE2E52-922E-6544-198D-37356C39AD10}"/>
              </a:ext>
            </a:extLst>
          </p:cNvPr>
          <p:cNvSpPr>
            <a:spLocks/>
          </p:cNvSpPr>
          <p:nvPr>
            <p:custDataLst>
              <p:tags r:id="rId29"/>
            </p:custDataLst>
          </p:nvPr>
        </p:nvSpPr>
        <p:spPr bwMode="gray">
          <a:xfrm>
            <a:off x="8953500" y="2657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08F81-B396-4486-A6F3-3D1B491ED5DA}" type="datetime'''''''''''''''''''''''2''2''''''''''''''''.''''''''''''''''7'">
              <a:rPr lang="ja-JP" altLang="en-US" sz="1000" smtClean="0"/>
              <a:pPr/>
              <a:t>22.7</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E47B3B25-D30E-421C-372B-6B0023560F7F}"/>
              </a:ext>
            </a:extLst>
          </p:cNvPr>
          <p:cNvSpPr>
            <a:spLocks/>
          </p:cNvSpPr>
          <p:nvPr>
            <p:custDataLst>
              <p:tags r:id="rId30"/>
            </p:custDataLst>
          </p:nvPr>
        </p:nvSpPr>
        <p:spPr bwMode="gray">
          <a:xfrm>
            <a:off x="8234363" y="2422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735FA0-8F21-41BD-A84B-C390FC7FB872}" type="datetime'''''''2''4''''''''''''''''''''''.5'''">
              <a:rPr lang="ja-JP" altLang="en-US" sz="1000" smtClean="0"/>
              <a:pPr/>
              <a:t>24.5</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CFAC892C-1692-24D8-11A3-F186F180A95B}"/>
              </a:ext>
            </a:extLst>
          </p:cNvPr>
          <p:cNvSpPr>
            <a:spLocks/>
          </p:cNvSpPr>
          <p:nvPr>
            <p:custDataLst>
              <p:tags r:id="rId31"/>
            </p:custDataLst>
          </p:nvPr>
        </p:nvSpPr>
        <p:spPr bwMode="gray">
          <a:xfrm>
            <a:off x="706438" y="4795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D47CF-A7EB-437A-99CF-A48D3B26B2CD}" type="datetime'''''''6''''''''''''''''''''''.''''''''''''1'''''''">
              <a:rPr lang="ja-JP" altLang="en-US" sz="1000" smtClean="0"/>
              <a:pPr/>
              <a:t>6.1</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30D054E1-E73F-C63B-86FD-10A16293C048}"/>
              </a:ext>
            </a:extLst>
          </p:cNvPr>
          <p:cNvSpPr>
            <a:spLocks/>
          </p:cNvSpPr>
          <p:nvPr>
            <p:custDataLst>
              <p:tags r:id="rId32"/>
            </p:custDataLst>
          </p:nvPr>
        </p:nvSpPr>
        <p:spPr bwMode="gray">
          <a:xfrm>
            <a:off x="1066800" y="4845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09788-6023-47D2-82F1-F5276D17CA10}" type="datetime'''''''''''''''''''''''''''5''.7'''''''''''''''''''">
              <a:rPr lang="ja-JP" altLang="en-US" sz="1000" smtClean="0"/>
              <a:pPr/>
              <a:t>5.7</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CFE47D7-41EB-98CC-92F2-E13DD02E94B3}"/>
              </a:ext>
            </a:extLst>
          </p:cNvPr>
          <p:cNvSpPr>
            <a:spLocks/>
          </p:cNvSpPr>
          <p:nvPr>
            <p:custDataLst>
              <p:tags r:id="rId33"/>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A05AD3-1D2C-4D0E-B878-6A104520D3E7}"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9B148DDA-5883-474D-6D03-D6266D6FB873}"/>
              </a:ext>
            </a:extLst>
          </p:cNvPr>
          <p:cNvSpPr>
            <a:spLocks/>
          </p:cNvSpPr>
          <p:nvPr>
            <p:custDataLst>
              <p:tags r:id="rId34"/>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5B172-871A-46A0-A97F-D19FBBC1440A}"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A7D2E740-F54A-3522-1045-A48BB3C79CFF}"/>
              </a:ext>
            </a:extLst>
          </p:cNvPr>
          <p:cNvSpPr>
            <a:spLocks/>
          </p:cNvSpPr>
          <p:nvPr>
            <p:custDataLst>
              <p:tags r:id="rId35"/>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4B4A15-2767-46B6-B779-5B14BDAAD30E}"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442E8C7B-D85D-4FE8-6F1D-053F46D86C82}"/>
              </a:ext>
            </a:extLst>
          </p:cNvPr>
          <p:cNvSpPr>
            <a:spLocks/>
          </p:cNvSpPr>
          <p:nvPr>
            <p:custDataLst>
              <p:tags r:id="rId36"/>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12CDA6-0814-4870-AD89-C4EF7F63AA6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46C8093A-5080-EA70-A39F-692C798AD396}"/>
              </a:ext>
            </a:extLst>
          </p:cNvPr>
          <p:cNvSpPr>
            <a:spLocks/>
          </p:cNvSpPr>
          <p:nvPr>
            <p:custDataLst>
              <p:tags r:id="rId37"/>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5893E-FF81-47BB-BAF7-17865EA5128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F0DCA743-0B48-A581-16AF-FFFED81612B5}"/>
              </a:ext>
            </a:extLst>
          </p:cNvPr>
          <p:cNvSpPr>
            <a:spLocks/>
          </p:cNvSpPr>
          <p:nvPr>
            <p:custDataLst>
              <p:tags r:id="rId38"/>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704770-1868-401C-95DF-B0AB8C30B861}"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520955FB-FA59-8C9C-DC21-90AC5F4F9842}"/>
              </a:ext>
            </a:extLst>
          </p:cNvPr>
          <p:cNvSpPr>
            <a:spLocks/>
          </p:cNvSpPr>
          <p:nvPr>
            <p:custDataLst>
              <p:tags r:id="rId39"/>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DA6C5-E69C-4777-8C7F-49F243DC82F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95EDFE-497A-F51B-FEEB-64AF58CD3640}"/>
              </a:ext>
            </a:extLst>
          </p:cNvPr>
          <p:cNvSpPr>
            <a:spLocks/>
          </p:cNvSpPr>
          <p:nvPr>
            <p:custDataLst>
              <p:tags r:id="rId40"/>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B0590-677A-4295-BB8E-04146034BF0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DA9BD0AE-110C-B226-B20E-E11AAECFDB3F}"/>
              </a:ext>
            </a:extLst>
          </p:cNvPr>
          <p:cNvSpPr>
            <a:spLocks/>
          </p:cNvSpPr>
          <p:nvPr>
            <p:custDataLst>
              <p:tags r:id="rId41"/>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17EE01-68CC-4932-B0BA-3D68DE45AB9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02DC816D-D3F6-9A34-C406-C90465ED3B40}"/>
              </a:ext>
            </a:extLst>
          </p:cNvPr>
          <p:cNvSpPr>
            <a:spLocks/>
          </p:cNvSpPr>
          <p:nvPr>
            <p:custDataLst>
              <p:tags r:id="rId42"/>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F340EB-8823-4C8D-B670-97A6B113E79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F13B470A-9FB0-644F-E6EB-365BD784ACB5}"/>
              </a:ext>
            </a:extLst>
          </p:cNvPr>
          <p:cNvSpPr>
            <a:spLocks/>
          </p:cNvSpPr>
          <p:nvPr>
            <p:custDataLst>
              <p:tags r:id="rId43"/>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2EF7A9-9176-4D08-983E-C44EED42D7A6}"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56684332-2DEC-EE4C-ECE1-57B72D63EB81}"/>
              </a:ext>
            </a:extLst>
          </p:cNvPr>
          <p:cNvSpPr>
            <a:spLocks/>
          </p:cNvSpPr>
          <p:nvPr>
            <p:custDataLst>
              <p:tags r:id="rId44"/>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A0FA9-B92B-4158-BFCA-52D0C2CC76B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886A309D-14FA-56A1-03D2-99EA048E1283}"/>
              </a:ext>
            </a:extLst>
          </p:cNvPr>
          <p:cNvSpPr>
            <a:spLocks/>
          </p:cNvSpPr>
          <p:nvPr>
            <p:custDataLst>
              <p:tags r:id="rId45"/>
            </p:custDataLst>
          </p:nvPr>
        </p:nvSpPr>
        <p:spPr bwMode="gray">
          <a:xfrm>
            <a:off x="1427163" y="4770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AFBEB4-901B-41BE-8313-31FED0A3A60B}" type="datetime'''''''''''''''''''6''''''''''.3'''''''''''''''''">
              <a:rPr lang="ja-JP" altLang="en-US" sz="1000" smtClean="0"/>
              <a:pPr/>
              <a:t>6.3</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623642ED-D87D-12FF-A41F-593016A923BC}"/>
              </a:ext>
            </a:extLst>
          </p:cNvPr>
          <p:cNvSpPr>
            <a:spLocks/>
          </p:cNvSpPr>
          <p:nvPr>
            <p:custDataLst>
              <p:tags r:id="rId46"/>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510945-8398-48A5-A008-2A3F4CD2A83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9AB6DBCA-8976-59F2-E4C4-6267E7EFBD0B}"/>
              </a:ext>
            </a:extLst>
          </p:cNvPr>
          <p:cNvSpPr>
            <a:spLocks/>
          </p:cNvSpPr>
          <p:nvPr>
            <p:custDataLst>
              <p:tags r:id="rId47"/>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0BCE94-AA5F-4322-A59E-4BFAD7F99A8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593D2D60-BC95-F820-0F45-F1C54571179F}"/>
              </a:ext>
            </a:extLst>
          </p:cNvPr>
          <p:cNvSpPr>
            <a:spLocks/>
          </p:cNvSpPr>
          <p:nvPr>
            <p:custDataLst>
              <p:tags r:id="rId48"/>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0A8076-7DCD-4C00-88A2-AABD0670897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AFDD9AA-756D-5A5A-8C46-2159CC87998D}"/>
              </a:ext>
            </a:extLst>
          </p:cNvPr>
          <p:cNvSpPr>
            <a:spLocks/>
          </p:cNvSpPr>
          <p:nvPr>
            <p:custDataLst>
              <p:tags r:id="rId49"/>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FE6AA3-9C4D-45FA-A6EF-EFBAB010F82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D8BAF491-701F-991A-FD37-479861FD3376}"/>
              </a:ext>
            </a:extLst>
          </p:cNvPr>
          <p:cNvSpPr>
            <a:spLocks/>
          </p:cNvSpPr>
          <p:nvPr>
            <p:custDataLst>
              <p:tags r:id="rId50"/>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BECB9-84A6-40AA-B8F6-4CA46FC8A3B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B464948A-EE25-D789-9CAC-6253D3E4C9BA}"/>
              </a:ext>
            </a:extLst>
          </p:cNvPr>
          <p:cNvSpPr>
            <a:spLocks/>
          </p:cNvSpPr>
          <p:nvPr>
            <p:custDataLst>
              <p:tags r:id="rId51"/>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BF378-A8FC-44AB-B115-2DA6E24C382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4CE366B9-7CB1-3345-F984-03334EF4371C}"/>
              </a:ext>
            </a:extLst>
          </p:cNvPr>
          <p:cNvSpPr>
            <a:spLocks/>
          </p:cNvSpPr>
          <p:nvPr>
            <p:custDataLst>
              <p:tags r:id="rId52"/>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ACD9C-2EA6-4E68-B3EB-FA26760CA84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817FAD0F-DD48-9B18-06E9-7071460059B3}"/>
              </a:ext>
            </a:extLst>
          </p:cNvPr>
          <p:cNvSpPr>
            <a:spLocks/>
          </p:cNvSpPr>
          <p:nvPr>
            <p:custDataLst>
              <p:tags r:id="rId53"/>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C7243D-321B-4F18-AF60-677428C6E11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1D0834E5-A094-57FC-982E-BD89D57806EE}"/>
              </a:ext>
            </a:extLst>
          </p:cNvPr>
          <p:cNvSpPr>
            <a:spLocks/>
          </p:cNvSpPr>
          <p:nvPr>
            <p:custDataLst>
              <p:tags r:id="rId54"/>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6F801-9F06-476D-96A0-6B4EAEF7829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681CD40E-91EA-3510-427C-1381A4AEBBDE}"/>
              </a:ext>
            </a:extLst>
          </p:cNvPr>
          <p:cNvSpPr>
            <a:spLocks/>
          </p:cNvSpPr>
          <p:nvPr>
            <p:custDataLst>
              <p:tags r:id="rId55"/>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6E752C-9A98-434A-95EC-E4FBCEE81EE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1237F1CC-248F-13C9-0206-EB480B8DE970}"/>
              </a:ext>
            </a:extLst>
          </p:cNvPr>
          <p:cNvSpPr>
            <a:spLocks/>
          </p:cNvSpPr>
          <p:nvPr>
            <p:custDataLst>
              <p:tags r:id="rId56"/>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24E4A-1C68-4290-9155-27A31CA9770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6A2C9F5D-0999-022D-E60D-5CC1CDC91AEF}"/>
              </a:ext>
            </a:extLst>
          </p:cNvPr>
          <p:cNvSpPr>
            <a:spLocks/>
          </p:cNvSpPr>
          <p:nvPr>
            <p:custDataLst>
              <p:tags r:id="rId57"/>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0249FF-C14E-432C-89B5-B65DAD701C52}"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Tree>
    <p:extLst>
      <p:ext uri="{BB962C8B-B14F-4D97-AF65-F5344CB8AC3E}">
        <p14:creationId xmlns:p14="http://schemas.microsoft.com/office/powerpoint/2010/main" val="2894117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p:cNvGraphicFramePr>
          <p:nvPr>
            <p:custDataLst>
              <p:tags r:id="rId1"/>
            </p:custDataLst>
            <p:extLst>
              <p:ext uri="{D42A27DB-BD31-4B8C-83A1-F6EECF244321}">
                <p14:modId xmlns:p14="http://schemas.microsoft.com/office/powerpoint/2010/main" val="166576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333940105"/>
              </p:ext>
            </p:extLst>
          </p:nvPr>
        </p:nvGraphicFramePr>
        <p:xfrm>
          <a:off x="200472" y="1052737"/>
          <a:ext cx="9505056" cy="446449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なし　（都市国家）</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公用語として英語、中国語（北京語）、マレー語、タミル語。国語はマレー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シンガポールドル（</a:t>
                      </a:r>
                      <a:r>
                        <a:rPr kumimoji="1" lang="en-US" altLang="ja-JP" sz="1200" b="0" dirty="0">
                          <a:solidFill>
                            <a:schemeClr val="tx1"/>
                          </a:solidFill>
                        </a:rPr>
                        <a:t>SGD</a:t>
                      </a:r>
                      <a:r>
                        <a:rPr kumimoji="1" lang="ja-JP" altLang="en-US" sz="1200" b="0" dirty="0">
                          <a:solidFill>
                            <a:schemeClr val="tx1"/>
                          </a:solidFill>
                        </a:rPr>
                        <a:t>）　＝　</a:t>
                      </a:r>
                      <a:r>
                        <a:rPr kumimoji="1" lang="en-US" altLang="ja-JP" sz="1200" b="0" dirty="0">
                          <a:solidFill>
                            <a:schemeClr val="tx1"/>
                          </a:solidFill>
                        </a:rPr>
                        <a:t>124.5</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通常は</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6</a:t>
                      </a:r>
                      <a:r>
                        <a:rPr kumimoji="1" lang="ja-JP" altLang="en-US" sz="1200" b="0" dirty="0">
                          <a:solidFill>
                            <a:schemeClr val="tx1"/>
                          </a:solidFill>
                        </a:rPr>
                        <a:t>月、または</a:t>
                      </a:r>
                      <a:r>
                        <a:rPr kumimoji="1" lang="en-US" altLang="ja-JP" sz="1200" b="0" dirty="0">
                          <a:solidFill>
                            <a:schemeClr val="tx1"/>
                          </a:solidFill>
                        </a:rPr>
                        <a:t>12</a:t>
                      </a:r>
                      <a:r>
                        <a:rPr kumimoji="1" lang="ja-JP" altLang="en-US" sz="1200" b="0" dirty="0">
                          <a:solidFill>
                            <a:schemeClr val="tx1"/>
                          </a:solidFill>
                        </a:rPr>
                        <a:t>月末が選ばれることが多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イスラム教、ヒンズー教、道教、キリスト教ほ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立憲共和制（英連邦加盟）</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ー・シェンロン首相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首相を務めたゴー・チョクトン前首相（現名誉上級相）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政権を継承。建国以来、与党人民行動党（</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AP</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圧倒的多数を維持してお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において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中、</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内政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組織、反政府組織や国際テロ組織の関連組織の活動は確認されていない。また、安定した国内情勢及び治安対策を反映して、近年テロ事件の発生はない。</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全な国ではあるが、過去には市内のレストラン、ショッピングセンターや路上あるいは空港等においても、置き引きやスリが発生しており、パスポートや金品の盗難被害に遭う日本人旅行者が散見される。また、女性が被害に遭う痴漢、盗撮、強制わいせつ等の性犯罪についても注意が必要。</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シンガポールの治安の良さは、シンガポール国民の法令・規則の遵法精神に根差しており、これらの規則に違反した場合には、外国人でも重い刑罰に処せられる場合もある。統治の規則・規制をしっかりと守ることが肝要であ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25344"/>
            <a:ext cx="9073008" cy="16006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Foreign Affairs of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外務省ホームページ、</a:t>
            </a:r>
            <a:r>
              <a:rPr lang="en-US" altLang="ja-JP" sz="800" dirty="0"/>
              <a:t>Accounting and Corporate Regulatory Authority of Singapore</a:t>
            </a:r>
            <a:r>
              <a:rPr lang="ja-JP" altLang="en-US" sz="800" dirty="0"/>
              <a:t>、外安全ホームページ、</a:t>
            </a:r>
            <a:r>
              <a:rPr lang="en-US" altLang="ja-JP" sz="800" dirty="0"/>
              <a:t>JETRO </a:t>
            </a:r>
            <a:r>
              <a:rPr lang="ja-JP" altLang="en-US" sz="800" dirty="0"/>
              <a:t>ホームページ、みずほ銀行、</a:t>
            </a:r>
            <a:r>
              <a:rPr lang="en-US" altLang="ja-JP" sz="800" dirty="0"/>
              <a:t>Xe.com</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7067180" y="2492897"/>
            <a:ext cx="2287955" cy="4104754"/>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医療機器市場は、非常に速いスピードで成長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平均して、シンガポールに輸入された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その後再輸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61">
            <a:extLst>
              <a:ext uri="{FF2B5EF4-FFF2-40B4-BE49-F238E27FC236}">
                <a16:creationId xmlns:a16="http://schemas.microsoft.com/office/drawing/2014/main" id="{114BF00A-20B3-19D2-12F7-AF052F5E1F83}"/>
              </a:ext>
            </a:extLst>
          </p:cNvPr>
          <p:cNvGraphicFramePr/>
          <p:nvPr>
            <p:custDataLst>
              <p:tags r:id="rId3"/>
            </p:custDataLst>
            <p:extLst>
              <p:ext uri="{D42A27DB-BD31-4B8C-83A1-F6EECF244321}">
                <p14:modId xmlns:p14="http://schemas.microsoft.com/office/powerpoint/2010/main" val="248575013"/>
              </p:ext>
            </p:extLst>
          </p:nvPr>
        </p:nvGraphicFramePr>
        <p:xfrm>
          <a:off x="560512" y="2492896"/>
          <a:ext cx="8742362" cy="3549650"/>
        </p:xfrm>
        <a:graphic>
          <a:graphicData uri="http://schemas.openxmlformats.org/drawingml/2006/chart">
            <c:chart xmlns:c="http://schemas.openxmlformats.org/drawingml/2006/chart" xmlns:r="http://schemas.openxmlformats.org/officeDocument/2006/relationships" r:id="rId11"/>
          </a:graphicData>
        </a:graphic>
      </p:graphicFrame>
      <p:sp>
        <p:nvSpPr>
          <p:cNvPr id="4" name="テキスト プレースホルダ 9">
            <a:extLst>
              <a:ext uri="{FF2B5EF4-FFF2-40B4-BE49-F238E27FC236}">
                <a16:creationId xmlns:a16="http://schemas.microsoft.com/office/drawing/2014/main" id="{074E8E8C-752A-2957-A66D-76BD7A5CA208}"/>
              </a:ext>
            </a:extLst>
          </p:cNvPr>
          <p:cNvSpPr>
            <a:spLocks/>
          </p:cNvSpPr>
          <p:nvPr>
            <p:custDataLst>
              <p:tags r:id="rId4"/>
            </p:custDataLst>
          </p:nvPr>
        </p:nvSpPr>
        <p:spPr bwMode="auto">
          <a:xfrm>
            <a:off x="1840553"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0</a:t>
            </a:r>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A1BA8591-E438-E3CA-266A-73A245F5299A}"/>
              </a:ext>
            </a:extLst>
          </p:cNvPr>
          <p:cNvSpPr>
            <a:spLocks/>
          </p:cNvSpPr>
          <p:nvPr>
            <p:custDataLst>
              <p:tags r:id="rId5"/>
            </p:custDataLst>
          </p:nvPr>
        </p:nvSpPr>
        <p:spPr bwMode="auto">
          <a:xfrm>
            <a:off x="3937141"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1</a:t>
            </a:r>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2196FA9B-3519-F3CC-B59C-7DAF644A5831}"/>
              </a:ext>
            </a:extLst>
          </p:cNvPr>
          <p:cNvSpPr>
            <a:spLocks/>
          </p:cNvSpPr>
          <p:nvPr>
            <p:custDataLst>
              <p:tags r:id="rId6"/>
            </p:custDataLst>
          </p:nvPr>
        </p:nvSpPr>
        <p:spPr bwMode="auto">
          <a:xfrm>
            <a:off x="6081853"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2</a:t>
            </a:r>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419B6DD7-A789-1F5D-B221-9166240685F1}"/>
              </a:ext>
            </a:extLst>
          </p:cNvPr>
          <p:cNvSpPr>
            <a:spLocks/>
          </p:cNvSpPr>
          <p:nvPr>
            <p:custDataLst>
              <p:tags r:id="rId7"/>
            </p:custDataLst>
          </p:nvPr>
        </p:nvSpPr>
        <p:spPr bwMode="auto">
          <a:xfrm>
            <a:off x="8070974"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3</a:t>
            </a:r>
            <a:endParaRPr kumimoji="0" lang="ja-JP" altLang="en-US" sz="1000" dirty="0">
              <a:sym typeface="+mn-lt"/>
            </a:endParaRPr>
          </a:p>
        </p:txBody>
      </p:sp>
      <p:cxnSp>
        <p:nvCxnSpPr>
          <p:cNvPr id="11" name="Straight Arrow Connector 10">
            <a:extLst>
              <a:ext uri="{FF2B5EF4-FFF2-40B4-BE49-F238E27FC236}">
                <a16:creationId xmlns:a16="http://schemas.microsoft.com/office/drawing/2014/main" id="{C9E6EC50-7977-1499-6FFE-5FB8C8BE2AF5}"/>
              </a:ext>
            </a:extLst>
          </p:cNvPr>
          <p:cNvCxnSpPr/>
          <p:nvPr/>
        </p:nvCxnSpPr>
        <p:spPr>
          <a:xfrm flipV="1">
            <a:off x="1869630" y="2718246"/>
            <a:ext cx="3888432" cy="79241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8007A66B-0CE9-60FC-4DA3-D02C3398C95D}"/>
              </a:ext>
            </a:extLst>
          </p:cNvPr>
          <p:cNvSpPr/>
          <p:nvPr/>
        </p:nvSpPr>
        <p:spPr>
          <a:xfrm>
            <a:off x="3021307" y="2736424"/>
            <a:ext cx="1005840" cy="516155"/>
          </a:xfrm>
          <a:prstGeom prst="ellipse">
            <a:avLst/>
          </a:prstGeom>
          <a:solidFill>
            <a:schemeClr val="bg1"/>
          </a:solidFill>
          <a:ln w="12700">
            <a:solidFill>
              <a:schemeClr val="tx1">
                <a:lumMod val="65000"/>
                <a:lumOff val="35000"/>
              </a:schemeClr>
            </a:solidFill>
          </a:ln>
        </p:spPr>
        <p:txBody>
          <a:bodyPr wrap="square" rtlCol="0" anchor="ctr">
            <a:noAutofit/>
          </a:bodyPr>
          <a:lstStyle/>
          <a:p>
            <a:pPr marL="0" algn="ctr" fontAlgn="ctr">
              <a:lnSpc>
                <a:spcPct val="114000"/>
              </a:lnSpc>
              <a:spcAft>
                <a:spcPts val="400"/>
              </a:spcAft>
            </a:pPr>
            <a:r>
              <a:rPr kumimoji="1" lang="en-US" altLang="ja-JP" sz="1200" b="1" dirty="0"/>
              <a:t>CAGR:</a:t>
            </a:r>
            <a:br>
              <a:rPr kumimoji="1" lang="en-US" altLang="ja-JP" sz="1200" b="1" dirty="0"/>
            </a:br>
            <a:r>
              <a:rPr kumimoji="1" lang="en-US" altLang="ja-JP" sz="1200" b="1" dirty="0"/>
              <a:t>23.5%</a:t>
            </a:r>
            <a:endParaRPr kumimoji="1" lang="ja-JP" altLang="en-US" sz="1200" b="1" dirty="0"/>
          </a:p>
        </p:txBody>
      </p:sp>
    </p:spTree>
    <p:extLst>
      <p:ext uri="{BB962C8B-B14F-4D97-AF65-F5344CB8AC3E}">
        <p14:creationId xmlns:p14="http://schemas.microsoft.com/office/powerpoint/2010/main" val="32280740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1770684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4" name="Object 3"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200025" y="246097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継続して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メキシコ、マレーシアとなっており、中国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テキスト ボックス 21">
            <a:extLst>
              <a:ext uri="{FF2B5EF4-FFF2-40B4-BE49-F238E27FC236}">
                <a16:creationId xmlns:a16="http://schemas.microsoft.com/office/drawing/2014/main" id="{1798BFA9-EFEF-4A9C-8A55-742E9D7A031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 （</a:t>
            </a:r>
            <a:r>
              <a:rPr lang="en-US" altLang="ja-JP" dirty="0"/>
              <a:t>2026</a:t>
            </a:r>
            <a:r>
              <a:rPr lang="ja-JP" altLang="en-US" dirty="0"/>
              <a:t>年</a:t>
            </a:r>
            <a:r>
              <a:rPr lang="en-US" altLang="ja-JP" dirty="0"/>
              <a:t>3</a:t>
            </a:r>
            <a:r>
              <a:rPr lang="ja-JP" altLang="en-US" dirty="0"/>
              <a:t>月時点）</a:t>
            </a:r>
          </a:p>
        </p:txBody>
      </p:sp>
      <p:graphicFrame>
        <p:nvGraphicFramePr>
          <p:cNvPr id="107" name="Chart 106">
            <a:extLst>
              <a:ext uri="{FF2B5EF4-FFF2-40B4-BE49-F238E27FC236}">
                <a16:creationId xmlns:a16="http://schemas.microsoft.com/office/drawing/2014/main" id="{DF893558-D062-4C45-D07D-ED72A2BF0775}"/>
              </a:ext>
            </a:extLst>
          </p:cNvPr>
          <p:cNvGraphicFramePr/>
          <p:nvPr>
            <p:custDataLst>
              <p:tags r:id="rId3"/>
            </p:custDataLst>
            <p:extLst>
              <p:ext uri="{D42A27DB-BD31-4B8C-83A1-F6EECF244321}">
                <p14:modId xmlns:p14="http://schemas.microsoft.com/office/powerpoint/2010/main" val="1024783428"/>
              </p:ext>
            </p:extLst>
          </p:nvPr>
        </p:nvGraphicFramePr>
        <p:xfrm>
          <a:off x="6670675" y="3144838"/>
          <a:ext cx="2498725" cy="2949575"/>
        </p:xfrm>
        <a:graphic>
          <a:graphicData uri="http://schemas.openxmlformats.org/drawingml/2006/chart">
            <c:chart xmlns:c="http://schemas.openxmlformats.org/drawingml/2006/chart" xmlns:r="http://schemas.openxmlformats.org/officeDocument/2006/relationships" r:id="rId54"/>
          </a:graphicData>
        </a:graphic>
      </p:graphicFrame>
      <p:sp>
        <p:nvSpPr>
          <p:cNvPr id="80" name="テキスト プレースホルダ 9">
            <a:extLst>
              <a:ext uri="{FF2B5EF4-FFF2-40B4-BE49-F238E27FC236}">
                <a16:creationId xmlns:a16="http://schemas.microsoft.com/office/drawing/2014/main" id="{309EEAF9-6B16-C4E1-CC6A-4BFB857ADF20}"/>
              </a:ext>
            </a:extLst>
          </p:cNvPr>
          <p:cNvSpPr>
            <a:spLocks/>
          </p:cNvSpPr>
          <p:nvPr>
            <p:custDataLst>
              <p:tags r:id="rId4"/>
            </p:custDataLst>
          </p:nvPr>
        </p:nvSpPr>
        <p:spPr bwMode="auto">
          <a:xfrm>
            <a:off x="8966200" y="38655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D5E024-1CAD-483D-9E70-13A27E550B2D}"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25255A8-E1C3-401A-4B83-DC501DE5219F}"/>
              </a:ext>
            </a:extLst>
          </p:cNvPr>
          <p:cNvSpPr>
            <a:spLocks/>
          </p:cNvSpPr>
          <p:nvPr>
            <p:custDataLst>
              <p:tags r:id="rId5"/>
            </p:custDataLst>
          </p:nvPr>
        </p:nvSpPr>
        <p:spPr bwMode="auto">
          <a:xfrm>
            <a:off x="8694738" y="5532438"/>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FF3E0F-2B30-4778-A0D5-8AAF90D0C26F}" type="datetime'''''''''''メ''''キシ''''''''''''''''''''コ'''''">
              <a:rPr lang="ja-JP" altLang="en-US" sz="1000" smtClean="0">
                <a:effectLst/>
                <a:sym typeface="+mn-lt"/>
              </a:rPr>
              <a:pPr marL="0" lvl="0" indent="0">
                <a:spcBef>
                  <a:spcPct val="0"/>
                </a:spcBef>
                <a:buNone/>
              </a:pPr>
              <a:t>メキシコ</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DF9D3913-24DE-C4C6-519C-7CF2AA327754}"/>
              </a:ext>
            </a:extLst>
          </p:cNvPr>
          <p:cNvSpPr>
            <a:spLocks/>
          </p:cNvSpPr>
          <p:nvPr>
            <p:custDataLst>
              <p:tags r:id="rId6"/>
            </p:custDataLst>
          </p:nvPr>
        </p:nvSpPr>
        <p:spPr bwMode="auto">
          <a:xfrm>
            <a:off x="7607300" y="5816600"/>
            <a:ext cx="573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9968A6D-0916-42D5-9478-1CD2BA27437D}" type="datetime'''''''''''''マ''''レ''''ー''シ''''''''''''''''''ア'''''''''''">
              <a:rPr lang="ja-JP" altLang="en-US" sz="1000" smtClean="0">
                <a:effectLst/>
                <a:sym typeface="+mn-lt"/>
              </a:rPr>
              <a:pPr marL="0" lvl="0" indent="0" algn="r">
                <a:spcBef>
                  <a:spcPct val="0"/>
                </a:spcBef>
                <a:buNone/>
              </a:pPr>
              <a:t>マレーシア</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DE5139C6-2028-7B3E-6F74-46750BA62BBD}"/>
              </a:ext>
            </a:extLst>
          </p:cNvPr>
          <p:cNvSpPr>
            <a:spLocks/>
          </p:cNvSpPr>
          <p:nvPr>
            <p:custDataLst>
              <p:tags r:id="rId7"/>
            </p:custDataLst>
          </p:nvPr>
        </p:nvSpPr>
        <p:spPr bwMode="auto">
          <a:xfrm>
            <a:off x="7002463" y="5614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5AEEA6-CA60-44CB-BF70-569643788B91}" type="datetime'''''''''''''''''''''''''''''''''''中''''''''''''''''''''''国'''">
              <a:rPr lang="ja-JP" altLang="en-US" sz="1000" smtClean="0">
                <a:effectLst/>
                <a:sym typeface="+mn-lt"/>
              </a:rPr>
              <a:pPr marL="0" lvl="0" indent="0" algn="r">
                <a:spcBef>
                  <a:spcPct val="0"/>
                </a:spcBef>
                <a:buNone/>
              </a:pPr>
              <a:t>中国</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E55963E2-9783-124C-85B8-6EAAE8EEA98D}"/>
              </a:ext>
            </a:extLst>
          </p:cNvPr>
          <p:cNvSpPr>
            <a:spLocks/>
          </p:cNvSpPr>
          <p:nvPr>
            <p:custDataLst>
              <p:tags r:id="rId8"/>
            </p:custDataLst>
          </p:nvPr>
        </p:nvSpPr>
        <p:spPr bwMode="auto">
          <a:xfrm>
            <a:off x="6216650" y="5216525"/>
            <a:ext cx="650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E2B5B5-483E-4728-ADED-6B862BAEF348}" type="datetime'イン''''ド''''''''''''''''''ネ''''シア'''">
              <a:rPr lang="ja-JP" altLang="en-US" sz="1000" smtClean="0">
                <a:effectLst/>
                <a:sym typeface="+mn-lt"/>
              </a:rPr>
              <a:pPr marL="0" lvl="0" indent="0" algn="r">
                <a:spcBef>
                  <a:spcPct val="0"/>
                </a:spcBef>
                <a:buNone/>
              </a:pPr>
              <a:t>インドネシア</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2E7C239-4891-CC33-D31F-143CAB4256D8}"/>
              </a:ext>
            </a:extLst>
          </p:cNvPr>
          <p:cNvSpPr>
            <a:spLocks/>
          </p:cNvSpPr>
          <p:nvPr>
            <p:custDataLst>
              <p:tags r:id="rId9"/>
            </p:custDataLst>
          </p:nvPr>
        </p:nvSpPr>
        <p:spPr bwMode="auto">
          <a:xfrm>
            <a:off x="6540500" y="38020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4CF932-EA7F-4A8E-88FD-929A16A1681B}"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28" name="Rectangle 127">
            <a:extLst>
              <a:ext uri="{FF2B5EF4-FFF2-40B4-BE49-F238E27FC236}">
                <a16:creationId xmlns:a16="http://schemas.microsoft.com/office/drawing/2014/main" id="{D01D334A-6749-3989-CA7C-2AAE97D73EE1}"/>
              </a:ext>
            </a:extLst>
          </p:cNvPr>
          <p:cNvSpPr/>
          <p:nvPr>
            <p:custDataLst>
              <p:tags r:id="rId10"/>
            </p:custDataLst>
          </p:nvPr>
        </p:nvSpPr>
        <p:spPr bwMode="gray">
          <a:xfrm>
            <a:off x="6181725" y="283686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Rectangle 128">
            <a:extLst>
              <a:ext uri="{FF2B5EF4-FFF2-40B4-BE49-F238E27FC236}">
                <a16:creationId xmlns:a16="http://schemas.microsoft.com/office/drawing/2014/main" id="{52726AED-EBF5-5896-C092-8390ED78FA40}"/>
              </a:ext>
            </a:extLst>
          </p:cNvPr>
          <p:cNvSpPr/>
          <p:nvPr>
            <p:custDataLst>
              <p:tags r:id="rId11"/>
            </p:custDataLst>
          </p:nvPr>
        </p:nvSpPr>
        <p:spPr bwMode="gray">
          <a:xfrm>
            <a:off x="6181725" y="304006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プレースホルダ 9">
            <a:extLst>
              <a:ext uri="{FF2B5EF4-FFF2-40B4-BE49-F238E27FC236}">
                <a16:creationId xmlns:a16="http://schemas.microsoft.com/office/drawing/2014/main" id="{01CF9A36-96D9-6ABB-75C8-16EC7D4673B2}"/>
              </a:ext>
            </a:extLst>
          </p:cNvPr>
          <p:cNvSpPr>
            <a:spLocks/>
          </p:cNvSpPr>
          <p:nvPr>
            <p:custDataLst>
              <p:tags r:id="rId12"/>
            </p:custDataLst>
          </p:nvPr>
        </p:nvSpPr>
        <p:spPr bwMode="auto">
          <a:xfrm>
            <a:off x="6411913" y="28321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56973CD-18C8-4267-BA7D-6C23D675D19D}" type="datetime'''''''''''''''''輸''''''''''''''''''''''出'''''''''''''''">
              <a:rPr kumimoji="0" lang="ja-JP" altLang="en-US" sz="1000" smtClean="0"/>
              <a:pPr/>
              <a:t>輸出</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C28C0043-98DF-8C83-3B3A-32EC4062CC61}"/>
              </a:ext>
            </a:extLst>
          </p:cNvPr>
          <p:cNvSpPr>
            <a:spLocks/>
          </p:cNvSpPr>
          <p:nvPr>
            <p:custDataLst>
              <p:tags r:id="rId13"/>
            </p:custDataLst>
          </p:nvPr>
        </p:nvSpPr>
        <p:spPr bwMode="auto">
          <a:xfrm>
            <a:off x="6411913" y="3035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10D234-994C-4034-8AD2-D05DE79172CC}" type="datetime'''''''''輸''''''''''''''''''''入'">
              <a:rPr kumimoji="0" lang="ja-JP" altLang="en-US" sz="1000" smtClean="0"/>
              <a:pPr/>
              <a:t>輸入</a:t>
            </a:fld>
            <a:endParaRPr kumimoji="0" lang="ja-JP" altLang="en-US" sz="1000" dirty="0">
              <a:sym typeface="+mn-lt"/>
            </a:endParaRPr>
          </a:p>
        </p:txBody>
      </p:sp>
      <p:graphicFrame>
        <p:nvGraphicFramePr>
          <p:cNvPr id="170" name="Chart 169">
            <a:extLst>
              <a:ext uri="{FF2B5EF4-FFF2-40B4-BE49-F238E27FC236}">
                <a16:creationId xmlns:a16="http://schemas.microsoft.com/office/drawing/2014/main" id="{AA7FE883-A698-E378-591B-D61B571FEC54}"/>
              </a:ext>
            </a:extLst>
          </p:cNvPr>
          <p:cNvGraphicFramePr/>
          <p:nvPr>
            <p:custDataLst>
              <p:tags r:id="rId14"/>
            </p:custDataLst>
            <p:extLst>
              <p:ext uri="{D42A27DB-BD31-4B8C-83A1-F6EECF244321}">
                <p14:modId xmlns:p14="http://schemas.microsoft.com/office/powerpoint/2010/main" val="931380839"/>
              </p:ext>
            </p:extLst>
          </p:nvPr>
        </p:nvGraphicFramePr>
        <p:xfrm>
          <a:off x="425450" y="2698750"/>
          <a:ext cx="5788025" cy="3260725"/>
        </p:xfrm>
        <a:graphic>
          <a:graphicData uri="http://schemas.openxmlformats.org/drawingml/2006/chart">
            <c:chart xmlns:c="http://schemas.openxmlformats.org/drawingml/2006/chart" xmlns:r="http://schemas.openxmlformats.org/officeDocument/2006/relationships" r:id="rId55"/>
          </a:graphicData>
        </a:graphic>
      </p:graphicFrame>
      <p:sp>
        <p:nvSpPr>
          <p:cNvPr id="133" name="テキスト プレースホルダ 9">
            <a:extLst>
              <a:ext uri="{FF2B5EF4-FFF2-40B4-BE49-F238E27FC236}">
                <a16:creationId xmlns:a16="http://schemas.microsoft.com/office/drawing/2014/main" id="{5CFDC6C3-8493-250B-56BB-0B5274395CE3}"/>
              </a:ext>
            </a:extLst>
          </p:cNvPr>
          <p:cNvSpPr>
            <a:spLocks/>
          </p:cNvSpPr>
          <p:nvPr>
            <p:custDataLst>
              <p:tags r:id="rId15"/>
            </p:custDataLst>
          </p:nvPr>
        </p:nvSpPr>
        <p:spPr bwMode="gray">
          <a:xfrm>
            <a:off x="204788" y="5413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AB0637-6ECE-44EF-87CA-FBF5A7213669}" type="datetime'''''''''''''''''''0''.''''''''5'''''''">
              <a:rPr lang="en-US" altLang="en-US" sz="1000" smtClean="0">
                <a:sym typeface="+mn-lt"/>
              </a:rPr>
              <a:pPr/>
              <a:t>0.5</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B0021273-230F-A1F2-3DD4-8E181F1A1A57}"/>
              </a:ext>
            </a:extLst>
          </p:cNvPr>
          <p:cNvSpPr>
            <a:spLocks/>
          </p:cNvSpPr>
          <p:nvPr>
            <p:custDataLst>
              <p:tags r:id="rId16"/>
            </p:custDataLst>
          </p:nvPr>
        </p:nvSpPr>
        <p:spPr bwMode="gray">
          <a:xfrm>
            <a:off x="204788" y="5027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71A21A-9C98-4484-89EF-0542E4C4EBBF}" type="datetime'''''''''''''''''''''''''1''''''''''''.''0'">
              <a:rPr lang="en-US" altLang="en-US" sz="1000" smtClean="0">
                <a:sym typeface="+mn-lt"/>
              </a:rPr>
              <a:pPr/>
              <a:t>1.0</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8149B3A6-C601-90B5-B2EE-B6FE36DC74D0}"/>
              </a:ext>
            </a:extLst>
          </p:cNvPr>
          <p:cNvSpPr>
            <a:spLocks/>
          </p:cNvSpPr>
          <p:nvPr>
            <p:custDataLst>
              <p:tags r:id="rId17"/>
            </p:custDataLst>
          </p:nvPr>
        </p:nvSpPr>
        <p:spPr bwMode="gray">
          <a:xfrm>
            <a:off x="204788" y="4640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4DCDAC7-5482-40C0-8A2C-86A88D79929C}" type="datetime'''''''''''''''''1.''''''''''''''''''5'''''''''''''''''''''''">
              <a:rPr lang="en-US" altLang="en-US" sz="1000" smtClean="0">
                <a:sym typeface="+mn-lt"/>
              </a:rPr>
              <a:pPr/>
              <a:t>1.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5FF3DFA9-2A1B-CFE8-9E1A-44D89A776FFE}"/>
              </a:ext>
            </a:extLst>
          </p:cNvPr>
          <p:cNvSpPr>
            <a:spLocks/>
          </p:cNvSpPr>
          <p:nvPr>
            <p:custDataLst>
              <p:tags r:id="rId18"/>
            </p:custDataLst>
          </p:nvPr>
        </p:nvSpPr>
        <p:spPr bwMode="gray">
          <a:xfrm>
            <a:off x="204788" y="425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1954BA-E179-4DE5-AB68-326D19E1C394}" type="datetime'''''''2''''''''''''''''''.''''''0'''''''''''''''''''''''''''">
              <a:rPr lang="en-US" altLang="en-US" sz="1000" smtClean="0">
                <a:sym typeface="+mn-lt"/>
              </a:rPr>
              <a:pPr/>
              <a:t>2.0</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A79C8701-69DA-75BC-EBDE-EE351F9E0679}"/>
              </a:ext>
            </a:extLst>
          </p:cNvPr>
          <p:cNvSpPr>
            <a:spLocks/>
          </p:cNvSpPr>
          <p:nvPr>
            <p:custDataLst>
              <p:tags r:id="rId19"/>
            </p:custDataLst>
          </p:nvPr>
        </p:nvSpPr>
        <p:spPr bwMode="gray">
          <a:xfrm>
            <a:off x="204788" y="3865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4DF9394-000F-4E87-830D-C5DB62160ACE}" type="datetime'''''''''''''''''''''''''''''''2''''''''''''''.''5'''''''''">
              <a:rPr lang="en-US" altLang="en-US" sz="1000" smtClean="0">
                <a:sym typeface="+mn-lt"/>
              </a:rPr>
              <a:pPr/>
              <a:t>2.5</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8C9031BB-A37E-B82A-CA94-50CD7B5BF504}"/>
              </a:ext>
            </a:extLst>
          </p:cNvPr>
          <p:cNvSpPr>
            <a:spLocks/>
          </p:cNvSpPr>
          <p:nvPr>
            <p:custDataLst>
              <p:tags r:id="rId20"/>
            </p:custDataLst>
          </p:nvPr>
        </p:nvSpPr>
        <p:spPr bwMode="gray">
          <a:xfrm>
            <a:off x="204788" y="3478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A1BC68C-7B59-4529-9A26-4C33666C0550}" type="datetime'''3''''''''''''''''''.''''0'''''''''''''''">
              <a:rPr lang="en-US" altLang="en-US" sz="1000" smtClean="0">
                <a:sym typeface="+mn-lt"/>
              </a:rPr>
              <a:pPr/>
              <a:t>3.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8B178D69-47D2-66B1-3F88-61FE16F39984}"/>
              </a:ext>
            </a:extLst>
          </p:cNvPr>
          <p:cNvSpPr>
            <a:spLocks/>
          </p:cNvSpPr>
          <p:nvPr>
            <p:custDataLst>
              <p:tags r:id="rId21"/>
            </p:custDataLst>
          </p:nvPr>
        </p:nvSpPr>
        <p:spPr bwMode="gray">
          <a:xfrm>
            <a:off x="204788" y="3092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1AB8BE4-9C95-49DB-934F-4DCA6048CB2F}" type="datetime'''''''''3''''''.''''5'''''''''''''''''''''''''''''''''''''">
              <a:rPr lang="en-US" altLang="en-US" sz="1000" smtClean="0">
                <a:sym typeface="+mn-lt"/>
              </a:rPr>
              <a:pPr/>
              <a:t>3.5</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AB4B1F5E-CD11-6229-6B37-957C3737954E}"/>
              </a:ext>
            </a:extLst>
          </p:cNvPr>
          <p:cNvSpPr>
            <a:spLocks/>
          </p:cNvSpPr>
          <p:nvPr>
            <p:custDataLst>
              <p:tags r:id="rId22"/>
            </p:custDataLst>
          </p:nvPr>
        </p:nvSpPr>
        <p:spPr bwMode="gray">
          <a:xfrm>
            <a:off x="204788" y="270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54FFEE-BEE3-4A6F-A508-809AE0602FDB}" type="datetime'''''''''''4''''''''.''''''''''''''0'''''''''''''''">
              <a:rPr lang="en-US" altLang="en-US" sz="1000" smtClean="0">
                <a:sym typeface="+mn-lt"/>
              </a:rPr>
              <a:pPr/>
              <a:t>4.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3069D283-9A2F-79F6-EF35-D1E82AB1FD63}"/>
              </a:ext>
            </a:extLst>
          </p:cNvPr>
          <p:cNvSpPr>
            <a:spLocks/>
          </p:cNvSpPr>
          <p:nvPr>
            <p:custDataLst>
              <p:tags r:id="rId23"/>
            </p:custDataLst>
          </p:nvPr>
        </p:nvSpPr>
        <p:spPr bwMode="gray">
          <a:xfrm>
            <a:off x="204788"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2EE8FAE-6B67-497C-A3A9-CDF8B1BB5FE8}" type="datetime'''''''''0''''''.''''''''''''0'''''''''''''''''">
              <a:rPr lang="en-US" altLang="en-US" sz="1000" smtClean="0">
                <a:sym typeface="+mn-lt"/>
              </a:rPr>
              <a:pPr/>
              <a:t>0.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F2B91C68-E411-7578-8759-8D3B6977258C}"/>
              </a:ext>
            </a:extLst>
          </p:cNvPr>
          <p:cNvSpPr>
            <a:spLocks/>
          </p:cNvSpPr>
          <p:nvPr>
            <p:custDataLst>
              <p:tags r:id="rId24"/>
            </p:custDataLst>
          </p:nvPr>
        </p:nvSpPr>
        <p:spPr bwMode="gray">
          <a:xfrm>
            <a:off x="595313" y="4665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A3427-D9B5-42AC-BCA6-06A2016E33D6}" type="datetime'''''''''''''''''''''2''''''''''''''''''''''''''''''.9'''''">
              <a:rPr lang="en-US" altLang="en-US" sz="1000" smtClean="0"/>
              <a:pPr/>
              <a:t>2.9</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6898FE16-CAD9-6CC8-B106-FED787D3ECB6}"/>
              </a:ext>
            </a:extLst>
          </p:cNvPr>
          <p:cNvSpPr>
            <a:spLocks/>
          </p:cNvSpPr>
          <p:nvPr>
            <p:custDataLst>
              <p:tags r:id="rId25"/>
            </p:custDataLst>
          </p:nvPr>
        </p:nvSpPr>
        <p:spPr bwMode="gray">
          <a:xfrm>
            <a:off x="836613" y="5016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BA870B-F9C8-41D0-B60C-B8C14FE3FF38}" type="datetime'''''''''''''''''''''''''2''''''''''''.''''''''''''0'''''''''''">
              <a:rPr lang="en-US" altLang="en-US" sz="1000" smtClean="0"/>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5745F456-D7E4-3E82-AA5B-01ACEAC01A9A}"/>
              </a:ext>
            </a:extLst>
          </p:cNvPr>
          <p:cNvSpPr>
            <a:spLocks/>
          </p:cNvSpPr>
          <p:nvPr>
            <p:custDataLst>
              <p:tags r:id="rId26"/>
            </p:custDataLst>
          </p:nvPr>
        </p:nvSpPr>
        <p:spPr bwMode="auto">
          <a:xfrm>
            <a:off x="6746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014DA-7461-4F49-9C17-BD8B35647A30}" type="datetime'''''''''2''''''0''''''''''''1''''''''''''7'''">
              <a:rPr lang="en-US" altLang="en-US" sz="1000" smtClean="0"/>
              <a:pPr/>
              <a:t>2017</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5E70B5E1-E6B3-06AE-10C2-6D2DEE47B129}"/>
              </a:ext>
            </a:extLst>
          </p:cNvPr>
          <p:cNvSpPr>
            <a:spLocks/>
          </p:cNvSpPr>
          <p:nvPr>
            <p:custDataLst>
              <p:tags r:id="rId27"/>
            </p:custDataLst>
          </p:nvPr>
        </p:nvSpPr>
        <p:spPr bwMode="gray">
          <a:xfrm>
            <a:off x="1220788" y="4689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8D0747-CF44-44F3-946A-28495C658177}" type="datetime'''''''2''''''''''''''''''''''''''''.''''9'''''''''''''">
              <a:rPr lang="en-US" altLang="en-US" sz="1000" smtClean="0"/>
              <a:pPr/>
              <a:t>2.9</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7A398F5-1678-5860-604C-F8C7A0229295}"/>
              </a:ext>
            </a:extLst>
          </p:cNvPr>
          <p:cNvSpPr>
            <a:spLocks/>
          </p:cNvSpPr>
          <p:nvPr>
            <p:custDataLst>
              <p:tags r:id="rId28"/>
            </p:custDataLst>
          </p:nvPr>
        </p:nvSpPr>
        <p:spPr bwMode="gray">
          <a:xfrm>
            <a:off x="1460500" y="4986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90CB9-F056-470B-9238-6CABC8151E5B}" type="datetime'''''''2''''''.''''''''1'''''">
              <a:rPr lang="en-US" altLang="en-US" sz="1000" smtClean="0"/>
              <a:pPr/>
              <a:t>2.1</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1BBE0D5D-148C-CD1B-D1FF-0CB57EA93095}"/>
              </a:ext>
            </a:extLst>
          </p:cNvPr>
          <p:cNvSpPr>
            <a:spLocks/>
          </p:cNvSpPr>
          <p:nvPr>
            <p:custDataLst>
              <p:tags r:id="rId29"/>
            </p:custDataLst>
          </p:nvPr>
        </p:nvSpPr>
        <p:spPr bwMode="auto">
          <a:xfrm>
            <a:off x="13684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DBA49-7376-4D33-86F8-56ED4929E5EB}" type="datetime'''''''''''''''''''''''1''8'''''''''''''''''''''''''">
              <a:rPr lang="en-US" altLang="en-US" sz="1000" smtClean="0"/>
              <a:pPr/>
              <a:t>18</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0CCCF283-5167-F30A-C6F7-009870AA1B70}"/>
              </a:ext>
            </a:extLst>
          </p:cNvPr>
          <p:cNvSpPr>
            <a:spLocks/>
          </p:cNvSpPr>
          <p:nvPr>
            <p:custDataLst>
              <p:tags r:id="rId30"/>
            </p:custDataLst>
          </p:nvPr>
        </p:nvSpPr>
        <p:spPr bwMode="gray">
          <a:xfrm>
            <a:off x="1844675" y="4560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BCA358-0FFC-4910-AB8E-82188A21B65F}" type="datetime'''''''''''''''''''''''''3''''.''''''''''''''''''''2'''''">
              <a:rPr lang="en-US" altLang="en-US" sz="1000" smtClean="0"/>
              <a:pPr/>
              <a:t>3.2</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564AE056-5B37-E944-B965-71E529E9E8C2}"/>
              </a:ext>
            </a:extLst>
          </p:cNvPr>
          <p:cNvSpPr>
            <a:spLocks/>
          </p:cNvSpPr>
          <p:nvPr>
            <p:custDataLst>
              <p:tags r:id="rId31"/>
            </p:custDataLst>
          </p:nvPr>
        </p:nvSpPr>
        <p:spPr bwMode="gray">
          <a:xfrm>
            <a:off x="2085975" y="4959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9BF0E8-3E89-4AC6-AB1F-29A5E0966131}" type="datetime'''''''''''''''''''''2''.''''''''''2'''''''''''''''''''''''">
              <a:rPr lang="en-US" altLang="en-US" sz="1000" smtClean="0"/>
              <a:pPr/>
              <a:t>2.2</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F9E00BD9-14CF-89A9-6265-7EEC04228749}"/>
              </a:ext>
            </a:extLst>
          </p:cNvPr>
          <p:cNvSpPr>
            <a:spLocks/>
          </p:cNvSpPr>
          <p:nvPr>
            <p:custDataLst>
              <p:tags r:id="rId32"/>
            </p:custDataLst>
          </p:nvPr>
        </p:nvSpPr>
        <p:spPr bwMode="auto">
          <a:xfrm>
            <a:off x="19939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FD21DB-AD6F-44ED-A2CF-DC2D83582006}" type="datetime'''''''''''''''''''''''''1''''''''''''''9'''''''''">
              <a:rPr lang="en-US" altLang="en-US" sz="1000" smtClean="0"/>
              <a:pPr/>
              <a:t>19</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56DBF8F5-4248-4820-23DF-F247DD155689}"/>
              </a:ext>
            </a:extLst>
          </p:cNvPr>
          <p:cNvSpPr>
            <a:spLocks/>
          </p:cNvSpPr>
          <p:nvPr>
            <p:custDataLst>
              <p:tags r:id="rId33"/>
            </p:custDataLst>
          </p:nvPr>
        </p:nvSpPr>
        <p:spPr bwMode="gray">
          <a:xfrm>
            <a:off x="2709863" y="4865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3FF6DE-71E6-4858-8365-6CB26F04C18A}" type="datetime'''''''''''''''''''2''''''''''''.''4'''">
              <a:rPr lang="en-US" altLang="en-US" sz="1000" smtClean="0"/>
              <a:pPr/>
              <a:t>2.4</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ABBCA6F7-3A34-D5AA-401E-16AC40460E2E}"/>
              </a:ext>
            </a:extLst>
          </p:cNvPr>
          <p:cNvSpPr>
            <a:spLocks/>
          </p:cNvSpPr>
          <p:nvPr>
            <p:custDataLst>
              <p:tags r:id="rId34"/>
            </p:custDataLst>
          </p:nvPr>
        </p:nvSpPr>
        <p:spPr bwMode="auto">
          <a:xfrm>
            <a:off x="26177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398A8-7B6D-45E3-A16E-8181949F6399}" type="datetime'''''''''''2''''''''''''''''''''0'''''''''''''">
              <a:rPr lang="en-US" altLang="en-US" sz="1000" smtClean="0"/>
              <a:pPr/>
              <a:t>20</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B9DECA3F-6281-73B5-ED06-B552360A8429}"/>
              </a:ext>
            </a:extLst>
          </p:cNvPr>
          <p:cNvSpPr>
            <a:spLocks/>
          </p:cNvSpPr>
          <p:nvPr>
            <p:custDataLst>
              <p:tags r:id="rId35"/>
            </p:custDataLst>
          </p:nvPr>
        </p:nvSpPr>
        <p:spPr bwMode="gray">
          <a:xfrm>
            <a:off x="3094038" y="4468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59DE46-F0ED-4890-9F03-E5BC40C84792}" type="datetime'''''''''''3''''''''''''''''.''''''''''''''''''''''''''''4'">
              <a:rPr lang="en-US" altLang="en-US" sz="1000" smtClean="0"/>
              <a:pPr/>
              <a:t>3.4</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9A3F92C1-2E9F-42F4-3A0D-D11755BC61FD}"/>
              </a:ext>
            </a:extLst>
          </p:cNvPr>
          <p:cNvSpPr>
            <a:spLocks/>
          </p:cNvSpPr>
          <p:nvPr>
            <p:custDataLst>
              <p:tags r:id="rId36"/>
            </p:custDataLst>
          </p:nvPr>
        </p:nvSpPr>
        <p:spPr bwMode="gray">
          <a:xfrm>
            <a:off x="3335338"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33350-D3CF-44CF-A234-7CA583C1BC96}" type="datetime'''2''''''''''''''.''''''''''''''''''1'''''''''''''''">
              <a:rPr lang="en-US" altLang="en-US" sz="1000" smtClean="0"/>
              <a:pPr/>
              <a:t>2.1</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832F90C5-0BA5-A978-A492-FFCBA3ADA52A}"/>
              </a:ext>
            </a:extLst>
          </p:cNvPr>
          <p:cNvSpPr>
            <a:spLocks/>
          </p:cNvSpPr>
          <p:nvPr>
            <p:custDataLst>
              <p:tags r:id="rId37"/>
            </p:custDataLst>
          </p:nvPr>
        </p:nvSpPr>
        <p:spPr bwMode="auto">
          <a:xfrm>
            <a:off x="32432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B61AB-2DBD-440E-B95C-EEE75BD9B9F0}" type="datetime'''''''''''''''''''''''21'''''''''''''''''''''''''''''''''''''">
              <a:rPr lang="en-US" altLang="en-US" sz="1000" smtClean="0"/>
              <a:pPr/>
              <a:t>21</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B9AD2CFD-6FDC-9650-8A04-6E613A8D97F3}"/>
              </a:ext>
            </a:extLst>
          </p:cNvPr>
          <p:cNvSpPr>
            <a:spLocks/>
          </p:cNvSpPr>
          <p:nvPr>
            <p:custDataLst>
              <p:tags r:id="rId38"/>
            </p:custDataLst>
          </p:nvPr>
        </p:nvSpPr>
        <p:spPr bwMode="gray">
          <a:xfrm>
            <a:off x="3719513" y="460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7995B-8C79-464C-A34A-307C7C6C0FCC}" type="datetime'''''''3''''''''''.''''1'''''''''''''''''''''">
              <a:rPr lang="en-US" altLang="en-US" sz="1000" smtClean="0"/>
              <a:pPr/>
              <a:t>3.1</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23055CF6-9E4A-AA2C-6D80-108030A2E840}"/>
              </a:ext>
            </a:extLst>
          </p:cNvPr>
          <p:cNvSpPr>
            <a:spLocks/>
          </p:cNvSpPr>
          <p:nvPr>
            <p:custDataLst>
              <p:tags r:id="rId39"/>
            </p:custDataLst>
          </p:nvPr>
        </p:nvSpPr>
        <p:spPr bwMode="gray">
          <a:xfrm>
            <a:off x="3959225"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8E241-35E3-4F5A-BDD1-5964E49673D0}" type="datetime'2''''''''''''''''''''''''.''1'''''''''''''''''''''''''''">
              <a:rPr lang="en-US" altLang="en-US" sz="1000" smtClean="0"/>
              <a:pPr/>
              <a:t>2.1</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D2133315-B2B8-19F0-C348-A2A5FC490DD8}"/>
              </a:ext>
            </a:extLst>
          </p:cNvPr>
          <p:cNvSpPr>
            <a:spLocks/>
          </p:cNvSpPr>
          <p:nvPr>
            <p:custDataLst>
              <p:tags r:id="rId40"/>
            </p:custDataLst>
          </p:nvPr>
        </p:nvSpPr>
        <p:spPr bwMode="auto">
          <a:xfrm>
            <a:off x="38671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A87A3E-51ED-4197-AB2B-4E5BD9FF3D7B}" type="datetime'''''''2''''''''''''''''''''''''''''''''''''''2'''''''">
              <a:rPr lang="en-US" altLang="en-US" sz="1000" smtClean="0"/>
              <a:pPr/>
              <a:t>22</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2049888E-7BBF-86BF-4469-5178F34A2140}"/>
              </a:ext>
            </a:extLst>
          </p:cNvPr>
          <p:cNvSpPr>
            <a:spLocks/>
          </p:cNvSpPr>
          <p:nvPr>
            <p:custDataLst>
              <p:tags r:id="rId41"/>
            </p:custDataLst>
          </p:nvPr>
        </p:nvSpPr>
        <p:spPr bwMode="gray">
          <a:xfrm>
            <a:off x="4343400" y="4587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C11A4-9C24-4EF8-BCA0-3F0512510022}" type="datetime'''''''''''''''''3''''''''''''''''''''''''''''.1'''''''''''''">
              <a:rPr lang="en-US" altLang="en-US" sz="1000" smtClean="0"/>
              <a:pPr/>
              <a:t>3.1</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1567D6A2-E278-1C38-45DC-DC4046D15D90}"/>
              </a:ext>
            </a:extLst>
          </p:cNvPr>
          <p:cNvSpPr>
            <a:spLocks/>
          </p:cNvSpPr>
          <p:nvPr>
            <p:custDataLst>
              <p:tags r:id="rId42"/>
            </p:custDataLst>
          </p:nvPr>
        </p:nvSpPr>
        <p:spPr bwMode="gray">
          <a:xfrm>
            <a:off x="4584700" y="4905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2FA75A-A7EB-4E6B-9262-50C07D1C547F}" type="datetime'''''''''''''2''''''.''''''''3'''''''">
              <a:rPr lang="en-US" altLang="en-US" sz="1000" smtClean="0"/>
              <a:pPr/>
              <a:t>2.3</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155C573B-9BCA-EF02-2ED2-E497C591C5B9}"/>
              </a:ext>
            </a:extLst>
          </p:cNvPr>
          <p:cNvSpPr>
            <a:spLocks/>
          </p:cNvSpPr>
          <p:nvPr>
            <p:custDataLst>
              <p:tags r:id="rId43"/>
            </p:custDataLst>
          </p:nvPr>
        </p:nvSpPr>
        <p:spPr bwMode="auto">
          <a:xfrm>
            <a:off x="44926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CA76D-B9B5-4BA4-BDC7-7A68720F70D4}" type="datetime'''''''''''''''''''''''''''''''''''''''''2''''''''''''''3'''">
              <a:rPr lang="en-US" altLang="en-US" sz="1000" smtClean="0"/>
              <a:pPr/>
              <a:t>23</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AEFBA538-6FB7-F05E-851E-36D84EFF88B7}"/>
              </a:ext>
            </a:extLst>
          </p:cNvPr>
          <p:cNvSpPr>
            <a:spLocks/>
          </p:cNvSpPr>
          <p:nvPr>
            <p:custDataLst>
              <p:tags r:id="rId44"/>
            </p:custDataLst>
          </p:nvPr>
        </p:nvSpPr>
        <p:spPr bwMode="gray">
          <a:xfrm>
            <a:off x="4968875" y="4408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E3B20-742F-43F9-823E-96F602767B5D}" type="datetime'''''''''''''''''3''''''.''''6'''''''''">
              <a:rPr lang="en-US" altLang="en-US" sz="1000" smtClean="0"/>
              <a:pPr/>
              <a:t>3.6</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9BA31373-2241-8DEA-A429-2EEB20E7872F}"/>
              </a:ext>
            </a:extLst>
          </p:cNvPr>
          <p:cNvSpPr>
            <a:spLocks/>
          </p:cNvSpPr>
          <p:nvPr>
            <p:custDataLst>
              <p:tags r:id="rId45"/>
            </p:custDataLst>
          </p:nvPr>
        </p:nvSpPr>
        <p:spPr bwMode="gray">
          <a:xfrm>
            <a:off x="5208588" y="4830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AC0812-096D-4F53-B1A1-9399C152A2C4}" type="datetime'''''''''''''''''''''''''''''''2''''''''.5'''''''''''''''''''">
              <a:rPr lang="en-US" altLang="en-US" sz="1000" smtClean="0"/>
              <a:pPr/>
              <a:t>2.5</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41F1A0F6-9789-6EDE-1BE5-F6F99395AEC7}"/>
              </a:ext>
            </a:extLst>
          </p:cNvPr>
          <p:cNvSpPr>
            <a:spLocks/>
          </p:cNvSpPr>
          <p:nvPr>
            <p:custDataLst>
              <p:tags r:id="rId46"/>
            </p:custDataLst>
          </p:nvPr>
        </p:nvSpPr>
        <p:spPr bwMode="auto">
          <a:xfrm>
            <a:off x="51165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1BB93E-A743-42F8-9B0B-329A18D100AB}" type="datetime'''''''''''''''''''''''''2''''''''''4'''">
              <a:rPr lang="en-US" altLang="en-US" sz="1000" smtClean="0"/>
              <a:pPr/>
              <a:t>24</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40ECCBE1-A851-7411-5942-D2F3491BA20A}"/>
              </a:ext>
            </a:extLst>
          </p:cNvPr>
          <p:cNvSpPr>
            <a:spLocks/>
          </p:cNvSpPr>
          <p:nvPr>
            <p:custDataLst>
              <p:tags r:id="rId47"/>
            </p:custDataLst>
          </p:nvPr>
        </p:nvSpPr>
        <p:spPr bwMode="gray">
          <a:xfrm>
            <a:off x="5592763" y="4462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25C16A-BA39-4DDD-8C8D-6E6F363F2E22}" type="datetime'3''''''''''''''''''''''''''''''''.''''''''''5'''''''">
              <a:rPr lang="en-US" altLang="en-US" sz="1000" smtClean="0"/>
              <a:pPr/>
              <a:t>3.5</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9181F51B-12D0-328D-F0B2-A7C37B705ED3}"/>
              </a:ext>
            </a:extLst>
          </p:cNvPr>
          <p:cNvSpPr>
            <a:spLocks/>
          </p:cNvSpPr>
          <p:nvPr>
            <p:custDataLst>
              <p:tags r:id="rId48"/>
            </p:custDataLst>
          </p:nvPr>
        </p:nvSpPr>
        <p:spPr bwMode="gray">
          <a:xfrm>
            <a:off x="5834063" y="4792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645B6-C4D7-4ABE-AAAC-125E7E45D7EC}" type="datetime'''2''.''''''''''''''6'''''''''''''''''''''''''''''''''''''">
              <a:rPr lang="en-US" altLang="en-US" sz="1000" smtClean="0"/>
              <a:pPr/>
              <a:t>2.6</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B77E49D6-2193-F972-C4A4-2370AC99F6E5}"/>
              </a:ext>
            </a:extLst>
          </p:cNvPr>
          <p:cNvSpPr>
            <a:spLocks/>
          </p:cNvSpPr>
          <p:nvPr>
            <p:custDataLst>
              <p:tags r:id="rId49"/>
            </p:custDataLst>
          </p:nvPr>
        </p:nvSpPr>
        <p:spPr bwMode="auto">
          <a:xfrm>
            <a:off x="57419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CCFD8-A68F-4E47-98FF-CC6193B3954E}" type="datetime'2''5'''''''''''''''''''''''''''''''''''''''''''''''''">
              <a:rPr lang="en-US" altLang="en-US" sz="1000" smtClean="0"/>
              <a:pPr/>
              <a:t>25</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8E2526D7-3C2A-6B04-9538-8054D7E8E817}"/>
              </a:ext>
            </a:extLst>
          </p:cNvPr>
          <p:cNvSpPr>
            <a:spLocks/>
          </p:cNvSpPr>
          <p:nvPr>
            <p:custDataLst>
              <p:tags r:id="rId50"/>
            </p:custDataLst>
          </p:nvPr>
        </p:nvSpPr>
        <p:spPr bwMode="gray">
          <a:xfrm>
            <a:off x="2470150" y="4530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AEE50-6535-4748-AB85-CE6E335F2C29}" type="datetime'''''''''3''''''''''''''''''''''''.''''''''''''''3'''''''''''''">
              <a:rPr lang="en-US" altLang="en-US" sz="1000" smtClean="0"/>
              <a:pPr/>
              <a:t>3.3</a:t>
            </a:fld>
            <a:endParaRPr kumimoji="1" lang="en-US" altLang="ja-JP" sz="1000" dirty="0">
              <a:sym typeface="+mn-lt"/>
            </a:endParaRPr>
          </a:p>
        </p:txBody>
      </p:sp>
    </p:spTree>
    <p:extLst>
      <p:ext uri="{BB962C8B-B14F-4D97-AF65-F5344CB8AC3E}">
        <p14:creationId xmlns:p14="http://schemas.microsoft.com/office/powerpoint/2010/main" val="2786034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283325300"/>
              </p:ext>
            </p:extLst>
          </p:nvPr>
        </p:nvGraphicFramePr>
        <p:xfrm>
          <a:off x="213190" y="2620014"/>
          <a:ext cx="9492337" cy="3975812"/>
        </p:xfrm>
        <a:graphic>
          <a:graphicData uri="http://schemas.openxmlformats.org/drawingml/2006/table">
            <a:tbl>
              <a:tblPr firstRow="1" bandRow="1">
                <a:tableStyleId>{5C22544A-7EE6-4342-B048-85BDC9FD1C3A}</a:tableStyleId>
              </a:tblPr>
              <a:tblGrid>
                <a:gridCol w="1586684">
                  <a:extLst>
                    <a:ext uri="{9D8B030D-6E8A-4147-A177-3AD203B41FA5}">
                      <a16:colId xmlns:a16="http://schemas.microsoft.com/office/drawing/2014/main" val="20000"/>
                    </a:ext>
                  </a:extLst>
                </a:gridCol>
                <a:gridCol w="1377392">
                  <a:extLst>
                    <a:ext uri="{9D8B030D-6E8A-4147-A177-3AD203B41FA5}">
                      <a16:colId xmlns:a16="http://schemas.microsoft.com/office/drawing/2014/main" val="20001"/>
                    </a:ext>
                  </a:extLst>
                </a:gridCol>
                <a:gridCol w="1389650">
                  <a:extLst>
                    <a:ext uri="{9D8B030D-6E8A-4147-A177-3AD203B41FA5}">
                      <a16:colId xmlns:a16="http://schemas.microsoft.com/office/drawing/2014/main" val="3661723914"/>
                    </a:ext>
                  </a:extLst>
                </a:gridCol>
                <a:gridCol w="962148">
                  <a:extLst>
                    <a:ext uri="{9D8B030D-6E8A-4147-A177-3AD203B41FA5}">
                      <a16:colId xmlns:a16="http://schemas.microsoft.com/office/drawing/2014/main" val="3386509722"/>
                    </a:ext>
                  </a:extLst>
                </a:gridCol>
                <a:gridCol w="4176463">
                  <a:extLst>
                    <a:ext uri="{9D8B030D-6E8A-4147-A177-3AD203B41FA5}">
                      <a16:colId xmlns:a16="http://schemas.microsoft.com/office/drawing/2014/main" val="20003"/>
                    </a:ext>
                  </a:extLst>
                </a:gridCol>
              </a:tblGrid>
              <a:tr h="45153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96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製造部門であるメドトロニック・シンガポール・オペレーション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O</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開設し、アジア地域の本社及び流通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86053">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されたシンガポールオフィスは、アジア太平洋地域における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フィス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eadership La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sign La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ohnson &amp; Johnson Human Performance Institut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新しい主要施設を包含する複合施設となっており、アジア太平洋地域における革新的な働き方を促進し、政府機関、医療機関、学術機関を含むヘルスケアエコシステム全体のパートナーとの連携を深めることを目的と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7587">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ニューロモデュレーション（神経調節機器）</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では</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ビジネスを展開しており、シンガポールはアジア太平洋地域の物流拠点として機能。</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市場に特化したヘルスケアソリューションの開発・現地生産を実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2203">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Siemens Healthcar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Group</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には、株式投資を通じてグループビジネスとしている</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12203">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診断機器、細胞画像化システ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0 +</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はアジアの地域本部として、製造のオペレーション・販売・</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や針、注射器等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はシンガポールで生産され、世界へ輸出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00025" y="662615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 Medical Devic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10/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endParaRPr kumimoji="0" lang="ja-JP" altLang="en-US" sz="800" dirty="0" bmk=""/>
          </a:p>
        </p:txBody>
      </p:sp>
      <p:sp>
        <p:nvSpPr>
          <p:cNvPr id="12" name="Rectangle 6"/>
          <p:cNvSpPr>
            <a:spLocks noChangeArrowheads="1"/>
          </p:cNvSpPr>
          <p:nvPr/>
        </p:nvSpPr>
        <p:spPr bwMode="auto">
          <a:xfrm>
            <a:off x="344488" y="230785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28864" y="320534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403546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85500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42970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606007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11265"/>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2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b="0" i="0" noProof="1">
                <a:solidFill>
                  <a:srgbClr val="222222"/>
                </a:solidFill>
                <a:effectLst/>
                <a:latin typeface="Arial" panose="020B0604020202020204" pitchFamily="34" charset="0"/>
                <a:cs typeface="Arial" panose="020B0604020202020204" pitchFamily="34" charset="0"/>
              </a:rPr>
              <a:t>多くの欧米の医療機器メーカーが同国での存在感を確立して</a:t>
            </a:r>
            <a:r>
              <a:rPr lang="ja-JP" altLang="en-US" sz="1200" b="0" i="0" noProof="1">
                <a:solidFill>
                  <a:srgbClr val="222222"/>
                </a:solidFill>
                <a:effectLst/>
                <a:latin typeface="Arial" panose="020B0604020202020204" pitchFamily="34" charset="0"/>
                <a:cs typeface="Arial" panose="020B0604020202020204" pitchFamily="34" charset="0"/>
              </a:rPr>
              <a:t>おり、</a:t>
            </a:r>
            <a:r>
              <a:rPr lang="en-US" altLang="ja-JP" sz="1200" noProof="1">
                <a:solidFill>
                  <a:srgbClr val="222222"/>
                </a:solidFill>
                <a:latin typeface="Arial" panose="020B0604020202020204" pitchFamily="34" charset="0"/>
                <a:cs typeface="Arial" panose="020B0604020202020204" pitchFamily="34" charset="0"/>
              </a:rPr>
              <a:t>シンガポールの</a:t>
            </a:r>
            <a:r>
              <a:rPr lang="en-US" altLang="ja-JP" sz="1200" b="0" i="0" noProof="1">
                <a:solidFill>
                  <a:srgbClr val="222222"/>
                </a:solidFill>
                <a:effectLst/>
                <a:latin typeface="Arial" panose="020B0604020202020204" pitchFamily="34" charset="0"/>
                <a:cs typeface="Arial" panose="020B0604020202020204" pitchFamily="34" charset="0"/>
              </a:rPr>
              <a:t>熟練した労働力、発達したインフラ、技術的優位性</a:t>
            </a:r>
            <a:r>
              <a:rPr lang="ja-JP" altLang="en-US" sz="1200" b="0" i="0" noProof="1">
                <a:solidFill>
                  <a:srgbClr val="222222"/>
                </a:solidFill>
                <a:effectLst/>
                <a:latin typeface="Arial" panose="020B0604020202020204" pitchFamily="34" charset="0"/>
                <a:cs typeface="Arial" panose="020B0604020202020204" pitchFamily="34" charset="0"/>
              </a:rPr>
              <a:t>が活か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733846566"/>
              </p:ext>
            </p:extLst>
          </p:nvPr>
        </p:nvGraphicFramePr>
        <p:xfrm>
          <a:off x="200473" y="1424970"/>
          <a:ext cx="9505054" cy="4731069"/>
        </p:xfrm>
        <a:graphic>
          <a:graphicData uri="http://schemas.openxmlformats.org/drawingml/2006/table">
            <a:tbl>
              <a:tblPr firstRow="1" bandRow="1">
                <a:tableStyleId>{5C22544A-7EE6-4342-B048-85BDC9FD1C3A}</a:tableStyleId>
              </a:tblPr>
              <a:tblGrid>
                <a:gridCol w="1588810">
                  <a:extLst>
                    <a:ext uri="{9D8B030D-6E8A-4147-A177-3AD203B41FA5}">
                      <a16:colId xmlns:a16="http://schemas.microsoft.com/office/drawing/2014/main" val="20000"/>
                    </a:ext>
                  </a:extLst>
                </a:gridCol>
                <a:gridCol w="1379238">
                  <a:extLst>
                    <a:ext uri="{9D8B030D-6E8A-4147-A177-3AD203B41FA5}">
                      <a16:colId xmlns:a16="http://schemas.microsoft.com/office/drawing/2014/main" val="20001"/>
                    </a:ext>
                  </a:extLst>
                </a:gridCol>
                <a:gridCol w="1391511">
                  <a:extLst>
                    <a:ext uri="{9D8B030D-6E8A-4147-A177-3AD203B41FA5}">
                      <a16:colId xmlns:a16="http://schemas.microsoft.com/office/drawing/2014/main" val="3661723914"/>
                    </a:ext>
                  </a:extLst>
                </a:gridCol>
                <a:gridCol w="1214728">
                  <a:extLst>
                    <a:ext uri="{9D8B030D-6E8A-4147-A177-3AD203B41FA5}">
                      <a16:colId xmlns:a16="http://schemas.microsoft.com/office/drawing/2014/main" val="3386509722"/>
                    </a:ext>
                  </a:extLst>
                </a:gridCol>
                <a:gridCol w="3930767">
                  <a:extLst>
                    <a:ext uri="{9D8B030D-6E8A-4147-A177-3AD203B41FA5}">
                      <a16:colId xmlns:a16="http://schemas.microsoft.com/office/drawing/2014/main" val="20003"/>
                    </a:ext>
                  </a:extLst>
                </a:gridCol>
              </a:tblGrid>
              <a:tr h="514459">
                <a:tc>
                  <a:txBody>
                    <a:bodyPr/>
                    <a:lstStyle/>
                    <a:p>
                      <a:pPr algn="ctr" fontAlgn="ctr" hangingPunct="0"/>
                      <a:r>
                        <a:rPr kumimoji="1" lang="ja-JP" altLang="en-US" sz="11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0558">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B. Braun Medical</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整形外科、脳神経外科</a:t>
                      </a:r>
                      <a:r>
                        <a:rPr kumimoji="1" lang="ja-JP" altLang="en-US" sz="1100" kern="1200" noProof="1">
                          <a:solidFill>
                            <a:schemeClr val="dk1"/>
                          </a:solidFill>
                          <a:latin typeface="+mn-ea"/>
                          <a:ea typeface="+mn-ea"/>
                          <a:cs typeface="Arial" panose="020B0604020202020204" pitchFamily="34" charset="0"/>
                        </a:rPr>
                        <a:t>（</a:t>
                      </a:r>
                      <a:r>
                        <a:rPr kumimoji="1" lang="en-US" altLang="ja-JP" sz="1100" kern="1200" noProof="1">
                          <a:solidFill>
                            <a:schemeClr val="dk1"/>
                          </a:solidFill>
                          <a:latin typeface="+mn-ea"/>
                          <a:ea typeface="+mn-ea"/>
                          <a:cs typeface="Arial" panose="020B0604020202020204" pitchFamily="34" charset="0"/>
                        </a:rPr>
                        <a:t>脳血管クリップ、高速ドリル、マイクロ機器</a:t>
                      </a:r>
                      <a:r>
                        <a:rPr kumimoji="1" lang="ja-JP" altLang="en-US" sz="1100" kern="1200" noProof="1">
                          <a:solidFill>
                            <a:schemeClr val="dk1"/>
                          </a:solidFill>
                          <a:latin typeface="+mn-ea"/>
                          <a:ea typeface="+mn-ea"/>
                          <a:cs typeface="Arial" panose="020B0604020202020204" pitchFamily="34" charset="0"/>
                        </a:rPr>
                        <a:t>）</a:t>
                      </a:r>
                      <a:endParaRPr kumimoji="1" lang="ja-JP" altLang="en-US"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495</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ea"/>
                          <a:ea typeface="+mn-ea"/>
                          <a:cs typeface="Arial" panose="020B0604020202020204" pitchFamily="34" charset="0"/>
                        </a:rPr>
                        <a:t>シンガポールにおける最初の子会社は</a:t>
                      </a:r>
                      <a:r>
                        <a:rPr kumimoji="1" lang="ja-JP" altLang="en-US" sz="1100" kern="1200" noProof="1">
                          <a:solidFill>
                            <a:schemeClr val="dk1"/>
                          </a:solidFill>
                          <a:latin typeface="+mn-ea"/>
                          <a:ea typeface="+mn-ea"/>
                          <a:cs typeface="Arial" panose="020B0604020202020204" pitchFamily="34" charset="0"/>
                        </a:rPr>
                        <a:t>、</a:t>
                      </a:r>
                      <a:r>
                        <a:rPr kumimoji="1" lang="en-US" altLang="ja-JP" sz="1100" kern="1200" noProof="1">
                          <a:solidFill>
                            <a:schemeClr val="dk1"/>
                          </a:solidFill>
                          <a:latin typeface="+mj-lt"/>
                          <a:ea typeface="+mn-ea"/>
                          <a:cs typeface="Arial" panose="020B0604020202020204" pitchFamily="34" charset="0"/>
                        </a:rPr>
                        <a:t>1987</a:t>
                      </a:r>
                      <a:r>
                        <a:rPr kumimoji="1" lang="en-US" altLang="ja-JP" sz="1100" kern="1200" noProof="1">
                          <a:solidFill>
                            <a:schemeClr val="dk1"/>
                          </a:solidFill>
                          <a:latin typeface="+mn-ea"/>
                          <a:ea typeface="+mn-ea"/>
                          <a:cs typeface="Arial" panose="020B0604020202020204" pitchFamily="34" charset="0"/>
                        </a:rPr>
                        <a:t>年に設立された。</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n-ea"/>
                          <a:ea typeface="+mn-ea"/>
                          <a:cs typeface="Arial" panose="020B0604020202020204" pitchFamily="34" charset="0"/>
                        </a:rPr>
                        <a:t>アジア・パシフィック地域では、主要市場で</a:t>
                      </a:r>
                      <a:r>
                        <a:rPr kumimoji="1" lang="en-US" sz="1100" b="0" i="0" kern="1200" noProof="1">
                          <a:solidFill>
                            <a:schemeClr val="dk1"/>
                          </a:solidFill>
                          <a:effectLst/>
                          <a:latin typeface="+mj-lt"/>
                          <a:ea typeface="+mn-ea"/>
                          <a:cs typeface="Arial" panose="020B0604020202020204" pitchFamily="34" charset="0"/>
                        </a:rPr>
                        <a:t>10</a:t>
                      </a:r>
                      <a:r>
                        <a:rPr kumimoji="1" lang="en-US" sz="1100" b="0" i="0" kern="1200" noProof="1">
                          <a:solidFill>
                            <a:schemeClr val="dk1"/>
                          </a:solidFill>
                          <a:effectLst/>
                          <a:latin typeface="+mn-ea"/>
                          <a:ea typeface="+mn-ea"/>
                          <a:cs typeface="Arial" panose="020B0604020202020204" pitchFamily="34" charset="0"/>
                        </a:rPr>
                        <a:t>の生産拠点と</a:t>
                      </a:r>
                      <a:r>
                        <a:rPr kumimoji="1" lang="en-US" sz="1100" b="0" i="0" kern="1200" noProof="1">
                          <a:solidFill>
                            <a:schemeClr val="dk1"/>
                          </a:solidFill>
                          <a:effectLst/>
                          <a:latin typeface="+mj-lt"/>
                          <a:ea typeface="+mn-ea"/>
                          <a:cs typeface="Arial" panose="020B0604020202020204" pitchFamily="34" charset="0"/>
                        </a:rPr>
                        <a:t>16</a:t>
                      </a:r>
                      <a:r>
                        <a:rPr kumimoji="1" lang="en-US" sz="1100" b="0" i="0" kern="1200" noProof="1">
                          <a:solidFill>
                            <a:schemeClr val="dk1"/>
                          </a:solidFill>
                          <a:effectLst/>
                          <a:latin typeface="+mn-ea"/>
                          <a:ea typeface="+mn-ea"/>
                          <a:cs typeface="Arial" panose="020B0604020202020204" pitchFamily="34" charset="0"/>
                        </a:rPr>
                        <a:t>の事業所を展開して</a:t>
                      </a:r>
                      <a:r>
                        <a:rPr kumimoji="1" lang="ja-JP" altLang="en-US" sz="1100" b="0" i="0" kern="1200" noProof="1">
                          <a:solidFill>
                            <a:schemeClr val="dk1"/>
                          </a:solidFill>
                          <a:effectLst/>
                          <a:latin typeface="+mn-ea"/>
                          <a:ea typeface="+mn-ea"/>
                          <a:cs typeface="Arial" panose="020B0604020202020204" pitchFamily="34" charset="0"/>
                        </a:rPr>
                        <a:t>おり、存在感を示している。</a:t>
                      </a:r>
                      <a:endParaRPr kumimoji="1" lang="en-US" altLang="ja-JP"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195133">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Philips</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先端医療画像、コンピュータ断層撮影装置、患者モニタリングおよび腫瘍学</a:t>
                      </a:r>
                      <a:endParaRPr kumimoji="1" lang="ja-JP" altLang="en-US"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1951</a:t>
                      </a:r>
                      <a:r>
                        <a:rPr kumimoji="1" lang="en-US" sz="1100" b="0" i="0" kern="1200" noProof="1">
                          <a:solidFill>
                            <a:schemeClr val="dk1"/>
                          </a:solidFill>
                          <a:effectLst/>
                          <a:latin typeface="+mn-ea"/>
                          <a:ea typeface="+mn-ea"/>
                          <a:cs typeface="Arial" panose="020B0604020202020204" pitchFamily="34" charset="0"/>
                        </a:rPr>
                        <a:t>年にシンガポールに進出</a:t>
                      </a:r>
                      <a:r>
                        <a:rPr kumimoji="1" lang="ja-JP" altLang="en-US" sz="1100" b="0" i="0" kern="1200" noProof="1">
                          <a:solidFill>
                            <a:schemeClr val="dk1"/>
                          </a:solidFill>
                          <a:effectLst/>
                          <a:latin typeface="+mn-ea"/>
                          <a:ea typeface="+mn-ea"/>
                          <a:cs typeface="Arial" panose="020B0604020202020204" pitchFamily="34" charset="0"/>
                        </a:rPr>
                        <a:t>した</a:t>
                      </a:r>
                      <a:r>
                        <a:rPr kumimoji="1" lang="en-US" sz="1100" b="0" i="0" kern="1200" noProof="1">
                          <a:solidFill>
                            <a:schemeClr val="dk1"/>
                          </a:solidFill>
                          <a:effectLst/>
                          <a:latin typeface="+mn-ea"/>
                          <a:ea typeface="+mn-ea"/>
                          <a:cs typeface="Arial" panose="020B0604020202020204" pitchFamily="34" charset="0"/>
                        </a:rPr>
                        <a:t>。</a:t>
                      </a:r>
                      <a:r>
                        <a:rPr kumimoji="1" lang="en-US" sz="1100" b="0" i="0" kern="1200" dirty="0">
                          <a:solidFill>
                            <a:schemeClr val="dk1"/>
                          </a:solidFill>
                          <a:effectLst/>
                          <a:latin typeface="+mn-ea"/>
                          <a:ea typeface="+mn-ea"/>
                          <a:cs typeface="Arial" panose="020B0604020202020204" pitchFamily="34" charset="0"/>
                        </a:rPr>
                        <a:t> </a:t>
                      </a:r>
                      <a:r>
                        <a:rPr kumimoji="1" lang="en-US" sz="1100" b="0" i="0" kern="1200" noProof="1">
                          <a:solidFill>
                            <a:schemeClr val="dk1"/>
                          </a:solidFill>
                          <a:effectLst/>
                          <a:latin typeface="+mj-lt"/>
                          <a:ea typeface="+mn-ea"/>
                          <a:cs typeface="Arial" panose="020B0604020202020204" pitchFamily="34" charset="0"/>
                        </a:rPr>
                        <a:t>2016</a:t>
                      </a:r>
                      <a:r>
                        <a:rPr kumimoji="1" lang="en-US" sz="1100" b="0" i="0" kern="1200" noProof="1">
                          <a:solidFill>
                            <a:schemeClr val="dk1"/>
                          </a:solidFill>
                          <a:effectLst/>
                          <a:latin typeface="+mn-ea"/>
                          <a:ea typeface="+mn-ea"/>
                          <a:cs typeface="Arial" panose="020B0604020202020204" pitchFamily="34" charset="0"/>
                        </a:rPr>
                        <a:t>年に</a:t>
                      </a:r>
                      <a:r>
                        <a:rPr kumimoji="1" lang="en-US" sz="1100" b="0" i="0" kern="1200" noProof="1">
                          <a:solidFill>
                            <a:schemeClr val="dk1"/>
                          </a:solidFill>
                          <a:effectLst/>
                          <a:latin typeface="+mj-lt"/>
                          <a:ea typeface="+mn-ea"/>
                          <a:cs typeface="Arial" panose="020B0604020202020204" pitchFamily="34" charset="0"/>
                        </a:rPr>
                        <a:t>Toa Payoh</a:t>
                      </a:r>
                      <a:r>
                        <a:rPr kumimoji="1" lang="en-US" sz="1100" b="0" i="0" kern="1200" noProof="1">
                          <a:solidFill>
                            <a:schemeClr val="dk1"/>
                          </a:solidFill>
                          <a:effectLst/>
                          <a:latin typeface="+mn-ea"/>
                          <a:ea typeface="+mn-ea"/>
                          <a:cs typeface="Arial" panose="020B0604020202020204" pitchFamily="34" charset="0"/>
                        </a:rPr>
                        <a:t>に開設された新しい</a:t>
                      </a:r>
                      <a:r>
                        <a:rPr kumimoji="1" lang="en-US" sz="1100" b="0" i="0" u="none" strike="noStrike" kern="1200" noProof="1">
                          <a:solidFill>
                            <a:schemeClr val="dk1"/>
                          </a:solidFill>
                          <a:effectLst/>
                          <a:latin typeface="+mn-ea"/>
                          <a:ea typeface="+mn-ea"/>
                          <a:cs typeface="Arial" panose="020B0604020202020204" pitchFamily="34" charset="0"/>
                        </a:rPr>
                        <a:t>フィリップス</a:t>
                      </a:r>
                      <a:r>
                        <a:rPr kumimoji="1" lang="en-US" sz="1100" b="0" i="0" u="none" strike="noStrike" kern="1200" noProof="1">
                          <a:solidFill>
                            <a:schemeClr val="dk1"/>
                          </a:solidFill>
                          <a:effectLst/>
                          <a:latin typeface="+mj-lt"/>
                          <a:ea typeface="+mn-ea"/>
                          <a:cs typeface="Arial" panose="020B0604020202020204" pitchFamily="34" charset="0"/>
                        </a:rPr>
                        <a:t>ASEAN</a:t>
                      </a:r>
                      <a:r>
                        <a:rPr kumimoji="1" lang="en-US" sz="1100" b="0" i="0" u="none" strike="noStrike" kern="1200" noProof="1">
                          <a:solidFill>
                            <a:schemeClr val="dk1"/>
                          </a:solidFill>
                          <a:effectLst/>
                          <a:latin typeface="+mn-ea"/>
                          <a:ea typeface="+mn-ea"/>
                          <a:cs typeface="Arial" panose="020B0604020202020204" pitchFamily="34" charset="0"/>
                        </a:rPr>
                        <a:t>太平洋センター</a:t>
                      </a:r>
                      <a:r>
                        <a:rPr kumimoji="1" lang="en-US" sz="1100" b="0" i="0" kern="1200" noProof="1">
                          <a:solidFill>
                            <a:schemeClr val="dk1"/>
                          </a:solidFill>
                          <a:effectLst/>
                          <a:latin typeface="+mn-ea"/>
                          <a:ea typeface="+mn-ea"/>
                          <a:cs typeface="Arial" panose="020B0604020202020204" pitchFamily="34" charset="0"/>
                        </a:rPr>
                        <a:t>は、地域本部としての役割を果たしてい</a:t>
                      </a:r>
                      <a:r>
                        <a:rPr kumimoji="1" lang="ja-JP" altLang="en-US" sz="1100" b="0" i="0" kern="1200" noProof="1">
                          <a:solidFill>
                            <a:schemeClr val="dk1"/>
                          </a:solidFill>
                          <a:effectLst/>
                          <a:latin typeface="+mn-ea"/>
                          <a:ea typeface="+mn-ea"/>
                          <a:cs typeface="Arial" panose="020B0604020202020204" pitchFamily="34" charset="0"/>
                        </a:rPr>
                        <a:t>る。</a:t>
                      </a:r>
                      <a:endParaRPr kumimoji="1" lang="en-US" sz="1100" b="0" i="0" kern="1200" noProof="1">
                        <a:solidFill>
                          <a:schemeClr val="dk1"/>
                        </a:solidFill>
                        <a:effectLst/>
                        <a:latin typeface="+mn-ea"/>
                        <a:ea typeface="+mn-ea"/>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Philips Foundation</a:t>
                      </a:r>
                      <a:r>
                        <a:rPr kumimoji="1" lang="en-US" sz="1100" b="0" i="0" kern="1200" noProof="1">
                          <a:solidFill>
                            <a:schemeClr val="dk1"/>
                          </a:solidFill>
                          <a:effectLst/>
                          <a:latin typeface="+mn-ea"/>
                          <a:ea typeface="+mn-ea"/>
                          <a:cs typeface="Arial" panose="020B0604020202020204" pitchFamily="34" charset="0"/>
                        </a:rPr>
                        <a:t>は</a:t>
                      </a:r>
                      <a:r>
                        <a:rPr kumimoji="1" lang="en-US" sz="1100" b="0" i="0" kern="1200" noProof="1">
                          <a:solidFill>
                            <a:schemeClr val="dk1"/>
                          </a:solidFill>
                          <a:effectLst/>
                          <a:latin typeface="+mj-lt"/>
                          <a:ea typeface="+mn-ea"/>
                          <a:cs typeface="Arial" panose="020B0604020202020204" pitchFamily="34" charset="0"/>
                        </a:rPr>
                        <a:t>Singapore Heart Foundation</a:t>
                      </a:r>
                      <a:r>
                        <a:rPr kumimoji="1" lang="en-US" sz="1100" b="0" i="0" kern="1200" noProof="1">
                          <a:solidFill>
                            <a:schemeClr val="dk1"/>
                          </a:solidFill>
                          <a:effectLst/>
                          <a:latin typeface="+mn-ea"/>
                          <a:ea typeface="+mn-ea"/>
                          <a:cs typeface="Arial" panose="020B0604020202020204" pitchFamily="34" charset="0"/>
                        </a:rPr>
                        <a:t>と提携し、心臓リハビリテーションのインフラ、</a:t>
                      </a:r>
                      <a:r>
                        <a:rPr kumimoji="1" lang="en-US" sz="1100" b="0" i="0" kern="1200" noProof="1">
                          <a:solidFill>
                            <a:schemeClr val="dk1"/>
                          </a:solidFill>
                          <a:effectLst/>
                          <a:latin typeface="+mj-lt"/>
                          <a:ea typeface="+mn-ea"/>
                          <a:cs typeface="Arial" panose="020B0604020202020204" pitchFamily="34" charset="0"/>
                        </a:rPr>
                        <a:t>CPR</a:t>
                      </a:r>
                      <a:r>
                        <a:rPr kumimoji="1" lang="en-US" sz="1100" b="0" i="0" kern="1200" noProof="1">
                          <a:solidFill>
                            <a:schemeClr val="dk1"/>
                          </a:solidFill>
                          <a:effectLst/>
                          <a:latin typeface="+mn-ea"/>
                          <a:ea typeface="+mn-ea"/>
                          <a:cs typeface="Arial" panose="020B0604020202020204" pitchFamily="34" charset="0"/>
                        </a:rPr>
                        <a:t>トレーニング、およびアウトリーチプログラムに資金を提供している。</a:t>
                      </a:r>
                      <a:endParaRPr kumimoji="1" lang="ja-JP" altLang="en-US" sz="1100" b="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195133">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GE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画像診断、診断ECG、患者モニタリング、人工呼吸器、医療用部品および付属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000</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GE</a:t>
                      </a:r>
                      <a:r>
                        <a:rPr kumimoji="1" lang="en-US" sz="1100" b="0" i="0" kern="1200" noProof="1">
                          <a:solidFill>
                            <a:schemeClr val="dk1"/>
                          </a:solidFill>
                          <a:effectLst/>
                          <a:latin typeface="+mn-ea"/>
                          <a:ea typeface="+mn-ea"/>
                          <a:cs typeface="Arial" panose="020B0604020202020204" pitchFamily="34" charset="0"/>
                        </a:rPr>
                        <a:t>とシンガポールの関係は、同社がシンガポールに電子機器製造工場を開設した</a:t>
                      </a:r>
                      <a:r>
                        <a:rPr kumimoji="1" lang="en-US" sz="1100" b="0" i="0" kern="1200" noProof="1">
                          <a:solidFill>
                            <a:schemeClr val="dk1"/>
                          </a:solidFill>
                          <a:effectLst/>
                          <a:latin typeface="+mj-lt"/>
                          <a:ea typeface="+mn-ea"/>
                          <a:cs typeface="Arial" panose="020B0604020202020204" pitchFamily="34" charset="0"/>
                        </a:rPr>
                        <a:t>1969</a:t>
                      </a:r>
                      <a:r>
                        <a:rPr kumimoji="1" lang="en-US" sz="1100" b="0" i="0" kern="1200" noProof="1">
                          <a:solidFill>
                            <a:schemeClr val="dk1"/>
                          </a:solidFill>
                          <a:effectLst/>
                          <a:latin typeface="+mn-ea"/>
                          <a:ea typeface="+mn-ea"/>
                          <a:cs typeface="Arial" panose="020B0604020202020204" pitchFamily="34" charset="0"/>
                        </a:rPr>
                        <a:t>年に</a:t>
                      </a:r>
                      <a:r>
                        <a:rPr kumimoji="1" lang="ja-JP" altLang="en-US" sz="1100" b="0" i="0" kern="1200" noProof="1">
                          <a:solidFill>
                            <a:schemeClr val="dk1"/>
                          </a:solidFill>
                          <a:effectLst/>
                          <a:latin typeface="+mn-ea"/>
                          <a:ea typeface="+mn-ea"/>
                          <a:cs typeface="Arial" panose="020B0604020202020204" pitchFamily="34" charset="0"/>
                        </a:rPr>
                        <a:t>遡る</a:t>
                      </a:r>
                      <a:r>
                        <a:rPr kumimoji="1" lang="en-US" sz="1100" b="0" i="0" kern="1200" noProof="1">
                          <a:solidFill>
                            <a:schemeClr val="dk1"/>
                          </a:solidFill>
                          <a:effectLst/>
                          <a:latin typeface="+mn-ea"/>
                          <a:ea typeface="+mn-ea"/>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GE Healthcare</a:t>
                      </a:r>
                      <a:r>
                        <a:rPr kumimoji="1" lang="en-US" sz="1100" b="0" i="0" kern="1200" noProof="1">
                          <a:solidFill>
                            <a:schemeClr val="dk1"/>
                          </a:solidFill>
                          <a:effectLst/>
                          <a:latin typeface="+mn-ea"/>
                          <a:ea typeface="+mn-ea"/>
                          <a:cs typeface="Arial" panose="020B0604020202020204" pitchFamily="34" charset="0"/>
                        </a:rPr>
                        <a:t>とシンガポールに拠点を置く</a:t>
                      </a:r>
                      <a:r>
                        <a:rPr kumimoji="1" lang="en-US" sz="1100" b="0" i="0" kern="1200" noProof="1">
                          <a:solidFill>
                            <a:schemeClr val="tx1"/>
                          </a:solidFill>
                          <a:effectLst/>
                          <a:latin typeface="+mj-lt"/>
                          <a:ea typeface="+mn-ea"/>
                          <a:cs typeface="Arial" panose="020B0604020202020204" pitchFamily="34" charset="0"/>
                        </a:rPr>
                        <a:t>A*</a:t>
                      </a:r>
                      <a:r>
                        <a:rPr kumimoji="1" lang="en-US" sz="1100" b="0" i="0" kern="1200" noProof="1">
                          <a:solidFill>
                            <a:schemeClr val="dk1"/>
                          </a:solidFill>
                          <a:effectLst/>
                          <a:latin typeface="+mj-lt"/>
                          <a:ea typeface="+mn-ea"/>
                          <a:cs typeface="Arial" panose="020B0604020202020204" pitchFamily="34" charset="0"/>
                        </a:rPr>
                        <a:t>STAR</a:t>
                      </a:r>
                      <a:r>
                        <a:rPr kumimoji="1" lang="en-US" sz="1100" b="0" i="0" kern="1200" noProof="1">
                          <a:solidFill>
                            <a:schemeClr val="dk1"/>
                          </a:solidFill>
                          <a:effectLst/>
                          <a:latin typeface="+mn-ea"/>
                          <a:ea typeface="+mn-ea"/>
                          <a:cs typeface="Arial" panose="020B0604020202020204" pitchFamily="34" charset="0"/>
                        </a:rPr>
                        <a:t>の</a:t>
                      </a:r>
                      <a:r>
                        <a:rPr kumimoji="1" lang="en-US" sz="1100" b="0" i="0" kern="1200" noProof="1">
                          <a:solidFill>
                            <a:schemeClr val="dk1"/>
                          </a:solidFill>
                          <a:effectLst/>
                          <a:latin typeface="+mj-lt"/>
                          <a:ea typeface="+mn-ea"/>
                          <a:cs typeface="Arial" panose="020B0604020202020204" pitchFamily="34" charset="0"/>
                        </a:rPr>
                        <a:t>Institute of Materials Research and Engineering</a:t>
                      </a:r>
                      <a:r>
                        <a:rPr kumimoji="1" lang="en-US" sz="1100" b="0" i="0" kern="1200" noProof="1">
                          <a:solidFill>
                            <a:schemeClr val="dk1"/>
                          </a:solidFill>
                          <a:effectLst/>
                          <a:latin typeface="+mn-ea"/>
                          <a:ea typeface="+mn-ea"/>
                          <a:cs typeface="Arial" panose="020B0604020202020204" pitchFamily="34" charset="0"/>
                        </a:rPr>
                        <a:t>は、新しい医療機器とアプリケーション技術の開発を検討する覚書に署名した。</a:t>
                      </a:r>
                      <a:endParaRPr kumimoji="1" lang="en-US" altLang="ja-JP" sz="1100" b="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1015786">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Stryker</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医療機器、外科機器、整形外科、神経工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gt;1500</a:t>
                      </a:r>
                      <a:endParaRPr kumimoji="1" lang="ja-JP" altLang="en-US" sz="11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Stryker</a:t>
                      </a:r>
                      <a:r>
                        <a:rPr kumimoji="1" lang="en-US" sz="1100" b="0" i="0" kern="1200" noProof="1">
                          <a:solidFill>
                            <a:schemeClr val="dk1"/>
                          </a:solidFill>
                          <a:effectLst/>
                          <a:latin typeface="+mn-ea"/>
                          <a:ea typeface="+mn-ea"/>
                          <a:cs typeface="Arial" panose="020B0604020202020204" pitchFamily="34" charset="0"/>
                        </a:rPr>
                        <a:t>社は</a:t>
                      </a:r>
                      <a:r>
                        <a:rPr kumimoji="1" lang="en-US" sz="1100" b="0" i="0" kern="1200" noProof="1">
                          <a:solidFill>
                            <a:schemeClr val="dk1"/>
                          </a:solidFill>
                          <a:effectLst/>
                          <a:latin typeface="+mj-lt"/>
                          <a:ea typeface="+mn-ea"/>
                          <a:cs typeface="Arial" panose="020B0604020202020204" pitchFamily="34" charset="0"/>
                        </a:rPr>
                        <a:t>ACRA</a:t>
                      </a:r>
                      <a:r>
                        <a:rPr kumimoji="1" lang="en-US" sz="1100" b="0" i="0" kern="1200" noProof="1">
                          <a:solidFill>
                            <a:schemeClr val="dk1"/>
                          </a:solidFill>
                          <a:effectLst/>
                          <a:latin typeface="+mn-ea"/>
                          <a:ea typeface="+mn-ea"/>
                          <a:cs typeface="Arial" panose="020B0604020202020204" pitchFamily="34" charset="0"/>
                        </a:rPr>
                        <a:t>登録企業で</a:t>
                      </a:r>
                      <a:r>
                        <a:rPr kumimoji="1" lang="ja-JP" altLang="en-US" sz="1100" b="0" i="0" kern="1200" noProof="1">
                          <a:solidFill>
                            <a:schemeClr val="dk1"/>
                          </a:solidFill>
                          <a:effectLst/>
                          <a:latin typeface="+mn-ea"/>
                          <a:ea typeface="+mn-ea"/>
                          <a:cs typeface="Arial" panose="020B0604020202020204" pitchFamily="34" charset="0"/>
                        </a:rPr>
                        <a:t>あり</a:t>
                      </a:r>
                      <a:r>
                        <a:rPr kumimoji="1" lang="en-US" sz="1100" b="0" i="0" kern="1200" noProof="1">
                          <a:solidFill>
                            <a:schemeClr val="dk1"/>
                          </a:solidFill>
                          <a:effectLst/>
                          <a:latin typeface="+mn-ea"/>
                          <a:ea typeface="+mn-ea"/>
                          <a:cs typeface="Arial" panose="020B0604020202020204" pitchFamily="34" charset="0"/>
                        </a:rPr>
                        <a:t>、</a:t>
                      </a:r>
                      <a:r>
                        <a:rPr kumimoji="1" lang="en-US" sz="1100" b="0" i="0" kern="1200" noProof="1">
                          <a:solidFill>
                            <a:schemeClr val="dk1"/>
                          </a:solidFill>
                          <a:effectLst/>
                          <a:latin typeface="+mj-lt"/>
                          <a:ea typeface="+mn-ea"/>
                          <a:cs typeface="Arial" panose="020B0604020202020204" pitchFamily="34" charset="0"/>
                        </a:rPr>
                        <a:t>1990</a:t>
                      </a:r>
                      <a:r>
                        <a:rPr kumimoji="1" lang="en-US" sz="1100" b="0" i="0" kern="1200" noProof="1">
                          <a:solidFill>
                            <a:schemeClr val="dk1"/>
                          </a:solidFill>
                          <a:effectLst/>
                          <a:latin typeface="+mn-ea"/>
                          <a:ea typeface="+mn-ea"/>
                          <a:cs typeface="Arial" panose="020B0604020202020204" pitchFamily="34" charset="0"/>
                        </a:rPr>
                        <a:t>年の設立以来</a:t>
                      </a:r>
                      <a:r>
                        <a:rPr kumimoji="1" lang="en-US" sz="1100" b="0" i="0" kern="1200" noProof="1">
                          <a:solidFill>
                            <a:schemeClr val="dk1"/>
                          </a:solidFill>
                          <a:effectLst/>
                          <a:latin typeface="+mj-lt"/>
                          <a:ea typeface="+mn-ea"/>
                          <a:cs typeface="Arial" panose="020B0604020202020204" pitchFamily="34" charset="0"/>
                        </a:rPr>
                        <a:t>34</a:t>
                      </a:r>
                      <a:r>
                        <a:rPr kumimoji="1" lang="en-US" sz="1100" b="0" i="0" kern="1200" noProof="1">
                          <a:solidFill>
                            <a:schemeClr val="dk1"/>
                          </a:solidFill>
                          <a:effectLst/>
                          <a:latin typeface="+mn-ea"/>
                          <a:ea typeface="+mn-ea"/>
                          <a:cs typeface="Arial" panose="020B0604020202020204" pitchFamily="34" charset="0"/>
                        </a:rPr>
                        <a:t>年以上にわたりシンガポールで事業を展開してい</a:t>
                      </a:r>
                      <a:r>
                        <a:rPr kumimoji="1" lang="ja-JP" altLang="en-US" sz="1100" b="0" i="0" kern="1200" noProof="1">
                          <a:solidFill>
                            <a:schemeClr val="dk1"/>
                          </a:solidFill>
                          <a:effectLst/>
                          <a:latin typeface="+mn-ea"/>
                          <a:ea typeface="+mn-ea"/>
                          <a:cs typeface="Arial" panose="020B0604020202020204" pitchFamily="34" charset="0"/>
                        </a:rPr>
                        <a:t>る</a:t>
                      </a:r>
                      <a:r>
                        <a:rPr kumimoji="1" lang="en-US" sz="1100" b="0" i="0" kern="1200" noProof="1">
                          <a:solidFill>
                            <a:schemeClr val="dk1"/>
                          </a:solidFill>
                          <a:effectLst/>
                          <a:latin typeface="+mn-ea"/>
                          <a:ea typeface="+mn-ea"/>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Stryker</a:t>
                      </a:r>
                      <a:r>
                        <a:rPr kumimoji="1" lang="en-US" sz="1100" b="0" i="0" kern="1200" noProof="1">
                          <a:solidFill>
                            <a:schemeClr val="dk1"/>
                          </a:solidFill>
                          <a:effectLst/>
                          <a:latin typeface="+mn-ea"/>
                          <a:ea typeface="+mn-ea"/>
                          <a:cs typeface="Arial" panose="020B0604020202020204" pitchFamily="34" charset="0"/>
                        </a:rPr>
                        <a:t>は、足、足首、およびスポーツ医学処置のための革新的な軟組織固定製品を専門とする株式非公開企業</a:t>
                      </a:r>
                      <a:r>
                        <a:rPr kumimoji="1" lang="en-US" sz="1100" b="0" i="0" kern="1200" noProof="1">
                          <a:solidFill>
                            <a:schemeClr val="dk1"/>
                          </a:solidFill>
                          <a:effectLst/>
                          <a:latin typeface="+mj-lt"/>
                          <a:ea typeface="+mn-ea"/>
                          <a:cs typeface="Arial" panose="020B0604020202020204" pitchFamily="34" charset="0"/>
                        </a:rPr>
                        <a:t>Artelon</a:t>
                      </a:r>
                      <a:r>
                        <a:rPr kumimoji="1" lang="en-US" sz="1100" b="0" i="0" kern="1200" noProof="1">
                          <a:solidFill>
                            <a:schemeClr val="dk1"/>
                          </a:solidFill>
                          <a:effectLst/>
                          <a:latin typeface="+mn-ea"/>
                          <a:ea typeface="+mn-ea"/>
                          <a:cs typeface="Arial" panose="020B0604020202020204" pitchFamily="34" charset="0"/>
                        </a:rPr>
                        <a:t>を買収した。</a:t>
                      </a:r>
                      <a:endParaRPr kumimoji="1" lang="ja-JP" altLang="en-US" sz="11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4" name="TextBox 3">
            <a:extLst>
              <a:ext uri="{FF2B5EF4-FFF2-40B4-BE49-F238E27FC236}">
                <a16:creationId xmlns:a16="http://schemas.microsoft.com/office/drawing/2014/main" id="{FA7B71D6-631C-2718-246A-A4286B7C6AF5}"/>
              </a:ext>
            </a:extLst>
          </p:cNvPr>
          <p:cNvSpPr txBox="1"/>
          <p:nvPr/>
        </p:nvSpPr>
        <p:spPr>
          <a:xfrm>
            <a:off x="200025" y="6156039"/>
            <a:ext cx="9087195" cy="230832"/>
          </a:xfrm>
          <a:prstGeom prst="rect">
            <a:avLst/>
          </a:prstGeom>
          <a:noFill/>
        </p:spPr>
        <p:txBody>
          <a:bodyPr wrap="square" rtlCol="0">
            <a:spAutoFit/>
          </a:bodyPr>
          <a:lstStyle/>
          <a:p>
            <a:r>
              <a:rPr kumimoji="1" lang="en-US" sz="900" noProof="1">
                <a:latin typeface="Arial" panose="020B0604020202020204" pitchFamily="34" charset="0"/>
                <a:ea typeface="ＭＳ Ｐゴシック" panose="020B0600070205080204" pitchFamily="50" charset="-128"/>
                <a:cs typeface="Arial" panose="020B0604020202020204" pitchFamily="34" charset="0"/>
              </a:rPr>
              <a:t>*従業員数はすべて概数</a:t>
            </a:r>
          </a:p>
        </p:txBody>
      </p:sp>
      <p:sp>
        <p:nvSpPr>
          <p:cNvPr id="7" name="Rectangle 6">
            <a:extLst>
              <a:ext uri="{FF2B5EF4-FFF2-40B4-BE49-F238E27FC236}">
                <a16:creationId xmlns:a16="http://schemas.microsoft.com/office/drawing/2014/main" id="{FD3BB30F-9144-3EE2-5CAE-E14C2F5A813B}"/>
              </a:ext>
            </a:extLst>
          </p:cNvPr>
          <p:cNvSpPr>
            <a:spLocks noChangeArrowheads="1"/>
          </p:cNvSpPr>
          <p:nvPr/>
        </p:nvSpPr>
        <p:spPr bwMode="auto">
          <a:xfrm>
            <a:off x="286667" y="108021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5BE2FCD2-517A-8887-D183-2BE4E52EBC64}"/>
              </a:ext>
            </a:extLst>
          </p:cNvPr>
          <p:cNvSpPr/>
          <p:nvPr/>
        </p:nvSpPr>
        <p:spPr>
          <a:xfrm>
            <a:off x="3671043" y="217704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9" name="Circle: Hollow 7">
            <a:extLst>
              <a:ext uri="{FF2B5EF4-FFF2-40B4-BE49-F238E27FC236}">
                <a16:creationId xmlns:a16="http://schemas.microsoft.com/office/drawing/2014/main" id="{63A16205-117A-5A60-1B5F-81AA6BC2C120}"/>
              </a:ext>
            </a:extLst>
          </p:cNvPr>
          <p:cNvSpPr/>
          <p:nvPr/>
        </p:nvSpPr>
        <p:spPr>
          <a:xfrm>
            <a:off x="3671043" y="309458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7">
            <a:extLst>
              <a:ext uri="{FF2B5EF4-FFF2-40B4-BE49-F238E27FC236}">
                <a16:creationId xmlns:a16="http://schemas.microsoft.com/office/drawing/2014/main" id="{B4AFCEF9-F585-AA0C-9BF9-DBFF81852AA9}"/>
              </a:ext>
            </a:extLst>
          </p:cNvPr>
          <p:cNvSpPr/>
          <p:nvPr/>
        </p:nvSpPr>
        <p:spPr>
          <a:xfrm>
            <a:off x="3660387" y="436510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7">
            <a:extLst>
              <a:ext uri="{FF2B5EF4-FFF2-40B4-BE49-F238E27FC236}">
                <a16:creationId xmlns:a16="http://schemas.microsoft.com/office/drawing/2014/main" id="{FE1BEEEA-37CF-4DDB-069B-EB1CFA0EB20E}"/>
              </a:ext>
            </a:extLst>
          </p:cNvPr>
          <p:cNvSpPr/>
          <p:nvPr/>
        </p:nvSpPr>
        <p:spPr>
          <a:xfrm>
            <a:off x="3660387" y="54330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テキスト ボックス 13">
            <a:extLst>
              <a:ext uri="{FF2B5EF4-FFF2-40B4-BE49-F238E27FC236}">
                <a16:creationId xmlns:a16="http://schemas.microsoft.com/office/drawing/2014/main" id="{E57921D6-540A-6529-D990-348237BA18BD}"/>
              </a:ext>
            </a:extLst>
          </p:cNvPr>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choi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st of Medical Equipment Manufacturers in Singapo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1994787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604762004"/>
              </p:ext>
            </p:extLst>
          </p:nvPr>
        </p:nvGraphicFramePr>
        <p:xfrm>
          <a:off x="213190" y="2811766"/>
          <a:ext cx="9276314" cy="369570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0550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533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ディストリビューターを活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病院に対し、血管科、救急科、麻酔科など幅広い病院部門へ</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ra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診断用超音波の導入を支援。</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シンガポールにおける</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ライセンス・正規販売店（ホームヘルスケア製品を専門と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血圧計、吸引機、酸素濃縮器等）はシンガポール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386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にオフィスまたはラボを持つ（アジア太平洋地域の地域本部は香港）。</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本社を持つバイオテクノロジー企業</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RX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東南アジアをリードする</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emoics</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latfor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構築することを表明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00025"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iRXE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ew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49289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2" name="Circle: Hollow 11">
            <a:extLst>
              <a:ext uri="{FF2B5EF4-FFF2-40B4-BE49-F238E27FC236}">
                <a16:creationId xmlns:a16="http://schemas.microsoft.com/office/drawing/2014/main" id="{91E229AF-FCEC-4720-93A5-94247990E764}"/>
              </a:ext>
            </a:extLst>
          </p:cNvPr>
          <p:cNvSpPr/>
          <p:nvPr/>
        </p:nvSpPr>
        <p:spPr>
          <a:xfrm>
            <a:off x="4088904" y="591206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テキスト ボックス 3">
            <a:extLst>
              <a:ext uri="{FF2B5EF4-FFF2-40B4-BE49-F238E27FC236}">
                <a16:creationId xmlns:a16="http://schemas.microsoft.com/office/drawing/2014/main" id="{2680C600-D6B7-46B6-AF0C-103A5B7D5E45}"/>
              </a:ext>
            </a:extLst>
          </p:cNvPr>
          <p:cNvSpPr txBox="1"/>
          <p:nvPr/>
        </p:nvSpPr>
        <p:spPr>
          <a:xfrm>
            <a:off x="200470" y="1025990"/>
            <a:ext cx="9505056" cy="14785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latin typeface="Arial" panose="020B0604020202020204" pitchFamily="34" charset="0"/>
                <a:cs typeface="Arial" panose="020B0604020202020204" pitchFamily="34" charset="0"/>
              </a:rPr>
              <a:t>中国はシンガポールの医療機器輸入の2%</a:t>
            </a:r>
            <a:r>
              <a:rPr lang="ja-JP" altLang="en-US" sz="1400" noProof="1">
                <a:latin typeface="Arial" panose="020B0604020202020204" pitchFamily="34" charset="0"/>
                <a:cs typeface="Arial" panose="020B0604020202020204" pitchFamily="34" charset="0"/>
              </a:rPr>
              <a:t>程度で</a:t>
            </a:r>
            <a:r>
              <a:rPr lang="en-US" altLang="ja-JP" sz="1400" noProof="1">
                <a:latin typeface="Arial" panose="020B0604020202020204" pitchFamily="34" charset="0"/>
                <a:cs typeface="Arial" panose="020B0604020202020204" pitchFamily="34" charset="0"/>
              </a:rPr>
              <a:t>、</a:t>
            </a:r>
            <a:r>
              <a:rPr lang="ja-JP" altLang="en-US" sz="1400" noProof="1">
                <a:latin typeface="Arial" panose="020B0604020202020204" pitchFamily="34" charset="0"/>
                <a:cs typeface="Arial" panose="020B0604020202020204" pitchFamily="34" charset="0"/>
              </a:rPr>
              <a:t>その多くは</a:t>
            </a:r>
            <a:r>
              <a:rPr lang="en-US" altLang="ja-JP" sz="1400" noProof="1">
                <a:latin typeface="Arial" panose="020B0604020202020204" pitchFamily="34" charset="0"/>
                <a:cs typeface="Arial" panose="020B0604020202020204" pitchFamily="34" charset="0"/>
              </a:rPr>
              <a:t>画像診断機器</a:t>
            </a:r>
            <a:r>
              <a:rPr lang="ja-JP" altLang="en-US" sz="1400" noProof="1">
                <a:latin typeface="Arial" panose="020B0604020202020204" pitchFamily="34" charset="0"/>
                <a:cs typeface="Arial" panose="020B0604020202020204" pitchFamily="34" charset="0"/>
              </a:rPr>
              <a:t>や患者福祉機器であ</a:t>
            </a:r>
            <a:r>
              <a:rPr lang="en-US" altLang="ja-JP" sz="1400" noProof="1">
                <a:latin typeface="Arial" panose="020B0604020202020204" pitchFamily="34" charset="0"/>
                <a:cs typeface="Arial" panose="020B0604020202020204" pitchFamily="34" charset="0"/>
              </a:rPr>
              <a:t>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noProof="1">
                <a:effectLst/>
                <a:latin typeface="Arial" panose="020B0604020202020204" pitchFamily="34" charset="0"/>
                <a:cs typeface="Arial" panose="020B0604020202020204" pitchFamily="34" charset="0"/>
              </a:rPr>
              <a:t>シンガポールでは、企業の研究開発能力、製品品質、国際的なコンプライアンスに対する要求が高い。</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64664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4/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611344581"/>
              </p:ext>
            </p:extLst>
          </p:nvPr>
        </p:nvGraphicFramePr>
        <p:xfrm>
          <a:off x="231696" y="1538453"/>
          <a:ext cx="9473829" cy="3291840"/>
        </p:xfrm>
        <a:graphic>
          <a:graphicData uri="http://schemas.openxmlformats.org/drawingml/2006/table">
            <a:tbl>
              <a:tblPr firstRow="1" bandRow="1">
                <a:tableStyleId>{5C22544A-7EE6-4342-B048-85BDC9FD1C3A}</a:tableStyleId>
              </a:tblPr>
              <a:tblGrid>
                <a:gridCol w="1829478">
                  <a:extLst>
                    <a:ext uri="{9D8B030D-6E8A-4147-A177-3AD203B41FA5}">
                      <a16:colId xmlns:a16="http://schemas.microsoft.com/office/drawing/2014/main" val="20000"/>
                    </a:ext>
                  </a:extLst>
                </a:gridCol>
                <a:gridCol w="1883714">
                  <a:extLst>
                    <a:ext uri="{9D8B030D-6E8A-4147-A177-3AD203B41FA5}">
                      <a16:colId xmlns:a16="http://schemas.microsoft.com/office/drawing/2014/main" val="20001"/>
                    </a:ext>
                  </a:extLst>
                </a:gridCol>
                <a:gridCol w="1292610">
                  <a:extLst>
                    <a:ext uri="{9D8B030D-6E8A-4147-A177-3AD203B41FA5}">
                      <a16:colId xmlns:a16="http://schemas.microsoft.com/office/drawing/2014/main" val="2407660883"/>
                    </a:ext>
                  </a:extLst>
                </a:gridCol>
                <a:gridCol w="1011590">
                  <a:extLst>
                    <a:ext uri="{9D8B030D-6E8A-4147-A177-3AD203B41FA5}">
                      <a16:colId xmlns:a16="http://schemas.microsoft.com/office/drawing/2014/main" val="20002"/>
                    </a:ext>
                  </a:extLst>
                </a:gridCol>
                <a:gridCol w="3456437">
                  <a:extLst>
                    <a:ext uri="{9D8B030D-6E8A-4147-A177-3AD203B41FA5}">
                      <a16:colId xmlns:a16="http://schemas.microsoft.com/office/drawing/2014/main" val="20003"/>
                    </a:ext>
                  </a:extLst>
                </a:gridCol>
              </a:tblGrid>
              <a:tr h="235481">
                <a:tc>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05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Bluesail medical</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n-ea"/>
                          <a:ea typeface="+mn-ea"/>
                          <a:cs typeface="Arial" panose="020B0604020202020204" pitchFamily="34" charset="0"/>
                        </a:rPr>
                        <a:t>同社の</a:t>
                      </a:r>
                      <a:r>
                        <a:rPr kumimoji="1" lang="en-US" sz="1000" b="0" i="0" kern="1200" noProof="1">
                          <a:solidFill>
                            <a:schemeClr val="dk1"/>
                          </a:solidFill>
                          <a:effectLst/>
                          <a:latin typeface="+mj-lt"/>
                          <a:ea typeface="+mn-ea"/>
                          <a:cs typeface="Arial" panose="020B0604020202020204" pitchFamily="34" charset="0"/>
                        </a:rPr>
                        <a:t>4</a:t>
                      </a:r>
                      <a:r>
                        <a:rPr kumimoji="1" lang="en-US" sz="1000" b="0" i="0" kern="1200" noProof="1">
                          <a:solidFill>
                            <a:schemeClr val="dk1"/>
                          </a:solidFill>
                          <a:effectLst/>
                          <a:latin typeface="+mn-ea"/>
                          <a:ea typeface="+mn-ea"/>
                          <a:cs typeface="Arial" panose="020B0604020202020204" pitchFamily="34" charset="0"/>
                        </a:rPr>
                        <a:t>つの主要分野は</a:t>
                      </a:r>
                      <a:r>
                        <a:rPr kumimoji="1" lang="ja-JP" altLang="en-US" sz="1000" b="0" i="0" kern="1200" noProof="1">
                          <a:solidFill>
                            <a:schemeClr val="dk1"/>
                          </a:solidFill>
                          <a:effectLst/>
                          <a:latin typeface="+mn-ea"/>
                          <a:ea typeface="+mn-ea"/>
                          <a:cs typeface="Arial" panose="020B0604020202020204" pitchFamily="34" charset="0"/>
                        </a:rPr>
                        <a:t>以下の通り</a:t>
                      </a:r>
                      <a:r>
                        <a:rPr kumimoji="1" lang="en-US" sz="1000" b="0" i="0" kern="1200" noProof="1">
                          <a:solidFill>
                            <a:schemeClr val="dk1"/>
                          </a:solidFill>
                          <a:effectLst/>
                          <a:latin typeface="+mn-ea"/>
                          <a:ea typeface="+mn-ea"/>
                          <a:cs typeface="Arial" panose="020B0604020202020204" pitchFamily="34" charset="0"/>
                        </a:rPr>
                        <a:t>。</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1） </a:t>
                      </a:r>
                      <a:r>
                        <a:rPr kumimoji="1" lang="en-US" sz="1000" b="0" i="0" kern="1200" noProof="1">
                          <a:solidFill>
                            <a:schemeClr val="dk1"/>
                          </a:solidFill>
                          <a:effectLst/>
                          <a:latin typeface="+mn-ea"/>
                          <a:ea typeface="+mn-ea"/>
                          <a:cs typeface="Arial" panose="020B0604020202020204" pitchFamily="34" charset="0"/>
                        </a:rPr>
                        <a:t>医療用手袋を核とした医療防護</a:t>
                      </a:r>
                      <a:r>
                        <a:rPr kumimoji="1" lang="ja-JP" altLang="en-US" sz="1000" b="0" i="0" kern="1200" noProof="1">
                          <a:solidFill>
                            <a:schemeClr val="dk1"/>
                          </a:solidFill>
                          <a:effectLst/>
                          <a:latin typeface="+mn-ea"/>
                          <a:ea typeface="+mn-ea"/>
                          <a:cs typeface="Arial" panose="020B0604020202020204" pitchFamily="34" charset="0"/>
                        </a:rPr>
                        <a:t>事業</a:t>
                      </a:r>
                      <a:endParaRPr kumimoji="1" lang="en-US" sz="1000" b="0" i="0" kern="1200" noProof="1">
                        <a:solidFill>
                          <a:schemeClr val="dk1"/>
                        </a:solidFill>
                        <a:effectLst/>
                        <a:latin typeface="+mn-ea"/>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2） </a:t>
                      </a:r>
                      <a:r>
                        <a:rPr kumimoji="1" lang="en-US" sz="1000" b="0" i="0" kern="1200" noProof="1">
                          <a:solidFill>
                            <a:schemeClr val="dk1"/>
                          </a:solidFill>
                          <a:effectLst/>
                          <a:latin typeface="+mn-ea"/>
                          <a:ea typeface="+mn-ea"/>
                          <a:cs typeface="Arial" panose="020B0604020202020204" pitchFamily="34" charset="0"/>
                        </a:rPr>
                        <a:t>心血管ステントを中核とする循環器ビジネスユニット</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3） </a:t>
                      </a:r>
                      <a:r>
                        <a:rPr kumimoji="1" lang="en-US" sz="1000" b="0" i="0" kern="1200" noProof="1">
                          <a:solidFill>
                            <a:schemeClr val="dk1"/>
                          </a:solidFill>
                          <a:effectLst/>
                          <a:latin typeface="+mn-ea"/>
                          <a:ea typeface="+mn-ea"/>
                          <a:cs typeface="Arial" panose="020B0604020202020204" pitchFamily="34" charset="0"/>
                        </a:rPr>
                        <a:t>ステープラー、超音波メスを主力製品とする外科事業</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4） </a:t>
                      </a:r>
                      <a:r>
                        <a:rPr kumimoji="1" lang="en-US" sz="1000" b="0" i="0" kern="1200" noProof="1">
                          <a:solidFill>
                            <a:schemeClr val="dk1"/>
                          </a:solidFill>
                          <a:effectLst/>
                          <a:latin typeface="+mn-ea"/>
                          <a:ea typeface="+mn-ea"/>
                          <a:cs typeface="Arial" panose="020B0604020202020204" pitchFamily="34" charset="0"/>
                        </a:rPr>
                        <a:t>救急箱を核とした看護事業部</a:t>
                      </a: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j-lt"/>
                          <a:ea typeface="+mn-ea"/>
                          <a:cs typeface="Arial" panose="020B0604020202020204" pitchFamily="34" charset="0"/>
                        </a:rPr>
                        <a:t>2002</a:t>
                      </a:r>
                      <a:r>
                        <a:rPr kumimoji="1" lang="en-US" sz="1000" b="0" i="0" kern="1200" noProof="1">
                          <a:solidFill>
                            <a:schemeClr val="dk1"/>
                          </a:solidFill>
                          <a:effectLst/>
                          <a:latin typeface="+mn-ea"/>
                          <a:ea typeface="+mn-ea"/>
                          <a:cs typeface="Arial" panose="020B0604020202020204" pitchFamily="34" charset="0"/>
                        </a:rPr>
                        <a:t>年に設立された医療機器大手企業で、中・高価格の消耗品から低価格の消耗品まで幅広く取り揃えてい</a:t>
                      </a:r>
                      <a:r>
                        <a:rPr kumimoji="1" lang="ja-JP" altLang="en-US" sz="1000" b="0" i="0" kern="1200" noProof="1">
                          <a:solidFill>
                            <a:schemeClr val="dk1"/>
                          </a:solidFill>
                          <a:effectLst/>
                          <a:latin typeface="+mn-ea"/>
                          <a:ea typeface="+mn-ea"/>
                          <a:cs typeface="Arial" panose="020B0604020202020204" pitchFamily="34" charset="0"/>
                        </a:rPr>
                        <a:t>る</a:t>
                      </a:r>
                      <a:r>
                        <a:rPr kumimoji="1" lang="en-US" sz="1000" b="0" i="0" kern="1200" noProof="1">
                          <a:solidFill>
                            <a:schemeClr val="dk1"/>
                          </a:solidFill>
                          <a:effectLst/>
                          <a:latin typeface="+mn-ea"/>
                          <a:ea typeface="+mn-ea"/>
                          <a:cs typeface="Arial" panose="020B0604020202020204" pitchFamily="34" charset="0"/>
                        </a:rPr>
                        <a:t>。</a:t>
                      </a: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n-ea"/>
                          <a:ea typeface="+mn-ea"/>
                          <a:cs typeface="Arial" panose="020B0604020202020204" pitchFamily="34" charset="0"/>
                        </a:rPr>
                        <a:t>シンガポールに生産拠点を建設し、</a:t>
                      </a:r>
                      <a:r>
                        <a:rPr kumimoji="1" lang="ja-JP" altLang="en-US" sz="1000" b="0" i="0" kern="1200" noProof="1">
                          <a:solidFill>
                            <a:schemeClr val="dk1"/>
                          </a:solidFill>
                          <a:effectLst/>
                          <a:latin typeface="+mn-ea"/>
                          <a:ea typeface="+mn-ea"/>
                          <a:cs typeface="Arial" panose="020B0604020202020204" pitchFamily="34" charset="0"/>
                        </a:rPr>
                        <a:t>研究開発</a:t>
                      </a:r>
                      <a:r>
                        <a:rPr kumimoji="1" lang="en-US" sz="1000" b="0" i="0" kern="1200" noProof="1">
                          <a:solidFill>
                            <a:schemeClr val="dk1"/>
                          </a:solidFill>
                          <a:effectLst/>
                          <a:latin typeface="+mn-ea"/>
                          <a:ea typeface="+mn-ea"/>
                          <a:cs typeface="Arial" panose="020B0604020202020204" pitchFamily="34" charset="0"/>
                        </a:rPr>
                        <a:t>センターを設立</a:t>
                      </a:r>
                      <a:r>
                        <a:rPr kumimoji="1" lang="ja-JP" altLang="en-US" sz="1000" b="0" i="0" kern="1200" noProof="1">
                          <a:solidFill>
                            <a:schemeClr val="dk1"/>
                          </a:solidFill>
                          <a:effectLst/>
                          <a:latin typeface="+mn-ea"/>
                          <a:ea typeface="+mn-ea"/>
                          <a:cs typeface="Arial" panose="020B0604020202020204" pitchFamily="34" charset="0"/>
                        </a:rPr>
                        <a:t>した。</a:t>
                      </a:r>
                      <a:endParaRPr kumimoji="1" lang="en-US" altLang="ja-JP" sz="1000" kern="1200" dirty="0">
                        <a:solidFill>
                          <a:schemeClr val="tx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Andon Health </a:t>
                      </a:r>
                      <a:b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b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iHealth Co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n-ea"/>
                          <a:ea typeface="+mn-ea"/>
                          <a:cs typeface="Arial" panose="020B0604020202020204" pitchFamily="34" charset="0"/>
                        </a:rPr>
                        <a:t>製品</a:t>
                      </a:r>
                      <a:r>
                        <a:rPr kumimoji="1" lang="ja-JP" altLang="en-US" sz="1000" b="0" i="0" kern="1200" noProof="1">
                          <a:solidFill>
                            <a:schemeClr val="dk1"/>
                          </a:solidFill>
                          <a:effectLst/>
                          <a:latin typeface="+mn-ea"/>
                          <a:ea typeface="+mn-ea"/>
                          <a:cs typeface="Arial" panose="020B0604020202020204" pitchFamily="34" charset="0"/>
                        </a:rPr>
                        <a:t>の</a:t>
                      </a:r>
                      <a:r>
                        <a:rPr kumimoji="1" lang="en-US" sz="1000" b="0" i="0" kern="1200" noProof="1">
                          <a:solidFill>
                            <a:schemeClr val="dk1"/>
                          </a:solidFill>
                          <a:effectLst/>
                          <a:latin typeface="+mn-ea"/>
                          <a:ea typeface="+mn-ea"/>
                          <a:cs typeface="Arial" panose="020B0604020202020204" pitchFamily="34" charset="0"/>
                        </a:rPr>
                        <a:t>カテゴリは</a:t>
                      </a:r>
                      <a:r>
                        <a:rPr kumimoji="1" lang="ja-JP" altLang="en-US" sz="1000" b="0" i="0" kern="1200" noProof="1">
                          <a:solidFill>
                            <a:schemeClr val="dk1"/>
                          </a:solidFill>
                          <a:effectLst/>
                          <a:latin typeface="+mn-ea"/>
                          <a:ea typeface="+mn-ea"/>
                          <a:cs typeface="Arial" panose="020B0604020202020204" pitchFamily="34" charset="0"/>
                        </a:rPr>
                        <a:t>以下の通り</a:t>
                      </a:r>
                      <a:r>
                        <a:rPr kumimoji="1" lang="en-US" sz="1000" b="0" i="0" kern="1200" noProof="1">
                          <a:solidFill>
                            <a:schemeClr val="dk1"/>
                          </a:solidFill>
                          <a:effectLst/>
                          <a:latin typeface="+mn-ea"/>
                          <a:ea typeface="+mn-ea"/>
                          <a:cs typeface="Arial" panose="020B0604020202020204" pitchFamily="34" charset="0"/>
                        </a:rPr>
                        <a:t>。</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1） </a:t>
                      </a:r>
                      <a:r>
                        <a:rPr kumimoji="1" lang="en-US" sz="1000" b="0" i="0" kern="1200" noProof="1">
                          <a:solidFill>
                            <a:schemeClr val="dk1"/>
                          </a:solidFill>
                          <a:effectLst/>
                          <a:latin typeface="+mn-ea"/>
                          <a:ea typeface="+mn-ea"/>
                          <a:cs typeface="Arial" panose="020B0604020202020204" pitchFamily="34" charset="0"/>
                        </a:rPr>
                        <a:t>医用電気機器・医療技術</a:t>
                      </a:r>
                      <a:br>
                        <a:rPr lang="en-US" sz="1000" dirty="0">
                          <a:latin typeface="+mn-ea"/>
                          <a:ea typeface="+mn-ea"/>
                          <a:cs typeface="Arial" panose="020B0604020202020204" pitchFamily="34" charset="0"/>
                        </a:rPr>
                      </a:br>
                      <a:r>
                        <a:rPr kumimoji="1" lang="en-US" sz="1000" b="0" i="0" kern="1200" noProof="1">
                          <a:solidFill>
                            <a:schemeClr val="dk1"/>
                          </a:solidFill>
                          <a:effectLst/>
                          <a:latin typeface="+mj-lt"/>
                          <a:ea typeface="+mn-ea"/>
                          <a:cs typeface="Arial" panose="020B0604020202020204" pitchFamily="34" charset="0"/>
                        </a:rPr>
                        <a:t>2） </a:t>
                      </a:r>
                      <a:r>
                        <a:rPr kumimoji="1" lang="en-US" sz="1000" b="0" i="0" kern="1200" noProof="1">
                          <a:solidFill>
                            <a:schemeClr val="dk1"/>
                          </a:solidFill>
                          <a:effectLst/>
                          <a:latin typeface="+mn-ea"/>
                          <a:ea typeface="+mn-ea"/>
                          <a:cs typeface="Arial" panose="020B0604020202020204" pitchFamily="34" charset="0"/>
                        </a:rPr>
                        <a:t>診断</a:t>
                      </a:r>
                      <a:br>
                        <a:rPr lang="en-US" sz="1000" dirty="0">
                          <a:latin typeface="+mn-ea"/>
                          <a:ea typeface="+mn-ea"/>
                          <a:cs typeface="Arial" panose="020B0604020202020204" pitchFamily="34" charset="0"/>
                        </a:rPr>
                      </a:br>
                      <a:r>
                        <a:rPr kumimoji="1" lang="en-US" sz="1000" b="0" i="0" kern="1200" noProof="1">
                          <a:solidFill>
                            <a:schemeClr val="dk1"/>
                          </a:solidFill>
                          <a:effectLst/>
                          <a:latin typeface="+mj-lt"/>
                          <a:ea typeface="+mn-ea"/>
                          <a:cs typeface="Arial" panose="020B0604020202020204" pitchFamily="34" charset="0"/>
                        </a:rPr>
                        <a:t>3） </a:t>
                      </a:r>
                      <a:r>
                        <a:rPr kumimoji="1" lang="en-US" sz="1000" b="0" i="0" kern="1200" noProof="1">
                          <a:solidFill>
                            <a:schemeClr val="dk1"/>
                          </a:solidFill>
                          <a:effectLst/>
                          <a:latin typeface="+mn-ea"/>
                          <a:ea typeface="+mn-ea"/>
                          <a:cs typeface="Arial" panose="020B0604020202020204" pitchFamily="34" charset="0"/>
                        </a:rPr>
                        <a:t>血圧モニタリング装置</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u="none" strike="noStrike" kern="1200" noProof="1">
                          <a:solidFill>
                            <a:schemeClr val="dk1"/>
                          </a:solidFill>
                          <a:effectLst/>
                          <a:latin typeface="+mj-lt"/>
                          <a:ea typeface="+mn-ea"/>
                          <a:cs typeface="Arial" panose="020B0604020202020204" pitchFamily="34" charset="0"/>
                        </a:rPr>
                        <a:t>Andon Health</a:t>
                      </a:r>
                      <a:r>
                        <a:rPr kumimoji="1" lang="en-US" sz="1000" b="0" i="0" u="none" strike="noStrike" kern="1200" noProof="1">
                          <a:solidFill>
                            <a:schemeClr val="dk1"/>
                          </a:solidFill>
                          <a:effectLst/>
                          <a:latin typeface="+mn-ea"/>
                          <a:ea typeface="+mn-ea"/>
                          <a:cs typeface="Arial" panose="020B0604020202020204" pitchFamily="34" charset="0"/>
                        </a:rPr>
                        <a:t>の子会社</a:t>
                      </a:r>
                      <a:r>
                        <a:rPr kumimoji="1" lang="en-US" sz="1000" b="0" i="0" u="none" strike="noStrike" kern="1200" noProof="1">
                          <a:solidFill>
                            <a:schemeClr val="dk1"/>
                          </a:solidFill>
                          <a:effectLst/>
                          <a:latin typeface="+mj-lt"/>
                          <a:ea typeface="+mn-ea"/>
                          <a:cs typeface="Arial" panose="020B0604020202020204" pitchFamily="34" charset="0"/>
                        </a:rPr>
                        <a:t>iHealth</a:t>
                      </a:r>
                      <a:r>
                        <a:rPr kumimoji="1" lang="en-US" sz="1000" b="0" i="0" u="none" strike="noStrike" kern="1200" noProof="1">
                          <a:solidFill>
                            <a:schemeClr val="dk1"/>
                          </a:solidFill>
                          <a:effectLst/>
                          <a:latin typeface="+mn-ea"/>
                          <a:ea typeface="+mn-ea"/>
                          <a:cs typeface="Arial" panose="020B0604020202020204" pitchFamily="34" charset="0"/>
                        </a:rPr>
                        <a:t>はシンガポールにオフィスを開設した。</a:t>
                      </a:r>
                    </a:p>
                    <a:p>
                      <a:pPr marL="171450" marR="0" lvl="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j-lt"/>
                          <a:ea typeface="+mn-ea"/>
                          <a:cs typeface="Arial" panose="020B0604020202020204" pitchFamily="34" charset="0"/>
                        </a:rPr>
                        <a:t>iHealth</a:t>
                      </a:r>
                      <a:r>
                        <a:rPr kumimoji="1" lang="en-US" sz="1000" b="0" i="0" kern="1200" noProof="1">
                          <a:solidFill>
                            <a:schemeClr val="dk1"/>
                          </a:solidFill>
                          <a:effectLst/>
                          <a:latin typeface="+mn-ea"/>
                          <a:ea typeface="+mn-ea"/>
                          <a:cs typeface="Arial" panose="020B0604020202020204" pitchFamily="34" charset="0"/>
                        </a:rPr>
                        <a:t>は</a:t>
                      </a:r>
                      <a:r>
                        <a:rPr kumimoji="1" lang="en-US" sz="1000" b="0" i="0" kern="1200" noProof="1">
                          <a:solidFill>
                            <a:schemeClr val="dk1"/>
                          </a:solidFill>
                          <a:effectLst/>
                          <a:latin typeface="+mj-lt"/>
                          <a:ea typeface="+mn-ea"/>
                          <a:cs typeface="Arial" panose="020B0604020202020204" pitchFamily="34" charset="0"/>
                        </a:rPr>
                        <a:t>2010</a:t>
                      </a:r>
                      <a:r>
                        <a:rPr kumimoji="1" lang="en-US" sz="1000" b="0" i="0" kern="1200" noProof="1">
                          <a:solidFill>
                            <a:schemeClr val="dk1"/>
                          </a:solidFill>
                          <a:effectLst/>
                          <a:latin typeface="+mn-ea"/>
                          <a:ea typeface="+mn-ea"/>
                          <a:cs typeface="Arial" panose="020B0604020202020204" pitchFamily="34" charset="0"/>
                        </a:rPr>
                        <a:t>年以来、バイタルモニタリングデバイスや消費者向けヘルスケア製品など、医療用品のイノベーションをリードしてきた。</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Rectangle 6">
            <a:extLst>
              <a:ext uri="{FF2B5EF4-FFF2-40B4-BE49-F238E27FC236}">
                <a16:creationId xmlns:a16="http://schemas.microsoft.com/office/drawing/2014/main" id="{862DCB3A-0B8A-16DB-9CA9-0D6548D4877A}"/>
              </a:ext>
            </a:extLst>
          </p:cNvPr>
          <p:cNvSpPr>
            <a:spLocks noChangeArrowheads="1"/>
          </p:cNvSpPr>
          <p:nvPr/>
        </p:nvSpPr>
        <p:spPr bwMode="auto">
          <a:xfrm>
            <a:off x="246193" y="112474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8" name="Circle: Hollow 11">
            <a:extLst>
              <a:ext uri="{FF2B5EF4-FFF2-40B4-BE49-F238E27FC236}">
                <a16:creationId xmlns:a16="http://schemas.microsoft.com/office/drawing/2014/main" id="{3C2F2DA3-3472-469B-DB70-388A6DAF77C3}"/>
              </a:ext>
            </a:extLst>
          </p:cNvPr>
          <p:cNvSpPr/>
          <p:nvPr/>
        </p:nvSpPr>
        <p:spPr>
          <a:xfrm>
            <a:off x="4368713" y="41438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9" name="テキスト ボックス 8">
            <a:extLst>
              <a:ext uri="{FF2B5EF4-FFF2-40B4-BE49-F238E27FC236}">
                <a16:creationId xmlns:a16="http://schemas.microsoft.com/office/drawing/2014/main" id="{83A4BE65-9D35-9C07-A52A-58891C6DCC1D}"/>
              </a:ext>
            </a:extLst>
          </p:cNvPr>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uter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endParaRPr kumimoji="0" lang="ja-JP" altLang="en-US" sz="800" dirty="0" bmk=""/>
          </a:p>
        </p:txBody>
      </p:sp>
    </p:spTree>
    <p:extLst>
      <p:ext uri="{BB962C8B-B14F-4D97-AF65-F5344CB8AC3E}">
        <p14:creationId xmlns:p14="http://schemas.microsoft.com/office/powerpoint/2010/main" val="33258316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5/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256721018"/>
              </p:ext>
            </p:extLst>
          </p:nvPr>
        </p:nvGraphicFramePr>
        <p:xfrm>
          <a:off x="213190" y="2395401"/>
          <a:ext cx="9276314" cy="4001312"/>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652330">
                  <a:extLst>
                    <a:ext uri="{9D8B030D-6E8A-4147-A177-3AD203B41FA5}">
                      <a16:colId xmlns:a16="http://schemas.microsoft.com/office/drawing/2014/main" val="20001"/>
                    </a:ext>
                  </a:extLst>
                </a:gridCol>
                <a:gridCol w="1457772">
                  <a:extLst>
                    <a:ext uri="{9D8B030D-6E8A-4147-A177-3AD203B41FA5}">
                      <a16:colId xmlns:a16="http://schemas.microsoft.com/office/drawing/2014/main" val="2407660883"/>
                    </a:ext>
                  </a:extLst>
                </a:gridCol>
                <a:gridCol w="918492">
                  <a:extLst>
                    <a:ext uri="{9D8B030D-6E8A-4147-A177-3AD203B41FA5}">
                      <a16:colId xmlns:a16="http://schemas.microsoft.com/office/drawing/2014/main" val="20002"/>
                    </a:ext>
                  </a:extLst>
                </a:gridCol>
                <a:gridCol w="3456384">
                  <a:extLst>
                    <a:ext uri="{9D8B030D-6E8A-4147-A177-3AD203B41FA5}">
                      <a16:colId xmlns:a16="http://schemas.microsoft.com/office/drawing/2014/main" val="20003"/>
                    </a:ext>
                  </a:extLst>
                </a:gridCol>
              </a:tblGrid>
              <a:tr h="488893">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6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714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381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カテーテル・除細動機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47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注入療法、麻酔、泌尿器血液管理、消化器、外科向け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33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3190"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0291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FEA28477-9846-4793-959C-B0890F850234}"/>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800737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281924333"/>
              </p:ext>
            </p:extLst>
          </p:nvPr>
        </p:nvGraphicFramePr>
        <p:xfrm>
          <a:off x="231640" y="1954385"/>
          <a:ext cx="9473886" cy="4404604"/>
        </p:xfrm>
        <a:graphic>
          <a:graphicData uri="http://schemas.openxmlformats.org/drawingml/2006/table">
            <a:tbl>
              <a:tblPr firstRow="1" bandRow="1">
                <a:tableStyleId>{5C22544A-7EE6-4342-B048-85BDC9FD1C3A}</a:tableStyleId>
              </a:tblPr>
              <a:tblGrid>
                <a:gridCol w="401436">
                  <a:extLst>
                    <a:ext uri="{9D8B030D-6E8A-4147-A177-3AD203B41FA5}">
                      <a16:colId xmlns:a16="http://schemas.microsoft.com/office/drawing/2014/main" val="20000"/>
                    </a:ext>
                  </a:extLst>
                </a:gridCol>
                <a:gridCol w="3167796">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4032446">
                  <a:extLst>
                    <a:ext uri="{9D8B030D-6E8A-4147-A177-3AD203B41FA5}">
                      <a16:colId xmlns:a16="http://schemas.microsoft.com/office/drawing/2014/main" val="20003"/>
                    </a:ext>
                  </a:extLst>
                </a:gridCol>
              </a:tblGrid>
              <a:tr h="19301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01061">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Olympus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株式会社</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アセアン地域およびインド・パキスタンにおける製品の販売・医療用内視鏡関連機器の開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9656">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Nipro</a:t>
                      </a:r>
                      <a:r>
                        <a:rPr kumimoji="1" lang="en-US" altLang="ja-JP" sz="1100" b="0" i="0" u="none" strike="noStrike" kern="1200" dirty="0">
                          <a:solidFill>
                            <a:srgbClr val="000000"/>
                          </a:solidFill>
                          <a:effectLst/>
                          <a:latin typeface="+mn-lt"/>
                          <a:ea typeface="+mj-ea"/>
                          <a:cs typeface="+mn-cs"/>
                        </a:rPr>
                        <a:t> Asia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医療機器の販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erumo Asia Holdings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アジア地域の持株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1427234"/>
                  </a:ext>
                </a:extLst>
              </a:tr>
              <a:tr h="36004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Canon Medical Systems Asia Pte. Ltd. </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ヤノンメディカル</a:t>
                      </a:r>
                    </a:p>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テムズ</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診断用</a:t>
                      </a:r>
                      <a:r>
                        <a:rPr kumimoji="1" lang="en-US" altLang="ja-JP" sz="1100" b="0" i="0" u="none" strike="noStrike" kern="1200" dirty="0">
                          <a:solidFill>
                            <a:srgbClr val="000000"/>
                          </a:solidFill>
                          <a:effectLst/>
                          <a:latin typeface="+mn-lt"/>
                          <a:ea typeface="+mj-ea"/>
                          <a:cs typeface="+mn-cs"/>
                        </a:rPr>
                        <a:t>X</a:t>
                      </a:r>
                      <a:r>
                        <a:rPr kumimoji="1" lang="ja-JP" altLang="en-US" sz="1100" b="0" i="0" u="none" strike="noStrike" kern="1200" dirty="0">
                          <a:solidFill>
                            <a:srgbClr val="000000"/>
                          </a:solidFill>
                          <a:effectLst/>
                          <a:latin typeface="+mn-lt"/>
                          <a:ea typeface="+mj-ea"/>
                          <a:cs typeface="+mn-cs"/>
                        </a:rPr>
                        <a:t>線装置、医用</a:t>
                      </a:r>
                      <a:r>
                        <a:rPr kumimoji="1" lang="en-US" altLang="ja-JP" sz="1100" b="0" i="0" u="none" strike="noStrike" kern="1200" dirty="0">
                          <a:solidFill>
                            <a:srgbClr val="000000"/>
                          </a:solidFill>
                          <a:effectLst/>
                          <a:latin typeface="+mn-lt"/>
                          <a:ea typeface="+mj-ea"/>
                          <a:cs typeface="+mn-cs"/>
                        </a:rPr>
                        <a:t>X</a:t>
                      </a:r>
                      <a:r>
                        <a:rPr kumimoji="1" lang="ja-JP" altLang="en-US" sz="1100" b="0" i="0" u="none" strike="noStrike" kern="1200" dirty="0">
                          <a:solidFill>
                            <a:srgbClr val="000000"/>
                          </a:solidFill>
                          <a:effectLst/>
                          <a:latin typeface="+mn-lt"/>
                          <a:ea typeface="+mj-ea"/>
                          <a:cs typeface="+mn-cs"/>
                        </a:rPr>
                        <a:t>線</a:t>
                      </a:r>
                      <a:r>
                        <a:rPr kumimoji="1" lang="en-US" altLang="ja-JP" sz="1100" b="0" i="0" u="none" strike="noStrike" kern="1200" dirty="0">
                          <a:solidFill>
                            <a:srgbClr val="000000"/>
                          </a:solidFill>
                          <a:effectLst/>
                          <a:latin typeface="+mn-lt"/>
                          <a:ea typeface="+mj-ea"/>
                          <a:cs typeface="+mn-cs"/>
                        </a:rPr>
                        <a:t>CT</a:t>
                      </a:r>
                      <a:r>
                        <a:rPr kumimoji="1" lang="ja-JP" altLang="en-US" sz="1100" b="0" i="0" u="none" strike="noStrike" kern="1200" dirty="0">
                          <a:solidFill>
                            <a:srgbClr val="000000"/>
                          </a:solidFill>
                          <a:effectLst/>
                          <a:latin typeface="+mn-lt"/>
                          <a:ea typeface="+mj-ea"/>
                          <a:cs typeface="+mn-cs"/>
                        </a:rPr>
                        <a:t>装置、磁気共鳴イメージング装置、診断用超音波装置、放射線治療装置などの販売・設置・サービスなど。</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21694110"/>
                  </a:ext>
                </a:extLst>
              </a:tr>
              <a:tr h="34328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Nihon </a:t>
                      </a:r>
                      <a:r>
                        <a:rPr kumimoji="1" lang="en-US" altLang="zh-TW" sz="1100" b="0" i="0" u="none" strike="noStrike" kern="1200" dirty="0" err="1">
                          <a:solidFill>
                            <a:srgbClr val="000000"/>
                          </a:solidFill>
                          <a:effectLst/>
                          <a:latin typeface="+mn-lt"/>
                          <a:ea typeface="+mj-ea"/>
                          <a:cs typeface="+mn-cs"/>
                        </a:rPr>
                        <a:t>Koden</a:t>
                      </a:r>
                      <a:r>
                        <a:rPr kumimoji="1" lang="en-US" altLang="zh-TW" sz="1100" b="0" i="0" u="none" strike="noStrike" kern="1200" dirty="0">
                          <a:solidFill>
                            <a:srgbClr val="000000"/>
                          </a:solidFill>
                          <a:effectLst/>
                          <a:latin typeface="+mn-lt"/>
                          <a:ea typeface="+mj-ea"/>
                          <a:cs typeface="+mn-cs"/>
                        </a:rPr>
                        <a:t> Singapo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工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モニタリングシステム、カーディアック・リズム・マネジメント、検査室システム、蘇生装置、医療材料などの販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2814987"/>
                  </a:ext>
                </a:extLst>
              </a:tr>
              <a:tr h="35428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Omron Healthca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ヘルスケ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j-lt"/>
                          <a:ea typeface="+mn-ea"/>
                          <a:cs typeface="Arial" panose="020B0604020202020204" pitchFamily="34" charset="0"/>
                        </a:rPr>
                        <a:t>1997</a:t>
                      </a:r>
                      <a:r>
                        <a:rPr kumimoji="1" lang="en-US" altLang="ja-JP" sz="1100" b="0" i="0" kern="1200" noProof="1">
                          <a:solidFill>
                            <a:schemeClr val="dk1"/>
                          </a:solidFill>
                          <a:effectLst/>
                          <a:latin typeface="+mn-ea"/>
                          <a:ea typeface="+mn-ea"/>
                          <a:cs typeface="Arial" panose="020B0604020202020204" pitchFamily="34" charset="0"/>
                        </a:rPr>
                        <a:t>年に設立。</a:t>
                      </a:r>
                      <a:r>
                        <a:rPr kumimoji="1" lang="en-US" altLang="ja-JP" sz="1100" b="0" i="0" kern="1200" dirty="0">
                          <a:solidFill>
                            <a:schemeClr val="dk1"/>
                          </a:solidFill>
                          <a:effectLst/>
                          <a:latin typeface="+mn-ea"/>
                          <a:ea typeface="+mn-ea"/>
                          <a:cs typeface="Arial" panose="020B0604020202020204" pitchFamily="34" charset="0"/>
                        </a:rPr>
                        <a:t> </a:t>
                      </a:r>
                      <a:r>
                        <a:rPr kumimoji="1" lang="en-US" altLang="ja-JP" sz="1100" b="0" i="0" kern="1200" noProof="1">
                          <a:solidFill>
                            <a:schemeClr val="dk1"/>
                          </a:solidFill>
                          <a:effectLst/>
                          <a:latin typeface="+mn-ea"/>
                          <a:ea typeface="+mn-ea"/>
                          <a:cs typeface="Arial" panose="020B0604020202020204" pitchFamily="34" charset="0"/>
                        </a:rPr>
                        <a:t>外科用およびその他の医療器具、器具、機器の卸売販売</a:t>
                      </a:r>
                      <a:r>
                        <a:rPr kumimoji="1" lang="ja-JP" altLang="en-US" sz="1100" b="0" i="0" kern="1200" noProof="1">
                          <a:solidFill>
                            <a:schemeClr val="dk1"/>
                          </a:solidFill>
                          <a:effectLst/>
                          <a:latin typeface="+mn-ea"/>
                          <a:ea typeface="+mn-ea"/>
                          <a:cs typeface="Arial" panose="020B0604020202020204" pitchFamily="34" charset="0"/>
                        </a:rPr>
                        <a:t>。</a:t>
                      </a:r>
                      <a:endParaRPr kumimoji="1" lang="ja-JP" altLang="en-US" sz="1100" b="0" i="0" u="none" strike="noStrike" kern="1200" dirty="0">
                        <a:solidFill>
                          <a:srgbClr val="000000"/>
                        </a:solidFill>
                        <a:effectLst/>
                        <a:latin typeface="+mn-ea"/>
                        <a:ea typeface="+mn-ea"/>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04599860"/>
                  </a:ext>
                </a:extLst>
              </a:tr>
              <a:tr h="29379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Hoya Medical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kern="1200" noProof="1">
                          <a:solidFill>
                            <a:schemeClr val="dk1"/>
                          </a:solidFill>
                          <a:effectLst/>
                          <a:latin typeface="+mj-lt"/>
                          <a:ea typeface="+mn-ea"/>
                          <a:cs typeface="Arial" panose="020B0604020202020204" pitchFamily="34" charset="0"/>
                        </a:rPr>
                        <a:t>2002</a:t>
                      </a:r>
                      <a:r>
                        <a:rPr kumimoji="1" lang="en-US" altLang="ja-JP" sz="1100" b="0" i="0" kern="1200" noProof="1">
                          <a:solidFill>
                            <a:schemeClr val="dk1"/>
                          </a:solidFill>
                          <a:effectLst/>
                          <a:latin typeface="+mn-ea"/>
                          <a:ea typeface="+mn-ea"/>
                          <a:cs typeface="Arial" panose="020B0604020202020204" pitchFamily="34" charset="0"/>
                        </a:rPr>
                        <a:t>年に設立。</a:t>
                      </a:r>
                      <a:r>
                        <a:rPr kumimoji="1" lang="en-US" altLang="ja-JP" sz="1100" b="0" i="0" kern="1200" dirty="0">
                          <a:solidFill>
                            <a:schemeClr val="dk1"/>
                          </a:solidFill>
                          <a:effectLst/>
                          <a:latin typeface="+mn-ea"/>
                          <a:ea typeface="+mn-ea"/>
                          <a:cs typeface="Arial" panose="020B0604020202020204" pitchFamily="34" charset="0"/>
                        </a:rPr>
                        <a:t> </a:t>
                      </a:r>
                      <a:r>
                        <a:rPr kumimoji="1" lang="en-US" altLang="ja-JP" sz="1100" b="0" i="0" kern="1200" noProof="1">
                          <a:solidFill>
                            <a:schemeClr val="dk1"/>
                          </a:solidFill>
                          <a:effectLst/>
                          <a:latin typeface="+mn-ea"/>
                          <a:ea typeface="+mn-ea"/>
                          <a:cs typeface="Arial" panose="020B0604020202020204" pitchFamily="34" charset="0"/>
                        </a:rPr>
                        <a:t>光学特性を測定する機器の</a:t>
                      </a:r>
                      <a:r>
                        <a:rPr kumimoji="1" lang="ja-JP" altLang="en-US" sz="1100" b="0" i="0" kern="1200" noProof="1">
                          <a:solidFill>
                            <a:schemeClr val="dk1"/>
                          </a:solidFill>
                          <a:effectLst/>
                          <a:latin typeface="+mn-ea"/>
                          <a:ea typeface="+mn-ea"/>
                          <a:cs typeface="Arial" panose="020B0604020202020204" pitchFamily="34" charset="0"/>
                        </a:rPr>
                        <a:t>製造。</a:t>
                      </a:r>
                      <a:endParaRPr kumimoji="1" lang="ja-JP" altLang="en-US" sz="1100" b="0" i="0" u="none" strike="noStrike" kern="1200" dirty="0">
                        <a:solidFill>
                          <a:srgbClr val="000000"/>
                        </a:solidFill>
                        <a:effectLst/>
                        <a:latin typeface="+mn-ea"/>
                        <a:ea typeface="+mn-ea"/>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911645917"/>
                  </a:ext>
                </a:extLst>
              </a:tr>
              <a:tr h="279656">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icons</a:t>
                      </a:r>
                      <a:r>
                        <a:rPr kumimoji="1" lang="en-US" altLang="zh-TW" sz="1100" b="0" i="0" u="none" strike="noStrike" kern="1200" dirty="0">
                          <a:solidFill>
                            <a:srgbClr val="000000"/>
                          </a:solidFill>
                          <a:effectLst/>
                          <a:latin typeface="+mn-lt"/>
                          <a:ea typeface="+mj-ea"/>
                          <a:cs typeface="+mn-cs"/>
                        </a:rPr>
                        <a:t>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メニコン</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n-ea"/>
                          <a:ea typeface="+mn-ea"/>
                          <a:cs typeface="Arial" panose="020B0604020202020204" pitchFamily="34" charset="0"/>
                        </a:rPr>
                        <a:t>コンタクトレンズ、ハード透過性コンタクトレンズの製造、レンズケア液</a:t>
                      </a:r>
                      <a:r>
                        <a:rPr kumimoji="1" lang="ja-JP" altLang="en-US" sz="1100" b="0" i="0" kern="1200" noProof="1">
                          <a:solidFill>
                            <a:schemeClr val="dk1"/>
                          </a:solidFill>
                          <a:effectLst/>
                          <a:latin typeface="+mn-ea"/>
                          <a:ea typeface="+mn-ea"/>
                          <a:cs typeface="Arial" panose="020B0604020202020204" pitchFamily="34" charset="0"/>
                        </a:rPr>
                        <a:t>の販売。</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41268022"/>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Shimadzu Singapo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島津製作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j-lt"/>
                          <a:ea typeface="+mn-ea"/>
                          <a:cs typeface="Arial" panose="020B0604020202020204" pitchFamily="34" charset="0"/>
                        </a:rPr>
                        <a:t>1989</a:t>
                      </a:r>
                      <a:r>
                        <a:rPr kumimoji="1" lang="en-US" altLang="ja-JP" sz="1100" b="0" i="0" kern="1200" noProof="1">
                          <a:solidFill>
                            <a:schemeClr val="dk1"/>
                          </a:solidFill>
                          <a:effectLst/>
                          <a:latin typeface="+mn-ea"/>
                          <a:ea typeface="+mn-ea"/>
                          <a:cs typeface="Arial" panose="020B0604020202020204" pitchFamily="34" charset="0"/>
                        </a:rPr>
                        <a:t>年</a:t>
                      </a:r>
                      <a:r>
                        <a:rPr kumimoji="1" lang="ja-JP" altLang="en-US" sz="1100" b="0" i="0" kern="1200" noProof="1">
                          <a:solidFill>
                            <a:schemeClr val="dk1"/>
                          </a:solidFill>
                          <a:effectLst/>
                          <a:latin typeface="+mn-ea"/>
                          <a:ea typeface="+mn-ea"/>
                          <a:cs typeface="Arial" panose="020B0604020202020204" pitchFamily="34" charset="0"/>
                        </a:rPr>
                        <a:t>に</a:t>
                      </a:r>
                      <a:r>
                        <a:rPr kumimoji="1" lang="en-US" altLang="ja-JP" sz="1100" b="0" i="0" kern="1200" noProof="1">
                          <a:solidFill>
                            <a:schemeClr val="dk1"/>
                          </a:solidFill>
                          <a:effectLst/>
                          <a:latin typeface="+mn-ea"/>
                          <a:ea typeface="+mn-ea"/>
                          <a:cs typeface="Arial" panose="020B0604020202020204" pitchFamily="34" charset="0"/>
                        </a:rPr>
                        <a:t>創業。分析機器と医療機器のシナジー技術</a:t>
                      </a:r>
                      <a:r>
                        <a:rPr kumimoji="1" lang="ja-JP" altLang="en-US" sz="1100" b="0" i="0" kern="1200" noProof="1">
                          <a:solidFill>
                            <a:schemeClr val="dk1"/>
                          </a:solidFill>
                          <a:effectLst/>
                          <a:latin typeface="+mn-ea"/>
                          <a:ea typeface="+mn-ea"/>
                          <a:cs typeface="Arial" panose="020B0604020202020204" pitchFamily="34" charset="0"/>
                        </a:rPr>
                        <a:t>の</a:t>
                      </a:r>
                      <a:r>
                        <a:rPr kumimoji="1" lang="en-US" altLang="ja-JP" sz="1100" b="0" i="0" kern="1200" noProof="1">
                          <a:solidFill>
                            <a:schemeClr val="dk1"/>
                          </a:solidFill>
                          <a:effectLst/>
                          <a:latin typeface="+mn-ea"/>
                          <a:ea typeface="+mn-ea"/>
                          <a:cs typeface="Arial" panose="020B0604020202020204" pitchFamily="34" charset="0"/>
                        </a:rPr>
                        <a:t>創出</a:t>
                      </a:r>
                      <a:r>
                        <a:rPr kumimoji="1" lang="ja-JP" altLang="en-US" sz="1100" b="0" i="0" kern="1200" noProof="1">
                          <a:solidFill>
                            <a:schemeClr val="dk1"/>
                          </a:solidFill>
                          <a:effectLst/>
                          <a:latin typeface="+mn-ea"/>
                          <a:ea typeface="+mn-ea"/>
                          <a:cs typeface="Arial" panose="020B0604020202020204" pitchFamily="34" charset="0"/>
                        </a:rPr>
                        <a:t>。</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10695253"/>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ir Water Inc</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noProof="1">
                          <a:solidFill>
                            <a:srgbClr val="000000"/>
                          </a:solidFill>
                          <a:effectLst/>
                          <a:latin typeface="Arial" panose="020B0604020202020204" pitchFamily="34" charset="0"/>
                          <a:ea typeface="+mn-ea"/>
                          <a:cs typeface="Arial" panose="020B0604020202020204" pitchFamily="34" charset="0"/>
                        </a:rPr>
                        <a:t>エア・ウォーター</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noProof="1">
                          <a:latin typeface="+mn-ea"/>
                          <a:ea typeface="+mn-ea"/>
                          <a:cs typeface="Arial" panose="020B0604020202020204" pitchFamily="34" charset="0"/>
                        </a:rPr>
                        <a:t>手術用カメラと針の製造</a:t>
                      </a:r>
                      <a:r>
                        <a:rPr kumimoji="1" lang="ja-JP" altLang="en-US" sz="1100" b="0" i="0" u="none" strike="noStrike" kern="1200" noProof="1">
                          <a:solidFill>
                            <a:srgbClr val="000000"/>
                          </a:solidFill>
                          <a:effectLst/>
                          <a:latin typeface="+mn-ea"/>
                          <a:ea typeface="+mn-ea"/>
                          <a:cs typeface="+mn-cs"/>
                        </a:rPr>
                        <a:t>。</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53285437"/>
                  </a:ext>
                </a:extLst>
              </a:tr>
              <a:tr h="43200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Nidek</a:t>
                      </a:r>
                      <a:r>
                        <a:rPr kumimoji="1" lang="en-US" altLang="zh-TW" sz="1100" b="0" i="0" u="none" strike="noStrike" kern="1200" dirty="0">
                          <a:solidFill>
                            <a:srgbClr val="000000"/>
                          </a:solidFill>
                          <a:effectLst/>
                          <a:latin typeface="+mn-lt"/>
                          <a:ea typeface="+mj-ea"/>
                          <a:cs typeface="+mn-cs"/>
                        </a:rPr>
                        <a:t>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ニデック</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en-US" altLang="ja-JP" sz="1100" noProof="1">
                          <a:latin typeface="+mj-lt"/>
                          <a:ea typeface="+mn-ea"/>
                          <a:cs typeface="Arial" panose="020B0604020202020204" pitchFamily="34" charset="0"/>
                        </a:rPr>
                        <a:t>1</a:t>
                      </a:r>
                      <a:r>
                        <a:rPr lang="ja-JP" altLang="en-US" sz="1100" noProof="1">
                          <a:latin typeface="+mj-lt"/>
                          <a:ea typeface="+mn-ea"/>
                          <a:cs typeface="Arial" panose="020B0604020202020204" pitchFamily="34" charset="0"/>
                        </a:rPr>
                        <a:t>）</a:t>
                      </a:r>
                      <a:r>
                        <a:rPr lang="ja-JP" altLang="en-US" sz="1100" noProof="1">
                          <a:latin typeface="+mn-ea"/>
                          <a:ea typeface="+mn-ea"/>
                          <a:cs typeface="Arial" panose="020B0604020202020204" pitchFamily="34" charset="0"/>
                        </a:rPr>
                        <a:t> </a:t>
                      </a:r>
                      <a:r>
                        <a:rPr lang="en-US" altLang="ja-JP" sz="1100" noProof="1">
                          <a:latin typeface="+mn-ea"/>
                          <a:ea typeface="+mn-ea"/>
                          <a:cs typeface="Arial" panose="020B0604020202020204" pitchFamily="34" charset="0"/>
                        </a:rPr>
                        <a:t>画像診断システム</a:t>
                      </a:r>
                      <a:r>
                        <a:rPr lang="ja-JP" altLang="en-US" sz="1100" noProof="1">
                          <a:latin typeface="+mn-ea"/>
                          <a:ea typeface="+mn-ea"/>
                          <a:cs typeface="Arial" panose="020B0604020202020204" pitchFamily="34" charset="0"/>
                        </a:rPr>
                        <a:t>、</a:t>
                      </a:r>
                      <a:r>
                        <a:rPr lang="en-US" altLang="ja-JP" sz="1100" noProof="1">
                          <a:latin typeface="+mj-lt"/>
                          <a:ea typeface="+mn-ea"/>
                          <a:cs typeface="Arial" panose="020B0604020202020204" pitchFamily="34" charset="0"/>
                        </a:rPr>
                        <a:t>2</a:t>
                      </a:r>
                      <a:r>
                        <a:rPr lang="ja-JP" altLang="en-US" sz="1100" noProof="1">
                          <a:latin typeface="+mj-lt"/>
                          <a:ea typeface="+mn-ea"/>
                          <a:cs typeface="Arial" panose="020B0604020202020204" pitchFamily="34" charset="0"/>
                        </a:rPr>
                        <a:t>）</a:t>
                      </a:r>
                      <a:r>
                        <a:rPr lang="en-US" altLang="ja-JP" sz="1100" noProof="1">
                          <a:latin typeface="+mn-ea"/>
                          <a:ea typeface="+mn-ea"/>
                          <a:cs typeface="Arial" panose="020B0604020202020204" pitchFamily="34" charset="0"/>
                        </a:rPr>
                        <a:t> 治療および外科用機器</a:t>
                      </a:r>
                      <a:r>
                        <a:rPr lang="ja-JP" altLang="en-US" sz="1100" noProof="1">
                          <a:latin typeface="+mn-ea"/>
                          <a:ea typeface="+mn-ea"/>
                          <a:cs typeface="Arial" panose="020B0604020202020204" pitchFamily="34" charset="0"/>
                        </a:rPr>
                        <a:t>、</a:t>
                      </a:r>
                      <a:r>
                        <a:rPr lang="en-US" altLang="ja-JP" sz="1100" noProof="1">
                          <a:latin typeface="+mj-lt"/>
                          <a:ea typeface="+mn-ea"/>
                          <a:cs typeface="Arial" panose="020B0604020202020204" pitchFamily="34" charset="0"/>
                        </a:rPr>
                        <a:t>3</a:t>
                      </a:r>
                      <a:r>
                        <a:rPr lang="ja-JP" altLang="en-US" sz="1100" noProof="1">
                          <a:latin typeface="+mj-lt"/>
                          <a:ea typeface="+mn-ea"/>
                          <a:cs typeface="Arial" panose="020B0604020202020204" pitchFamily="34" charset="0"/>
                        </a:rPr>
                        <a:t>）</a:t>
                      </a:r>
                      <a:r>
                        <a:rPr lang="en-US" altLang="ja-JP" sz="1100" noProof="1">
                          <a:latin typeface="+mn-ea"/>
                          <a:ea typeface="+mn-ea"/>
                          <a:cs typeface="Arial" panose="020B0604020202020204" pitchFamily="34" charset="0"/>
                        </a:rPr>
                        <a:t> 眼科用品及び関連製品</a:t>
                      </a:r>
                      <a:r>
                        <a:rPr lang="ja-JP" altLang="en-US" sz="1100" noProof="1">
                          <a:latin typeface="+mn-ea"/>
                          <a:ea typeface="+mn-ea"/>
                          <a:cs typeface="Arial" panose="020B0604020202020204" pitchFamily="34" charset="0"/>
                        </a:rPr>
                        <a:t>の製品カテゴリでの事業を展開。</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2414054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mura Corporation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タムラ製作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noProof="1">
                          <a:latin typeface="+mn-ea"/>
                          <a:ea typeface="+mn-ea"/>
                          <a:cs typeface="Arial" panose="020B0604020202020204" pitchFamily="34" charset="0"/>
                        </a:rPr>
                        <a:t>主な製品である</a:t>
                      </a:r>
                      <a:r>
                        <a:rPr lang="en-US" altLang="ja-JP" sz="1100" noProof="1">
                          <a:latin typeface="+mn-ea"/>
                          <a:ea typeface="+mn-ea"/>
                          <a:cs typeface="Arial" panose="020B0604020202020204" pitchFamily="34" charset="0"/>
                        </a:rPr>
                        <a:t>医療機関向けポータブル除菌・脱臭装置</a:t>
                      </a:r>
                      <a:r>
                        <a:rPr lang="ja-JP" altLang="en-US" sz="1100" noProof="1">
                          <a:latin typeface="+mn-ea"/>
                          <a:ea typeface="+mn-ea"/>
                          <a:cs typeface="Arial" panose="020B0604020202020204" pitchFamily="34" charset="0"/>
                        </a:rPr>
                        <a:t>の販売。</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52386810"/>
                  </a:ext>
                </a:extLst>
              </a:tr>
            </a:tbl>
          </a:graphicData>
        </a:graphic>
      </p:graphicFrame>
      <p:sp>
        <p:nvSpPr>
          <p:cNvPr id="11" name="テキスト ボックス 10"/>
          <p:cNvSpPr txBox="1"/>
          <p:nvPr/>
        </p:nvSpPr>
        <p:spPr>
          <a:xfrm>
            <a:off x="200919" y="1052736"/>
            <a:ext cx="9505056" cy="8464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全業種合わせても</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主要な日本の医療機器メーカーは、シンガポールを地域の統括会社として位置付けているところも多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b="0" i="0" noProof="1">
                <a:effectLst/>
                <a:latin typeface="Arial" panose="020B0604020202020204" pitchFamily="34" charset="0"/>
                <a:cs typeface="Arial" panose="020B0604020202020204" pitchFamily="34" charset="0"/>
              </a:rPr>
              <a:t>60社を超える多国籍医療技術企業のうち過半数が</a:t>
            </a:r>
            <a:r>
              <a:rPr lang="en-US" altLang="ja-JP" sz="1200" noProof="1">
                <a:latin typeface="Arial" panose="020B0604020202020204" pitchFamily="34" charset="0"/>
                <a:cs typeface="Arial" panose="020B0604020202020204" pitchFamily="34" charset="0"/>
              </a:rPr>
              <a:t>日系</a:t>
            </a:r>
            <a:r>
              <a:rPr lang="en-US" altLang="ja-JP" sz="1200" b="0" i="0" noProof="1">
                <a:effectLst/>
                <a:latin typeface="Arial" panose="020B0604020202020204" pitchFamily="34" charset="0"/>
                <a:cs typeface="Arial" panose="020B0604020202020204" pitchFamily="34" charset="0"/>
              </a:rPr>
              <a:t>であり、シンガポールの高い技術力と品質保証能力を活用して、生命科学機器からコンタクトレンズに至るまでの高価値製品を製造してい</a:t>
            </a:r>
            <a:r>
              <a:rPr lang="ja-JP" altLang="en-US" sz="1200" b="0" i="0" noProof="1">
                <a:effectLst/>
                <a:latin typeface="Arial" panose="020B0604020202020204" pitchFamily="34" charset="0"/>
                <a:cs typeface="Arial" panose="020B0604020202020204" pitchFamily="34" charset="0"/>
              </a:rPr>
              <a:t>る。</a:t>
            </a:r>
            <a:endParaRPr lang="en-US" altLang="ja-JP" sz="1200" b="0" i="0" noProof="1">
              <a:effectLst/>
              <a:latin typeface="Arial" panose="020B0604020202020204" pitchFamily="34" charset="0"/>
              <a:cs typeface="Arial" panose="020B0604020202020204" pitchFamily="34" charset="0"/>
            </a:endParaRP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extLst>
              <p:ext uri="{D42A27DB-BD31-4B8C-83A1-F6EECF244321}">
                <p14:modId xmlns:p14="http://schemas.microsoft.com/office/powerpoint/2010/main" val="360798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72480" y="256490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入札により、民間医療機関は各グループ独自での調達を行っている。</a:t>
            </a:r>
          </a:p>
        </p:txBody>
      </p:sp>
      <p:grpSp>
        <p:nvGrpSpPr>
          <p:cNvPr id="8" name="グループ化 7"/>
          <p:cNvGrpSpPr/>
          <p:nvPr/>
        </p:nvGrpSpPr>
        <p:grpSpPr>
          <a:xfrm>
            <a:off x="5097016" y="2987125"/>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44488" y="2987125"/>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のホームページ、保健科学庁のホームぺージ</a:t>
            </a:r>
            <a:endParaRPr kumimoji="0" lang="ja-JP" altLang="en-US" sz="800" dirty="0" bmk=""/>
          </a:p>
        </p:txBody>
      </p:sp>
      <p:sp>
        <p:nvSpPr>
          <p:cNvPr id="46" name="TextBox 45">
            <a:extLst>
              <a:ext uri="{FF2B5EF4-FFF2-40B4-BE49-F238E27FC236}">
                <a16:creationId xmlns:a16="http://schemas.microsoft.com/office/drawing/2014/main" id="{191282E1-31C2-4B4D-868A-1504ACB48BFC}"/>
              </a:ext>
            </a:extLst>
          </p:cNvPr>
          <p:cNvSpPr txBox="1"/>
          <p:nvPr/>
        </p:nvSpPr>
        <p:spPr>
          <a:xfrm>
            <a:off x="4989757" y="3309033"/>
            <a:ext cx="4608510"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立医療機関の調達については、電子調達ポータルで公表され、企業はオンライン上で入札することができる。</a:t>
            </a:r>
            <a:endParaRPr lang="en-US" altLang="ja-JP" sz="1400" dirty="0"/>
          </a:p>
        </p:txBody>
      </p:sp>
      <p:sp>
        <p:nvSpPr>
          <p:cNvPr id="47" name="TextBox 46">
            <a:extLst>
              <a:ext uri="{FF2B5EF4-FFF2-40B4-BE49-F238E27FC236}">
                <a16:creationId xmlns:a16="http://schemas.microsoft.com/office/drawing/2014/main" id="{B20D549B-756B-49AD-8AAC-6DA9A69ADD11}"/>
              </a:ext>
            </a:extLst>
          </p:cNvPr>
          <p:cNvSpPr txBox="1"/>
          <p:nvPr/>
        </p:nvSpPr>
        <p:spPr>
          <a:xfrm>
            <a:off x="272480" y="3347582"/>
            <a:ext cx="4464495"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各病院グループによって調達が行われるため、医療機関それぞれによって要件なども異なる。</a:t>
            </a:r>
          </a:p>
          <a:p>
            <a:r>
              <a:rPr lang="ja-JP" altLang="en-US" sz="1400" dirty="0"/>
              <a:t>欧米の医療機器メーカーは販売子会社をシンガポールに持っていることが多いが、中国・インドメーカーなどは代理店を経由していることも多いと推測される。</a:t>
            </a:r>
            <a:endParaRPr lang="en-US" altLang="ja-JP" sz="1400" dirty="0"/>
          </a:p>
        </p:txBody>
      </p:sp>
      <p:sp>
        <p:nvSpPr>
          <p:cNvPr id="6" name="テキスト ボックス 5">
            <a:extLst>
              <a:ext uri="{FF2B5EF4-FFF2-40B4-BE49-F238E27FC236}">
                <a16:creationId xmlns:a16="http://schemas.microsoft.com/office/drawing/2014/main" id="{70E35128-5837-43FC-925E-21FC540D576D}"/>
              </a:ext>
            </a:extLst>
          </p:cNvPr>
          <p:cNvSpPr txBox="1"/>
          <p:nvPr/>
        </p:nvSpPr>
        <p:spPr>
          <a:xfrm>
            <a:off x="251675" y="105315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医療機器を輸入、製造、供給する前に、すべての医療機器販売業者は販売免許を申請する必要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許可を発行する前に、流通基準の要件を満たしているか否かを評価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べての製品登録と販売許可による取引は、医療機器情報通信システム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S: the Medical Device Information and Communication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通じて行わ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R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カウントが作成されるため、企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の電子取引を実行することが可能である。</a:t>
            </a:r>
          </a:p>
        </p:txBody>
      </p:sp>
    </p:spTree>
    <p:extLst>
      <p:ext uri="{BB962C8B-B14F-4D97-AF65-F5344CB8AC3E}">
        <p14:creationId xmlns:p14="http://schemas.microsoft.com/office/powerpoint/2010/main" val="40862274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289672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4" name="Object 3"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186934" y="2733077"/>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232198" y="29507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7488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21990"/>
            <a:ext cx="9505056" cy="1154162"/>
          </a:xfrm>
          <a:prstGeom prst="rect">
            <a:avLst/>
          </a:prstGeom>
          <a:noFill/>
        </p:spPr>
        <p:txBody>
          <a:bodyPr wrap="square" lIns="0" tIns="0" rIns="0" bIns="0" rtlCol="0">
            <a:spAutoFit/>
          </a:bodyPr>
          <a:lstStyle/>
          <a:p>
            <a:pPr marL="190500" indent="-190500" algn="just">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時点では、主な輸入相手国は、</a:t>
            </a:r>
            <a:r>
              <a:rPr lang="ja-JP" altLang="en-US" sz="1400">
                <a:latin typeface="Arial" panose="020B0604020202020204" pitchFamily="34" charset="0"/>
                <a:ea typeface="ＭＳ Ｐゴシック" panose="020B0600070205080204" pitchFamily="50" charset="-128"/>
                <a:cs typeface="Arial" panose="020B0604020202020204" pitchFamily="34" charset="0"/>
              </a:rPr>
              <a:t>アメリカ、アイルラン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イツ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の中で、一人当たりの年間医療費は最も多く、高齢化や人口動態の変化を考慮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るペースで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シンガポール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患者が訪れており、医療渡航の伸びも医薬品市場の拡大を後押し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は、人材、高い製造能力、先進的な医薬品研究エコシステムによって推進されている。</a:t>
            </a:r>
          </a:p>
        </p:txBody>
      </p:sp>
      <p:sp>
        <p:nvSpPr>
          <p:cNvPr id="70" name="テキスト ボックス 21">
            <a:extLst>
              <a:ext uri="{FF2B5EF4-FFF2-40B4-BE49-F238E27FC236}">
                <a16:creationId xmlns:a16="http://schemas.microsoft.com/office/drawing/2014/main" id="{9ABC4457-050A-4DFE-8405-530107D98A47}"/>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ホームページ</a:t>
            </a:r>
          </a:p>
        </p:txBody>
      </p:sp>
      <p:graphicFrame>
        <p:nvGraphicFramePr>
          <p:cNvPr id="128" name="Chart 127">
            <a:extLst>
              <a:ext uri="{FF2B5EF4-FFF2-40B4-BE49-F238E27FC236}">
                <a16:creationId xmlns:a16="http://schemas.microsoft.com/office/drawing/2014/main" id="{61ABCF88-3280-ECDA-C0F8-0BB36D85E1E7}"/>
              </a:ext>
            </a:extLst>
          </p:cNvPr>
          <p:cNvGraphicFramePr/>
          <p:nvPr>
            <p:custDataLst>
              <p:tags r:id="rId3"/>
            </p:custDataLst>
            <p:extLst>
              <p:ext uri="{D42A27DB-BD31-4B8C-83A1-F6EECF244321}">
                <p14:modId xmlns:p14="http://schemas.microsoft.com/office/powerpoint/2010/main" val="3955178405"/>
              </p:ext>
            </p:extLst>
          </p:nvPr>
        </p:nvGraphicFramePr>
        <p:xfrm>
          <a:off x="6670675" y="3360738"/>
          <a:ext cx="2498725" cy="2949575"/>
        </p:xfrm>
        <a:graphic>
          <a:graphicData uri="http://schemas.openxmlformats.org/drawingml/2006/chart">
            <c:chart xmlns:c="http://schemas.openxmlformats.org/drawingml/2006/chart" xmlns:r="http://schemas.openxmlformats.org/officeDocument/2006/relationships" r:id="rId58"/>
          </a:graphicData>
        </a:graphic>
      </p:graphicFrame>
      <p:sp>
        <p:nvSpPr>
          <p:cNvPr id="49" name="テキスト プレースホルダ 9">
            <a:extLst>
              <a:ext uri="{FF2B5EF4-FFF2-40B4-BE49-F238E27FC236}">
                <a16:creationId xmlns:a16="http://schemas.microsoft.com/office/drawing/2014/main" id="{92A17C7D-D67C-D5F2-6E1B-72B73215A367}"/>
              </a:ext>
            </a:extLst>
          </p:cNvPr>
          <p:cNvSpPr>
            <a:spLocks/>
          </p:cNvSpPr>
          <p:nvPr>
            <p:custDataLst>
              <p:tags r:id="rId4"/>
            </p:custDataLst>
          </p:nvPr>
        </p:nvSpPr>
        <p:spPr bwMode="auto">
          <a:xfrm>
            <a:off x="8489950" y="36306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791320-039A-4129-A6AE-84A77E5E9A8B}" type="datetime'ア''''''''''メ''''''''リ''''''''''''''''''''''''''カ''合衆''国'">
              <a:rPr lang="ja-JP" altLang="en-US" sz="1000" smtClean="0"/>
              <a:pPr/>
              <a:t>アメリカ合衆国</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2E700F24-7437-0C1E-85FF-07273ACF8ADE}"/>
              </a:ext>
            </a:extLst>
          </p:cNvPr>
          <p:cNvSpPr>
            <a:spLocks/>
          </p:cNvSpPr>
          <p:nvPr>
            <p:custDataLst>
              <p:tags r:id="rId5"/>
            </p:custDataLst>
          </p:nvPr>
        </p:nvSpPr>
        <p:spPr bwMode="auto">
          <a:xfrm>
            <a:off x="9124949" y="4535488"/>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443FD5A-DF87-46D3-8347-6775D1F03F56}" type="datetime'''''ア''''イ''''''''''''''ル''''''''''ラ''''''''''''''ン''''''ド'''">
              <a:rPr lang="ja-JP" altLang="en-US" sz="1000" smtClean="0"/>
              <a:pPr/>
              <a:t>アイルランド</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BB61EB8D-C035-CCE1-922A-9D914C9F1675}"/>
              </a:ext>
            </a:extLst>
          </p:cNvPr>
          <p:cNvSpPr>
            <a:spLocks/>
          </p:cNvSpPr>
          <p:nvPr>
            <p:custDataLst>
              <p:tags r:id="rId6"/>
            </p:custDataLst>
          </p:nvPr>
        </p:nvSpPr>
        <p:spPr bwMode="auto">
          <a:xfrm>
            <a:off x="8978900" y="54197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D78AFF6-FDC2-4704-8700-4CFF3CA78EF8}" type="datetime'''''''''''''''ド''''''''''''''''''''''''''''イ''ツ'''''''''''''">
              <a:rPr lang="ja-JP" altLang="en-US" sz="1000" smtClean="0"/>
              <a:pPr/>
              <a:t>ドイツ</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59045921-49B5-9A0F-1185-993F761BEED7}"/>
              </a:ext>
            </a:extLst>
          </p:cNvPr>
          <p:cNvSpPr>
            <a:spLocks/>
          </p:cNvSpPr>
          <p:nvPr>
            <p:custDataLst>
              <p:tags r:id="rId7"/>
            </p:custDataLst>
          </p:nvPr>
        </p:nvSpPr>
        <p:spPr bwMode="auto">
          <a:xfrm>
            <a:off x="8347075" y="5953125"/>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EEE85B-366C-491A-BD80-5CBA28CA7B3B}" type="datetime'''''''''ベ''''ル''''''''''''''''''''ギ''''''''''ー'''''">
              <a:rPr lang="ja-JP" altLang="en-US" sz="1000" smtClean="0"/>
              <a:pPr/>
              <a:t>ベルギー</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AB6710F1-2FD9-4484-4535-A636DB3EC53E}"/>
              </a:ext>
            </a:extLst>
          </p:cNvPr>
          <p:cNvSpPr>
            <a:spLocks/>
          </p:cNvSpPr>
          <p:nvPr>
            <p:custDataLst>
              <p:tags r:id="rId8"/>
            </p:custDataLst>
          </p:nvPr>
        </p:nvSpPr>
        <p:spPr bwMode="auto">
          <a:xfrm>
            <a:off x="7342188" y="60229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773BD12-4A3B-41EA-8906-DECB12B2C5B5}" type="datetime'''フ''''''''''''''''''ラン''''''''''''''''ス'''">
              <a:rPr lang="ja-JP" altLang="en-US" sz="1000" smtClean="0"/>
              <a:pPr/>
              <a:t>フランス</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7035D0B7-5B7E-A97B-5EA2-3809E2FEA50E}"/>
              </a:ext>
            </a:extLst>
          </p:cNvPr>
          <p:cNvSpPr>
            <a:spLocks/>
          </p:cNvSpPr>
          <p:nvPr>
            <p:custDataLst>
              <p:tags r:id="rId9"/>
            </p:custDataLst>
          </p:nvPr>
        </p:nvSpPr>
        <p:spPr bwMode="auto">
          <a:xfrm>
            <a:off x="6354763" y="44640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CBB81A-268E-480F-A057-24333232991B}" type="datetime'''''''''''''''''''''''そ''''''''''の他'''''''''''''''''">
              <a:rPr lang="ja-JP" altLang="en-US" sz="1000" smtClean="0"/>
              <a:pPr/>
              <a:t>その他</a:t>
            </a:fld>
            <a:endParaRPr kumimoji="1" lang="en-US" altLang="ja-JP" sz="1000" dirty="0">
              <a:sym typeface="+mn-lt"/>
            </a:endParaRPr>
          </a:p>
        </p:txBody>
      </p:sp>
      <p:sp>
        <p:nvSpPr>
          <p:cNvPr id="55" name="Rectangle 54">
            <a:extLst>
              <a:ext uri="{FF2B5EF4-FFF2-40B4-BE49-F238E27FC236}">
                <a16:creationId xmlns:a16="http://schemas.microsoft.com/office/drawing/2014/main" id="{0E5F8BBA-33DF-2515-3414-2CE23F9D3B01}"/>
              </a:ext>
            </a:extLst>
          </p:cNvPr>
          <p:cNvSpPr/>
          <p:nvPr>
            <p:custDataLst>
              <p:tags r:id="rId10"/>
            </p:custDataLst>
          </p:nvPr>
        </p:nvSpPr>
        <p:spPr bwMode="gray">
          <a:xfrm>
            <a:off x="746125" y="312420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B0D8695F-6D4B-23B5-F0CF-D3CB687C7A1C}"/>
              </a:ext>
            </a:extLst>
          </p:cNvPr>
          <p:cNvSpPr/>
          <p:nvPr>
            <p:custDataLst>
              <p:tags r:id="rId11"/>
            </p:custDataLst>
          </p:nvPr>
        </p:nvSpPr>
        <p:spPr bwMode="gray">
          <a:xfrm>
            <a:off x="746125" y="332740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a:extLst>
              <a:ext uri="{FF2B5EF4-FFF2-40B4-BE49-F238E27FC236}">
                <a16:creationId xmlns:a16="http://schemas.microsoft.com/office/drawing/2014/main" id="{3DB39BE6-9033-FA87-487F-14EDF4ACECE0}"/>
              </a:ext>
            </a:extLst>
          </p:cNvPr>
          <p:cNvSpPr>
            <a:spLocks/>
          </p:cNvSpPr>
          <p:nvPr>
            <p:custDataLst>
              <p:tags r:id="rId12"/>
            </p:custDataLst>
          </p:nvPr>
        </p:nvSpPr>
        <p:spPr bwMode="auto">
          <a:xfrm>
            <a:off x="976313" y="31194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5D9A9B-6889-4750-A20E-920861A20892}" type="datetime'輸''''''出'''''''''''''''''''''''''''''''''''''''''''''''">
              <a:rPr kumimoji="0" lang="ja-JP" altLang="en-US" sz="1000" smtClean="0"/>
              <a:pPr/>
              <a:t>輸出</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99908EAD-9683-400E-AA13-2F00A50D5B82}"/>
              </a:ext>
            </a:extLst>
          </p:cNvPr>
          <p:cNvSpPr>
            <a:spLocks/>
          </p:cNvSpPr>
          <p:nvPr>
            <p:custDataLst>
              <p:tags r:id="rId13"/>
            </p:custDataLst>
          </p:nvPr>
        </p:nvSpPr>
        <p:spPr bwMode="auto">
          <a:xfrm>
            <a:off x="976313" y="33226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F4D5EB8-3AAE-4FB4-8D6D-533DC9FBB508}" type="datetime'''''''''''輸''''''''入'''''''''''''">
              <a:rPr kumimoji="0" lang="ja-JP" altLang="en-US" sz="1000" smtClean="0"/>
              <a:pPr/>
              <a:t>輸入</a:t>
            </a:fld>
            <a:endParaRPr kumimoji="0" lang="ja-JP" altLang="en-US" sz="1000" dirty="0">
              <a:sym typeface="+mn-lt"/>
            </a:endParaRPr>
          </a:p>
        </p:txBody>
      </p:sp>
      <p:graphicFrame>
        <p:nvGraphicFramePr>
          <p:cNvPr id="115" name="Chart 114">
            <a:extLst>
              <a:ext uri="{FF2B5EF4-FFF2-40B4-BE49-F238E27FC236}">
                <a16:creationId xmlns:a16="http://schemas.microsoft.com/office/drawing/2014/main" id="{643C136D-355F-2465-1A7F-60D4B4481655}"/>
              </a:ext>
            </a:extLst>
          </p:cNvPr>
          <p:cNvGraphicFramePr/>
          <p:nvPr>
            <p:custDataLst>
              <p:tags r:id="rId14"/>
            </p:custDataLst>
            <p:extLst>
              <p:ext uri="{D42A27DB-BD31-4B8C-83A1-F6EECF244321}">
                <p14:modId xmlns:p14="http://schemas.microsoft.com/office/powerpoint/2010/main" val="3394259237"/>
              </p:ext>
            </p:extLst>
          </p:nvPr>
        </p:nvGraphicFramePr>
        <p:xfrm>
          <a:off x="425450" y="2986088"/>
          <a:ext cx="5788025" cy="3262312"/>
        </p:xfrm>
        <a:graphic>
          <a:graphicData uri="http://schemas.openxmlformats.org/drawingml/2006/chart">
            <c:chart xmlns:c="http://schemas.openxmlformats.org/drawingml/2006/chart" xmlns:r="http://schemas.openxmlformats.org/officeDocument/2006/relationships" r:id="rId59"/>
          </a:graphicData>
        </a:graphic>
      </p:graphicFrame>
      <p:sp>
        <p:nvSpPr>
          <p:cNvPr id="62" name="テキスト プレースホルダ 9">
            <a:extLst>
              <a:ext uri="{FF2B5EF4-FFF2-40B4-BE49-F238E27FC236}">
                <a16:creationId xmlns:a16="http://schemas.microsoft.com/office/drawing/2014/main" id="{77227103-514D-579D-38C8-7B87F3D9E204}"/>
              </a:ext>
            </a:extLst>
          </p:cNvPr>
          <p:cNvSpPr>
            <a:spLocks/>
          </p:cNvSpPr>
          <p:nvPr>
            <p:custDataLst>
              <p:tags r:id="rId15"/>
            </p:custDataLst>
          </p:nvPr>
        </p:nvSpPr>
        <p:spPr bwMode="gray">
          <a:xfrm>
            <a:off x="309563" y="58308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FD55AC1-0C2F-4C01-9D31-F8703B7DF477}" type="datetime'1'''">
              <a:rPr lang="en-US" altLang="en-US" sz="1000" smtClean="0"/>
              <a:pPr/>
              <a:t>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4A7799C-47ED-A69D-298E-6980D6FDA052}"/>
              </a:ext>
            </a:extLst>
          </p:cNvPr>
          <p:cNvSpPr>
            <a:spLocks/>
          </p:cNvSpPr>
          <p:nvPr>
            <p:custDataLst>
              <p:tags r:id="rId16"/>
            </p:custDataLst>
          </p:nvPr>
        </p:nvSpPr>
        <p:spPr bwMode="gray">
          <a:xfrm>
            <a:off x="309563" y="5573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DB5F57B-5AEE-4276-BD19-BE1BF75330B0}" type="datetime'''''''''''''''''''''''''''''''''''2'''''''''''">
              <a:rPr lang="en-US" altLang="en-US" sz="1000" smtClean="0"/>
              <a:pPr/>
              <a:t>2</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BA0DB5C6-9CAC-EC97-8976-3409FDA5AE5D}"/>
              </a:ext>
            </a:extLst>
          </p:cNvPr>
          <p:cNvSpPr>
            <a:spLocks/>
          </p:cNvSpPr>
          <p:nvPr>
            <p:custDataLst>
              <p:tags r:id="rId17"/>
            </p:custDataLst>
          </p:nvPr>
        </p:nvSpPr>
        <p:spPr bwMode="gray">
          <a:xfrm>
            <a:off x="309563" y="53149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1791361-596D-4566-BE34-2A990D0F0402}" type="datetime'''''''''''''''''''''''''''''''''''''''''''''''''''3'''">
              <a:rPr lang="en-US" altLang="en-US" sz="1000" smtClean="0"/>
              <a:pPr/>
              <a:t>3</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13D9186-DF4C-5518-5209-5554CD8EB953}"/>
              </a:ext>
            </a:extLst>
          </p:cNvPr>
          <p:cNvSpPr>
            <a:spLocks/>
          </p:cNvSpPr>
          <p:nvPr>
            <p:custDataLst>
              <p:tags r:id="rId18"/>
            </p:custDataLst>
          </p:nvPr>
        </p:nvSpPr>
        <p:spPr bwMode="gray">
          <a:xfrm>
            <a:off x="309563" y="5057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3E43FBC-89E0-4DF7-A817-8966945399E5}" type="datetime'''4'''''''''''''''''''">
              <a:rPr lang="en-US" altLang="en-US" sz="1000" smtClean="0"/>
              <a:pPr/>
              <a:t>4</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AAD0C3F-5FC4-35B5-BFEB-A5C775103472}"/>
              </a:ext>
            </a:extLst>
          </p:cNvPr>
          <p:cNvSpPr>
            <a:spLocks/>
          </p:cNvSpPr>
          <p:nvPr>
            <p:custDataLst>
              <p:tags r:id="rId19"/>
            </p:custDataLst>
          </p:nvPr>
        </p:nvSpPr>
        <p:spPr bwMode="gray">
          <a:xfrm>
            <a:off x="309563" y="4283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983BA8-83CA-4779-8940-8BAE3C9909D0}"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8D33EAB8-AC2D-367D-E4D9-B1309E7BBCAC}"/>
              </a:ext>
            </a:extLst>
          </p:cNvPr>
          <p:cNvSpPr>
            <a:spLocks/>
          </p:cNvSpPr>
          <p:nvPr>
            <p:custDataLst>
              <p:tags r:id="rId20"/>
            </p:custDataLst>
          </p:nvPr>
        </p:nvSpPr>
        <p:spPr bwMode="gray">
          <a:xfrm>
            <a:off x="309563" y="40243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1882B7-CE41-4A94-BFCF-5375C7567A9B}"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6F60EEC-81E6-11FF-BD56-E9DA4CFFB81F}"/>
              </a:ext>
            </a:extLst>
          </p:cNvPr>
          <p:cNvSpPr>
            <a:spLocks/>
          </p:cNvSpPr>
          <p:nvPr>
            <p:custDataLst>
              <p:tags r:id="rId21"/>
            </p:custDataLst>
          </p:nvPr>
        </p:nvSpPr>
        <p:spPr bwMode="gray">
          <a:xfrm>
            <a:off x="309563" y="3767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4FE56F2-299D-48FF-921B-3D4B97923B1E}"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85B5FAD2-0513-23D8-AA2B-30D7830FDB50}"/>
              </a:ext>
            </a:extLst>
          </p:cNvPr>
          <p:cNvSpPr>
            <a:spLocks/>
          </p:cNvSpPr>
          <p:nvPr>
            <p:custDataLst>
              <p:tags r:id="rId22"/>
            </p:custDataLst>
          </p:nvPr>
        </p:nvSpPr>
        <p:spPr bwMode="gray">
          <a:xfrm>
            <a:off x="239713" y="3508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7C4A15D-3212-4900-B5D9-B57F73966BFD}"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26D33819-90AD-D1A9-FF5D-06E9998A2349}"/>
              </a:ext>
            </a:extLst>
          </p:cNvPr>
          <p:cNvSpPr>
            <a:spLocks/>
          </p:cNvSpPr>
          <p:nvPr>
            <p:custDataLst>
              <p:tags r:id="rId23"/>
            </p:custDataLst>
          </p:nvPr>
        </p:nvSpPr>
        <p:spPr bwMode="gray">
          <a:xfrm>
            <a:off x="239713" y="3251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F3D10-24D9-4CD1-A18F-1C40E25BDAA3}"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CAD24CD7-6E07-425D-A54E-2F6708993BAB}"/>
              </a:ext>
            </a:extLst>
          </p:cNvPr>
          <p:cNvSpPr>
            <a:spLocks/>
          </p:cNvSpPr>
          <p:nvPr>
            <p:custDataLst>
              <p:tags r:id="rId24"/>
            </p:custDataLst>
          </p:nvPr>
        </p:nvSpPr>
        <p:spPr bwMode="gray">
          <a:xfrm>
            <a:off x="239713" y="2992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743405-5A96-4EC3-8AF4-43759ADEEFF4}"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D79B8882-A0D8-9924-7105-950F4A7DA882}"/>
              </a:ext>
            </a:extLst>
          </p:cNvPr>
          <p:cNvSpPr>
            <a:spLocks/>
          </p:cNvSpPr>
          <p:nvPr>
            <p:custDataLst>
              <p:tags r:id="rId25"/>
            </p:custDataLst>
          </p:nvPr>
        </p:nvSpPr>
        <p:spPr bwMode="gray">
          <a:xfrm>
            <a:off x="309563" y="6089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7C55D9F-2B8A-47A5-A7DE-186D0E4D07BD}" type="datetime'''''''''''''''''''''''''''''''''''''''''''''''0'''''''''">
              <a:rPr lang="en-US" altLang="en-US" sz="1000" smtClean="0"/>
              <a:pPr/>
              <a:t>0</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681AE433-D729-5CD8-329D-9144FFF18674}"/>
              </a:ext>
            </a:extLst>
          </p:cNvPr>
          <p:cNvSpPr>
            <a:spLocks/>
          </p:cNvSpPr>
          <p:nvPr>
            <p:custDataLst>
              <p:tags r:id="rId26"/>
            </p:custDataLst>
          </p:nvPr>
        </p:nvSpPr>
        <p:spPr bwMode="gray">
          <a:xfrm>
            <a:off x="309563" y="479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84B3EFA-1953-45C0-8F45-7EC7989D7BAD}"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ACF1A88-1890-709D-8736-595B5AFFF8D3}"/>
              </a:ext>
            </a:extLst>
          </p:cNvPr>
          <p:cNvSpPr>
            <a:spLocks/>
          </p:cNvSpPr>
          <p:nvPr>
            <p:custDataLst>
              <p:tags r:id="rId27"/>
            </p:custDataLst>
          </p:nvPr>
        </p:nvSpPr>
        <p:spPr bwMode="gray">
          <a:xfrm>
            <a:off x="309563" y="45402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BB23D9-5102-4A0E-8333-D7BCDD7C3B77}"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F4D7E46E-EAD3-1F5A-230D-3EDAB3C7C1F8}"/>
              </a:ext>
            </a:extLst>
          </p:cNvPr>
          <p:cNvSpPr>
            <a:spLocks/>
          </p:cNvSpPr>
          <p:nvPr>
            <p:custDataLst>
              <p:tags r:id="rId28"/>
            </p:custDataLst>
          </p:nvPr>
        </p:nvSpPr>
        <p:spPr bwMode="gray">
          <a:xfrm>
            <a:off x="595313" y="5329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FFAF4-7AAF-4470-B6F7-17B14965C5E5}" type="datetime'''''''''''''5''''''''''.''''9'''''''''''''''''''''''''''''''''">
              <a:rPr lang="en-US" altLang="en-US" sz="1000" smtClean="0"/>
              <a:pPr/>
              <a:t>5.9</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DB8B553-EF5D-6D91-AB4C-C08F93BB606B}"/>
              </a:ext>
            </a:extLst>
          </p:cNvPr>
          <p:cNvSpPr>
            <a:spLocks/>
          </p:cNvSpPr>
          <p:nvPr>
            <p:custDataLst>
              <p:tags r:id="rId29"/>
            </p:custDataLst>
          </p:nvPr>
        </p:nvSpPr>
        <p:spPr bwMode="gray">
          <a:xfrm>
            <a:off x="836613" y="5767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58B6E-9B37-46BB-835E-2B25A2630BAB}" type="datetime'''''''''''''''''''''''''''''2''''.''''''''''''''''5'">
              <a:rPr lang="en-US" altLang="en-US" sz="1000" smtClean="0"/>
              <a:pPr/>
              <a:t>2.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5070B301-F0E1-2BE9-B45F-62246AEA1156}"/>
              </a:ext>
            </a:extLst>
          </p:cNvPr>
          <p:cNvSpPr>
            <a:spLocks/>
          </p:cNvSpPr>
          <p:nvPr>
            <p:custDataLst>
              <p:tags r:id="rId30"/>
            </p:custDataLst>
          </p:nvPr>
        </p:nvSpPr>
        <p:spPr bwMode="auto">
          <a:xfrm>
            <a:off x="674688"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E553F-AC16-41FC-9A10-C969B178F004}" type="datetime'''''''2''''''''017'''''''''''''''''''''''''''''''''''''">
              <a:rPr lang="en-US" altLang="en-US" sz="1000" smtClean="0"/>
              <a:pPr/>
              <a:t>2017</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99FA9CC0-58EC-8CA1-6DBD-1A007B53BEB2}"/>
              </a:ext>
            </a:extLst>
          </p:cNvPr>
          <p:cNvSpPr>
            <a:spLocks/>
          </p:cNvSpPr>
          <p:nvPr>
            <p:custDataLst>
              <p:tags r:id="rId31"/>
            </p:custDataLst>
          </p:nvPr>
        </p:nvSpPr>
        <p:spPr bwMode="gray">
          <a:xfrm>
            <a:off x="1220788" y="501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39F094-10D6-4E90-8762-3C9182465860}" type="datetime'''''''''''8''.''''''4'''''''''''">
              <a:rPr lang="en-US" altLang="en-US" sz="1000" smtClean="0"/>
              <a:pPr/>
              <a:t>8.4</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AE297589-FA17-D79A-8B56-EFE1DFB4B51F}"/>
              </a:ext>
            </a:extLst>
          </p:cNvPr>
          <p:cNvSpPr>
            <a:spLocks/>
          </p:cNvSpPr>
          <p:nvPr>
            <p:custDataLst>
              <p:tags r:id="rId32"/>
            </p:custDataLst>
          </p:nvPr>
        </p:nvSpPr>
        <p:spPr bwMode="gray">
          <a:xfrm>
            <a:off x="1460500" y="571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2A7FE-7DF1-4A52-8E87-A8C805721CF1}" type="datetime'''''''''''''''2.''''''''''''''''''''''9'''''''''''''''''''''">
              <a:rPr lang="en-US" altLang="en-US" sz="1000" smtClean="0"/>
              <a:pPr/>
              <a:t>2.9</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6AF4B3B4-DBD3-B4A7-B68A-3107E987FFAD}"/>
              </a:ext>
            </a:extLst>
          </p:cNvPr>
          <p:cNvSpPr>
            <a:spLocks/>
          </p:cNvSpPr>
          <p:nvPr>
            <p:custDataLst>
              <p:tags r:id="rId33"/>
            </p:custDataLst>
          </p:nvPr>
        </p:nvSpPr>
        <p:spPr bwMode="auto">
          <a:xfrm>
            <a:off x="13684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E3C1BD-A5D0-49E5-A494-A3B490F075F2}" type="datetime'''''''1''''''''8'''''''''''''''''''''''''''''''''''''''''">
              <a:rPr lang="en-US" altLang="en-US" sz="1000" smtClean="0"/>
              <a:pPr/>
              <a:t>1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1F6DDA9D-6103-7E91-50D4-EB463B74AB96}"/>
              </a:ext>
            </a:extLst>
          </p:cNvPr>
          <p:cNvSpPr>
            <a:spLocks/>
          </p:cNvSpPr>
          <p:nvPr>
            <p:custDataLst>
              <p:tags r:id="rId34"/>
            </p:custDataLst>
          </p:nvPr>
        </p:nvSpPr>
        <p:spPr bwMode="gray">
          <a:xfrm>
            <a:off x="1844675" y="5043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FE9D0-A1A9-4A8C-8B64-19ED0EFC501C}" type="datetime'''''''''8''''''''''''''.''''''''''1'''''''''''''''''''''">
              <a:rPr lang="en-US" altLang="en-US" sz="1000" smtClean="0"/>
              <a:pPr/>
              <a:t>8.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CC7D7D08-015D-A98C-FDE6-001A129D08AC}"/>
              </a:ext>
            </a:extLst>
          </p:cNvPr>
          <p:cNvSpPr>
            <a:spLocks/>
          </p:cNvSpPr>
          <p:nvPr>
            <p:custDataLst>
              <p:tags r:id="rId35"/>
            </p:custDataLst>
          </p:nvPr>
        </p:nvSpPr>
        <p:spPr bwMode="gray">
          <a:xfrm>
            <a:off x="2085975" y="5676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E3AEE9-A1B3-4FDE-93AA-9A1B4DE825A6}" type="datetime'3.''''''''''''''''''2'''''">
              <a:rPr lang="en-US" altLang="en-US" sz="1000" smtClean="0"/>
              <a:pPr/>
              <a:t>3.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FA6FE938-91AD-DFD7-7169-1F70796C34C5}"/>
              </a:ext>
            </a:extLst>
          </p:cNvPr>
          <p:cNvSpPr>
            <a:spLocks/>
          </p:cNvSpPr>
          <p:nvPr>
            <p:custDataLst>
              <p:tags r:id="rId36"/>
            </p:custDataLst>
          </p:nvPr>
        </p:nvSpPr>
        <p:spPr bwMode="auto">
          <a:xfrm>
            <a:off x="19939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99018-5470-4363-9393-C299DADD0953}" type="datetime'''''''''''''''''''''1''''''''''''''''''''''''9'''''''''''">
              <a:rPr lang="en-US" altLang="en-US" sz="1000" smtClean="0"/>
              <a:pPr/>
              <a:t>1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DDDAEC2B-A008-9D6E-29ED-22D039FDCAB5}"/>
              </a:ext>
            </a:extLst>
          </p:cNvPr>
          <p:cNvSpPr>
            <a:spLocks/>
          </p:cNvSpPr>
          <p:nvPr>
            <p:custDataLst>
              <p:tags r:id="rId37"/>
            </p:custDataLst>
          </p:nvPr>
        </p:nvSpPr>
        <p:spPr bwMode="gray">
          <a:xfrm>
            <a:off x="2470150" y="4937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6A8CF-AAC2-41DF-9E1B-C928BC9A7759}" type="datetime'''''''''''''''8''.''''''''''''9'''''''''''">
              <a:rPr lang="en-US" altLang="en-US" sz="1000" smtClean="0"/>
              <a:pPr/>
              <a:t>8.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101EEF57-C902-7082-7DB7-3282AF7B819B}"/>
              </a:ext>
            </a:extLst>
          </p:cNvPr>
          <p:cNvSpPr>
            <a:spLocks/>
          </p:cNvSpPr>
          <p:nvPr>
            <p:custDataLst>
              <p:tags r:id="rId38"/>
            </p:custDataLst>
          </p:nvPr>
        </p:nvSpPr>
        <p:spPr bwMode="gray">
          <a:xfrm>
            <a:off x="2709863" y="562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006C5-7F1D-4A10-902E-AB64A69219CE}" type="datetime'''''''''''''3''.''''''''''''''''''''''''''''6'''''''''''''''">
              <a:rPr lang="en-US" altLang="en-US" sz="1000" smtClean="0"/>
              <a:pPr/>
              <a:t>3.6</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313C1F68-6AF7-8322-054B-FB171190C41F}"/>
              </a:ext>
            </a:extLst>
          </p:cNvPr>
          <p:cNvSpPr>
            <a:spLocks/>
          </p:cNvSpPr>
          <p:nvPr>
            <p:custDataLst>
              <p:tags r:id="rId39"/>
            </p:custDataLst>
          </p:nvPr>
        </p:nvSpPr>
        <p:spPr bwMode="auto">
          <a:xfrm>
            <a:off x="26177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C45BF-04B1-4843-9D12-698AFB25DB2C}" type="datetime'''''''''''''''''20'''">
              <a:rPr lang="en-US" altLang="en-US" sz="1000" smtClean="0"/>
              <a:pPr/>
              <a:t>20</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6DBEDBA-23CD-BF36-2BD4-952900283127}"/>
              </a:ext>
            </a:extLst>
          </p:cNvPr>
          <p:cNvSpPr>
            <a:spLocks/>
          </p:cNvSpPr>
          <p:nvPr>
            <p:custDataLst>
              <p:tags r:id="rId40"/>
            </p:custDataLst>
          </p:nvPr>
        </p:nvSpPr>
        <p:spPr bwMode="gray">
          <a:xfrm>
            <a:off x="3059113" y="4764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4E876-9DD4-49D9-BC03-6301492266D7}" type="datetime'''''1''''''''''0''''.''''''''3'''''''''''''''''">
              <a:rPr lang="en-US" altLang="en-US" sz="1000" smtClean="0"/>
              <a:pPr/>
              <a:t>10.3</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1AAE8EE9-18CE-27E5-3C90-F6C1817E9A19}"/>
              </a:ext>
            </a:extLst>
          </p:cNvPr>
          <p:cNvSpPr>
            <a:spLocks/>
          </p:cNvSpPr>
          <p:nvPr>
            <p:custDataLst>
              <p:tags r:id="rId41"/>
            </p:custDataLst>
          </p:nvPr>
        </p:nvSpPr>
        <p:spPr bwMode="gray">
          <a:xfrm>
            <a:off x="3335338" y="5513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A253C9-1E3E-48EB-B995-8553F7BD233D}" type="datetime'''''''''''''''''''''''''''''''4''''.''5'''''''''''''''''''''''">
              <a:rPr lang="en-US" altLang="en-US" sz="1000" smtClean="0"/>
              <a:pPr/>
              <a:t>4.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4E44C6C2-9C8E-9EAA-CB81-5D506469D043}"/>
              </a:ext>
            </a:extLst>
          </p:cNvPr>
          <p:cNvSpPr>
            <a:spLocks/>
          </p:cNvSpPr>
          <p:nvPr>
            <p:custDataLst>
              <p:tags r:id="rId42"/>
            </p:custDataLst>
          </p:nvPr>
        </p:nvSpPr>
        <p:spPr bwMode="auto">
          <a:xfrm>
            <a:off x="32432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752C4-C7A4-4C87-81B8-A4CA4790634F}" type="datetime'2''''''''''''''''''''''''''1'">
              <a:rPr lang="en-US" altLang="en-US" sz="1000" smtClean="0"/>
              <a:pPr/>
              <a:t>21</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F69BE3A-98E6-AE4E-101E-83EED1815D79}"/>
              </a:ext>
            </a:extLst>
          </p:cNvPr>
          <p:cNvSpPr>
            <a:spLocks/>
          </p:cNvSpPr>
          <p:nvPr>
            <p:custDataLst>
              <p:tags r:id="rId43"/>
            </p:custDataLst>
          </p:nvPr>
        </p:nvSpPr>
        <p:spPr bwMode="gray">
          <a:xfrm>
            <a:off x="5592763" y="5083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538B5E-62D1-4C05-8F7B-782FAE833955}" type="datetime'''''''''''''''''''7''''''''''''.''''''''''''''''8'''''''''''''">
              <a:rPr lang="en-US" altLang="en-US" sz="1000" smtClean="0"/>
              <a:pPr/>
              <a:t>7.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8548BB1-4692-3A0D-A06D-05730C2CE7DA}"/>
              </a:ext>
            </a:extLst>
          </p:cNvPr>
          <p:cNvSpPr>
            <a:spLocks/>
          </p:cNvSpPr>
          <p:nvPr>
            <p:custDataLst>
              <p:tags r:id="rId44"/>
            </p:custDataLst>
          </p:nvPr>
        </p:nvSpPr>
        <p:spPr bwMode="gray">
          <a:xfrm>
            <a:off x="5834063" y="5443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A7A49-EBE8-4656-8428-AB67FA4C59DF}" type="datetime'''''''''''''''''''''5''''''''''''''''.''0'''''''''''''''''''''">
              <a:rPr lang="en-US" altLang="en-US" sz="1000" smtClean="0"/>
              <a:pPr/>
              <a:t>5.0</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101F5AB4-F25C-11A0-1AE4-771606B9426F}"/>
              </a:ext>
            </a:extLst>
          </p:cNvPr>
          <p:cNvSpPr>
            <a:spLocks/>
          </p:cNvSpPr>
          <p:nvPr>
            <p:custDataLst>
              <p:tags r:id="rId45"/>
            </p:custDataLst>
          </p:nvPr>
        </p:nvSpPr>
        <p:spPr bwMode="auto">
          <a:xfrm>
            <a:off x="5741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71270-FBA4-4608-8CC0-036C660004B0}" type="datetime'''2''''''''''''''''''''''5'''''''''''">
              <a:rPr lang="en-US" altLang="en-US" sz="1000" smtClean="0"/>
              <a:pPr/>
              <a:t>25</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EAA2D960-5872-91CA-16EA-518A94946A5C}"/>
              </a:ext>
            </a:extLst>
          </p:cNvPr>
          <p:cNvSpPr>
            <a:spLocks/>
          </p:cNvSpPr>
          <p:nvPr>
            <p:custDataLst>
              <p:tags r:id="rId46"/>
            </p:custDataLst>
          </p:nvPr>
        </p:nvSpPr>
        <p:spPr bwMode="gray">
          <a:xfrm>
            <a:off x="3959225" y="5419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B0D8C-5B06-4AAE-9FA1-082414D5FCF2}" type="datetime'5''''.''''''''''''''''''''''''''''''''2'''''''''''''''''''''">
              <a:rPr lang="en-US" altLang="en-US" sz="1000" smtClean="0"/>
              <a:pPr/>
              <a:t>5.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37D4C09-BD13-0760-6BD6-44118873DC4A}"/>
              </a:ext>
            </a:extLst>
          </p:cNvPr>
          <p:cNvSpPr>
            <a:spLocks/>
          </p:cNvSpPr>
          <p:nvPr>
            <p:custDataLst>
              <p:tags r:id="rId47"/>
            </p:custDataLst>
          </p:nvPr>
        </p:nvSpPr>
        <p:spPr bwMode="auto">
          <a:xfrm>
            <a:off x="38671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658BB-E17C-401C-B375-2F5FA3C5F6D6}" type="datetime'''''''''''''''''''''2''''''''2'''''''''''''''">
              <a:rPr lang="en-US" altLang="en-US" sz="1000" smtClean="0"/>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49917AE-98EE-EA09-1ED0-EDA5EE97FA34}"/>
              </a:ext>
            </a:extLst>
          </p:cNvPr>
          <p:cNvSpPr>
            <a:spLocks/>
          </p:cNvSpPr>
          <p:nvPr>
            <p:custDataLst>
              <p:tags r:id="rId48"/>
            </p:custDataLst>
          </p:nvPr>
        </p:nvSpPr>
        <p:spPr bwMode="gray">
          <a:xfrm>
            <a:off x="4308475" y="4664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A2D6E-FA19-426F-A265-1634C3E57323}" type="datetime'1''''''''''1''''''''.''0'''''''''''''''''''''''''''''''''''''">
              <a:rPr lang="en-US" altLang="en-US" sz="1000" smtClean="0"/>
              <a:pPr/>
              <a:t>11.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C41C9BEC-EB69-1742-18AD-FFEA76EB2885}"/>
              </a:ext>
            </a:extLst>
          </p:cNvPr>
          <p:cNvSpPr>
            <a:spLocks/>
          </p:cNvSpPr>
          <p:nvPr>
            <p:custDataLst>
              <p:tags r:id="rId49"/>
            </p:custDataLst>
          </p:nvPr>
        </p:nvSpPr>
        <p:spPr bwMode="gray">
          <a:xfrm>
            <a:off x="4584700" y="552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A6449-52E6-476B-95F7-B90793898527}" type="datetime'4''''''''''''''''''''''''''''''''''''''''''''.''4'''''''''''">
              <a:rPr lang="en-US" altLang="en-US" sz="1000" smtClean="0"/>
              <a:pPr/>
              <a:t>4.4</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EB9F9697-A910-7661-35D0-EAA26429CEC7}"/>
              </a:ext>
            </a:extLst>
          </p:cNvPr>
          <p:cNvSpPr>
            <a:spLocks/>
          </p:cNvSpPr>
          <p:nvPr>
            <p:custDataLst>
              <p:tags r:id="rId50"/>
            </p:custDataLst>
          </p:nvPr>
        </p:nvSpPr>
        <p:spPr bwMode="auto">
          <a:xfrm>
            <a:off x="44926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79831-06B4-4421-B045-34055084690F}" type="datetime'2''''''3'''''''''''''''''''''''''">
              <a:rPr lang="en-US" altLang="en-US" sz="1000" smtClean="0"/>
              <a:pPr/>
              <a:t>23</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AA9ED26-2DB6-1F1D-5A10-8EB6D589454B}"/>
              </a:ext>
            </a:extLst>
          </p:cNvPr>
          <p:cNvSpPr>
            <a:spLocks/>
          </p:cNvSpPr>
          <p:nvPr>
            <p:custDataLst>
              <p:tags r:id="rId51"/>
            </p:custDataLst>
          </p:nvPr>
        </p:nvSpPr>
        <p:spPr bwMode="gray">
          <a:xfrm>
            <a:off x="4968875" y="500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7E8FAC-6772-49BB-B74B-4E454A2FC700}" type="datetime'''''''8''''''''''''''''''''''''''''''''.''4'''''''''''''''''">
              <a:rPr lang="en-US" altLang="en-US" sz="1000" smtClean="0"/>
              <a:pPr/>
              <a:t>8.4</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4C210C13-A9D5-B4ED-7121-FFE2EB0BB584}"/>
              </a:ext>
            </a:extLst>
          </p:cNvPr>
          <p:cNvSpPr>
            <a:spLocks/>
          </p:cNvSpPr>
          <p:nvPr>
            <p:custDataLst>
              <p:tags r:id="rId52"/>
            </p:custDataLst>
          </p:nvPr>
        </p:nvSpPr>
        <p:spPr bwMode="gray">
          <a:xfrm>
            <a:off x="5208588" y="5346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896D3B-1B70-4636-8896-7E05125FAAA2}" type="datetime'5''.''''''''''''''''''''''''''''''''''''''''''''''''''8'''''''">
              <a:rPr lang="en-US" altLang="en-US" sz="1000" smtClean="0"/>
              <a:pPr/>
              <a:t>5.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4F44256-C419-C566-31AE-36D356E78A93}"/>
              </a:ext>
            </a:extLst>
          </p:cNvPr>
          <p:cNvSpPr>
            <a:spLocks/>
          </p:cNvSpPr>
          <p:nvPr>
            <p:custDataLst>
              <p:tags r:id="rId53"/>
            </p:custDataLst>
          </p:nvPr>
        </p:nvSpPr>
        <p:spPr bwMode="auto">
          <a:xfrm>
            <a:off x="5116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1BF87-09E3-4DEF-B5FE-FB8589C43BCF}" type="datetime'''''''''''''''''2''''''''''''''''''''''''''''''''''''4'''">
              <a:rPr lang="en-US" altLang="en-US" sz="1000" smtClean="0"/>
              <a:pPr/>
              <a:t>24</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61A26831-DD34-60DB-5ACD-ED9030A804F0}"/>
              </a:ext>
            </a:extLst>
          </p:cNvPr>
          <p:cNvSpPr>
            <a:spLocks/>
          </p:cNvSpPr>
          <p:nvPr>
            <p:custDataLst>
              <p:tags r:id="rId54"/>
            </p:custDataLst>
          </p:nvPr>
        </p:nvSpPr>
        <p:spPr bwMode="gray">
          <a:xfrm>
            <a:off x="3719513" y="4819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57C8B-9317-4F0B-AE53-F4090CBEA88D}" type="datetime'''''9''''''''''''''''''''''''''''''''''''''.''''''''''''8'''">
              <a:rPr lang="en-US" altLang="en-US" sz="1000" smtClean="0"/>
              <a:pPr/>
              <a:t>9.8</a:t>
            </a:fld>
            <a:endParaRPr kumimoji="1" lang="en-US" altLang="ja-JP" sz="1000" dirty="0">
              <a:sym typeface="+mn-lt"/>
            </a:endParaRPr>
          </a:p>
        </p:txBody>
      </p:sp>
    </p:spTree>
    <p:extLst>
      <p:ext uri="{BB962C8B-B14F-4D97-AF65-F5344CB8AC3E}">
        <p14:creationId xmlns:p14="http://schemas.microsoft.com/office/powerpoint/2010/main" val="4158241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2655935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5" imgW="270" imgH="270" progId="TCLayout.ActiveDocument.1">
                  <p:embed/>
                </p:oleObj>
              </mc:Choice>
              <mc:Fallback>
                <p:oleObj name="think-cellスライド" r:id="rId285" imgW="270" imgH="270" progId="TCLayout.ActiveDocument.1">
                  <p:embed/>
                  <p:pic>
                    <p:nvPicPr>
                      <p:cNvPr id="7" name="オブジェクト 6" hidden="1"/>
                      <p:cNvPicPr>
                        <a:picLocks noChangeAspect="1" noChangeArrowheads="1"/>
                      </p:cNvPicPr>
                      <p:nvPr/>
                    </p:nvPicPr>
                    <p:blipFill>
                      <a:blip r:embed="rId2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333589" y="1759457"/>
            <a:ext cx="9372385"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333589" y="4086021"/>
            <a:ext cx="9372385"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テキスト ボックス 64"/>
          <p:cNvSpPr txBox="1"/>
          <p:nvPr/>
        </p:nvSpPr>
        <p:spPr>
          <a:xfrm>
            <a:off x="248097" y="1064153"/>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のピークに向けて人口は緩やかに伸び、その後ゆっくりと減少す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齢化が加速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200472" y="65885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85" name="Straight Connector 284">
            <a:extLst>
              <a:ext uri="{FF2B5EF4-FFF2-40B4-BE49-F238E27FC236}">
                <a16:creationId xmlns:a16="http://schemas.microsoft.com/office/drawing/2014/main" id="{76B3FDB5-7F93-F4D9-CDFA-1BC1C25A862F}"/>
              </a:ext>
            </a:extLst>
          </p:cNvPr>
          <p:cNvCxnSpPr/>
          <p:nvPr>
            <p:custDataLst>
              <p:tags r:id="rId3"/>
            </p:custDataLst>
          </p:nvPr>
        </p:nvCxnSpPr>
        <p:spPr bwMode="gray">
          <a:xfrm>
            <a:off x="6410325" y="219868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A247E5F3-0BEA-5515-0C10-602849C0BBE6}"/>
              </a:ext>
            </a:extLst>
          </p:cNvPr>
          <p:cNvSpPr/>
          <p:nvPr>
            <p:custDataLst>
              <p:tags r:id="rId4"/>
            </p:custDataLst>
          </p:nvPr>
        </p:nvSpPr>
        <p:spPr bwMode="gray">
          <a:xfrm>
            <a:off x="7797800" y="2132013"/>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87" name="Oval 286">
            <a:extLst>
              <a:ext uri="{FF2B5EF4-FFF2-40B4-BE49-F238E27FC236}">
                <a16:creationId xmlns:a16="http://schemas.microsoft.com/office/drawing/2014/main" id="{44FA0609-EFBE-0BCB-50A4-0AD14E50A90D}"/>
              </a:ext>
            </a:extLst>
          </p:cNvPr>
          <p:cNvSpPr/>
          <p:nvPr>
            <p:custDataLst>
              <p:tags r:id="rId5"/>
            </p:custDataLst>
          </p:nvPr>
        </p:nvSpPr>
        <p:spPr bwMode="gray">
          <a:xfrm>
            <a:off x="6499225" y="2160588"/>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88" name="Text Placeholder 12">
            <a:extLst>
              <a:ext uri="{FF2B5EF4-FFF2-40B4-BE49-F238E27FC236}">
                <a16:creationId xmlns:a16="http://schemas.microsoft.com/office/drawing/2014/main" id="{3CF70C09-E6F2-EA2C-B24B-2F36A5586132}"/>
              </a:ext>
            </a:extLst>
          </p:cNvPr>
          <p:cNvSpPr>
            <a:spLocks/>
          </p:cNvSpPr>
          <p:nvPr>
            <p:custDataLst>
              <p:tags r:id="rId6"/>
            </p:custDataLst>
          </p:nvPr>
        </p:nvSpPr>
        <p:spPr bwMode="auto">
          <a:xfrm>
            <a:off x="6721475" y="2127250"/>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62104FD-37A8-41D2-9191-EC9713A8590A}" type="datetime'人''''''''''''''''口''''成''長''''率''（''''''''％''''''）'''''''''">
              <a:rPr lang="zh-TW" altLang="en-US" sz="1000" b="0" smtClean="0"/>
              <a:pPr/>
              <a:t>人口成長率（％）</a:t>
            </a:fld>
            <a:endParaRPr kumimoji="0" lang="ja-JP" altLang="en-US" sz="1000" b="0" dirty="0">
              <a:sym typeface="+mn-lt"/>
            </a:endParaRPr>
          </a:p>
        </p:txBody>
      </p:sp>
      <p:sp>
        <p:nvSpPr>
          <p:cNvPr id="289" name="Text Placeholder 12">
            <a:extLst>
              <a:ext uri="{FF2B5EF4-FFF2-40B4-BE49-F238E27FC236}">
                <a16:creationId xmlns:a16="http://schemas.microsoft.com/office/drawing/2014/main" id="{532E5E9A-4647-91B0-D74D-850307E33CA2}"/>
              </a:ext>
            </a:extLst>
          </p:cNvPr>
          <p:cNvSpPr>
            <a:spLocks/>
          </p:cNvSpPr>
          <p:nvPr>
            <p:custDataLst>
              <p:tags r:id="rId7"/>
            </p:custDataLst>
          </p:nvPr>
        </p:nvSpPr>
        <p:spPr bwMode="auto">
          <a:xfrm>
            <a:off x="8027988" y="21272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0BAE525-A14B-4864-89BA-8B1FE2218B33}" type="datetime'総''''''''計''''''（''''''''''''百万''''''''''''''人''''）'''''''">
              <a:rPr lang="zh-TW" altLang="en-US" sz="1000" b="0" smtClean="0"/>
              <a:pPr/>
              <a:t>総計（百万人）</a:t>
            </a:fld>
            <a:endParaRPr kumimoji="0" lang="ja-JP" altLang="en-US" sz="1000" b="0" dirty="0">
              <a:sym typeface="+mn-lt"/>
            </a:endParaRPr>
          </a:p>
        </p:txBody>
      </p:sp>
      <p:graphicFrame>
        <p:nvGraphicFramePr>
          <p:cNvPr id="689" name="Chart 688">
            <a:extLst>
              <a:ext uri="{FF2B5EF4-FFF2-40B4-BE49-F238E27FC236}">
                <a16:creationId xmlns:a16="http://schemas.microsoft.com/office/drawing/2014/main" id="{7A1F7DB4-DF71-8647-F6EE-FA1D94202FC8}"/>
              </a:ext>
            </a:extLst>
          </p:cNvPr>
          <p:cNvGraphicFramePr/>
          <p:nvPr>
            <p:custDataLst>
              <p:tags r:id="rId8"/>
            </p:custDataLst>
            <p:extLst>
              <p:ext uri="{D42A27DB-BD31-4B8C-83A1-F6EECF244321}">
                <p14:modId xmlns:p14="http://schemas.microsoft.com/office/powerpoint/2010/main" val="999887829"/>
              </p:ext>
            </p:extLst>
          </p:nvPr>
        </p:nvGraphicFramePr>
        <p:xfrm>
          <a:off x="581025" y="2301875"/>
          <a:ext cx="9324975" cy="1652588"/>
        </p:xfrm>
        <a:graphic>
          <a:graphicData uri="http://schemas.openxmlformats.org/drawingml/2006/chart">
            <c:chart xmlns:c="http://schemas.openxmlformats.org/drawingml/2006/chart" xmlns:r="http://schemas.openxmlformats.org/officeDocument/2006/relationships" r:id="rId287"/>
          </a:graphicData>
        </a:graphic>
      </p:graphicFrame>
      <p:sp>
        <p:nvSpPr>
          <p:cNvPr id="635" name="テキスト プレースホルダ 9">
            <a:extLst>
              <a:ext uri="{FF2B5EF4-FFF2-40B4-BE49-F238E27FC236}">
                <a16:creationId xmlns:a16="http://schemas.microsoft.com/office/drawing/2014/main" id="{5E74D0EA-7F43-B843-8315-7520BA0A1DD4}"/>
              </a:ext>
            </a:extLst>
          </p:cNvPr>
          <p:cNvSpPr>
            <a:spLocks/>
          </p:cNvSpPr>
          <p:nvPr>
            <p:custDataLst>
              <p:tags r:id="rId9"/>
            </p:custDataLst>
          </p:nvPr>
        </p:nvSpPr>
        <p:spPr bwMode="gray">
          <a:xfrm>
            <a:off x="46513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03E3E0D-AE37-4145-97FC-D1059D969A5F}"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637" name="テキスト プレースホルダ 9">
            <a:extLst>
              <a:ext uri="{FF2B5EF4-FFF2-40B4-BE49-F238E27FC236}">
                <a16:creationId xmlns:a16="http://schemas.microsoft.com/office/drawing/2014/main" id="{FE01E4F1-1B75-67D4-D321-71B2DF62F0B1}"/>
              </a:ext>
            </a:extLst>
          </p:cNvPr>
          <p:cNvSpPr>
            <a:spLocks/>
          </p:cNvSpPr>
          <p:nvPr>
            <p:custDataLst>
              <p:tags r:id="rId10"/>
            </p:custDataLst>
          </p:nvPr>
        </p:nvSpPr>
        <p:spPr bwMode="gray">
          <a:xfrm>
            <a:off x="465138" y="3484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614D319-FAFD-4C5F-B706-C2F86B88A141}"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639" name="テキスト プレースホルダ 9">
            <a:extLst>
              <a:ext uri="{FF2B5EF4-FFF2-40B4-BE49-F238E27FC236}">
                <a16:creationId xmlns:a16="http://schemas.microsoft.com/office/drawing/2014/main" id="{3507D3CC-932D-61C0-91DC-1E75D703E301}"/>
              </a:ext>
            </a:extLst>
          </p:cNvPr>
          <p:cNvSpPr>
            <a:spLocks/>
          </p:cNvSpPr>
          <p:nvPr>
            <p:custDataLst>
              <p:tags r:id="rId11"/>
            </p:custDataLst>
          </p:nvPr>
        </p:nvSpPr>
        <p:spPr bwMode="gray">
          <a:xfrm>
            <a:off x="465138" y="33162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1375ACD-CFA2-4D55-B8BA-DA8E39C494B2}"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641" name="テキスト プレースホルダ 9">
            <a:extLst>
              <a:ext uri="{FF2B5EF4-FFF2-40B4-BE49-F238E27FC236}">
                <a16:creationId xmlns:a16="http://schemas.microsoft.com/office/drawing/2014/main" id="{BDE5FD06-FAEF-A418-9863-CF3EB51B6150}"/>
              </a:ext>
            </a:extLst>
          </p:cNvPr>
          <p:cNvSpPr>
            <a:spLocks/>
          </p:cNvSpPr>
          <p:nvPr>
            <p:custDataLst>
              <p:tags r:id="rId12"/>
            </p:custDataLst>
          </p:nvPr>
        </p:nvSpPr>
        <p:spPr bwMode="gray">
          <a:xfrm>
            <a:off x="465138" y="3148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BED5737-BB29-4644-8D29-B59FD057CFF5}"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651" name="テキスト プレースホルダ 9">
            <a:extLst>
              <a:ext uri="{FF2B5EF4-FFF2-40B4-BE49-F238E27FC236}">
                <a16:creationId xmlns:a16="http://schemas.microsoft.com/office/drawing/2014/main" id="{888A1348-E08C-C8EE-06DE-7BD8440F7F89}"/>
              </a:ext>
            </a:extLst>
          </p:cNvPr>
          <p:cNvSpPr>
            <a:spLocks/>
          </p:cNvSpPr>
          <p:nvPr>
            <p:custDataLst>
              <p:tags r:id="rId13"/>
            </p:custDataLst>
          </p:nvPr>
        </p:nvSpPr>
        <p:spPr bwMode="gray">
          <a:xfrm>
            <a:off x="465138" y="297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5F2245-E005-44B0-A8D2-FB6A45252192}"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652" name="テキスト プレースホルダ 9">
            <a:extLst>
              <a:ext uri="{FF2B5EF4-FFF2-40B4-BE49-F238E27FC236}">
                <a16:creationId xmlns:a16="http://schemas.microsoft.com/office/drawing/2014/main" id="{870697E3-63F6-E7A0-7F47-3841D6B6BA19}"/>
              </a:ext>
            </a:extLst>
          </p:cNvPr>
          <p:cNvSpPr>
            <a:spLocks/>
          </p:cNvSpPr>
          <p:nvPr>
            <p:custDataLst>
              <p:tags r:id="rId14"/>
            </p:custDataLst>
          </p:nvPr>
        </p:nvSpPr>
        <p:spPr bwMode="gray">
          <a:xfrm>
            <a:off x="395288" y="2811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80EAC9D-35DC-40B9-9062-8AF49A31C5EB}"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659" name="テキスト プレースホルダ 9">
            <a:extLst>
              <a:ext uri="{FF2B5EF4-FFF2-40B4-BE49-F238E27FC236}">
                <a16:creationId xmlns:a16="http://schemas.microsoft.com/office/drawing/2014/main" id="{6A8247EC-6F95-A412-9169-53ED8F32F60D}"/>
              </a:ext>
            </a:extLst>
          </p:cNvPr>
          <p:cNvSpPr>
            <a:spLocks/>
          </p:cNvSpPr>
          <p:nvPr>
            <p:custDataLst>
              <p:tags r:id="rId15"/>
            </p:custDataLst>
          </p:nvPr>
        </p:nvSpPr>
        <p:spPr bwMode="gray">
          <a:xfrm>
            <a:off x="395288" y="2643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2F2F70-5D03-47C9-B350-0C28A7A6A06C}"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660" name="テキスト プレースホルダ 9">
            <a:extLst>
              <a:ext uri="{FF2B5EF4-FFF2-40B4-BE49-F238E27FC236}">
                <a16:creationId xmlns:a16="http://schemas.microsoft.com/office/drawing/2014/main" id="{C9B8C6AA-2F2F-7018-6FD2-FA3FC44E9C5D}"/>
              </a:ext>
            </a:extLst>
          </p:cNvPr>
          <p:cNvSpPr>
            <a:spLocks/>
          </p:cNvSpPr>
          <p:nvPr>
            <p:custDataLst>
              <p:tags r:id="rId16"/>
            </p:custDataLst>
          </p:nvPr>
        </p:nvSpPr>
        <p:spPr bwMode="gray">
          <a:xfrm>
            <a:off x="395288" y="2474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6B7DD3-BFB3-4D02-A7B4-52E53DEFC98E}"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cxnSp>
        <p:nvCxnSpPr>
          <p:cNvPr id="661" name="Straight Connector 660">
            <a:extLst>
              <a:ext uri="{FF2B5EF4-FFF2-40B4-BE49-F238E27FC236}">
                <a16:creationId xmlns:a16="http://schemas.microsoft.com/office/drawing/2014/main" id="{CE39BFB8-9E73-8635-740B-6A1E52AAF266}"/>
              </a:ext>
            </a:extLst>
          </p:cNvPr>
          <p:cNvCxnSpPr>
            <a:cxnSpLocks/>
          </p:cNvCxnSpPr>
          <p:nvPr>
            <p:custDataLst>
              <p:tags r:id="rId17"/>
            </p:custDataLst>
          </p:nvPr>
        </p:nvCxnSpPr>
        <p:spPr bwMode="auto">
          <a:xfrm>
            <a:off x="6924675" y="3122613"/>
            <a:ext cx="23813" cy="320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6" name="テキスト プレースホルダ 9">
            <a:extLst>
              <a:ext uri="{FF2B5EF4-FFF2-40B4-BE49-F238E27FC236}">
                <a16:creationId xmlns:a16="http://schemas.microsoft.com/office/drawing/2014/main" id="{D926B7A9-C286-9F77-7C2E-04B025B2F873}"/>
              </a:ext>
            </a:extLst>
          </p:cNvPr>
          <p:cNvSpPr>
            <a:spLocks/>
          </p:cNvSpPr>
          <p:nvPr>
            <p:custDataLst>
              <p:tags r:id="rId18"/>
            </p:custDataLst>
          </p:nvPr>
        </p:nvSpPr>
        <p:spPr bwMode="gray">
          <a:xfrm>
            <a:off x="720725" y="34909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DD1393-AD39-485A-90B0-9DED9195FFE1}"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p:nvSpPr>
          <p:cNvPr id="334" name="テキスト プレースホルダ 9">
            <a:extLst>
              <a:ext uri="{FF2B5EF4-FFF2-40B4-BE49-F238E27FC236}">
                <a16:creationId xmlns:a16="http://schemas.microsoft.com/office/drawing/2014/main" id="{07CBE059-0B18-944D-C2BB-8D6E4A8E5FEC}"/>
              </a:ext>
            </a:extLst>
          </p:cNvPr>
          <p:cNvSpPr>
            <a:spLocks/>
          </p:cNvSpPr>
          <p:nvPr>
            <p:custDataLst>
              <p:tags r:id="rId19"/>
            </p:custDataLst>
          </p:nvPr>
        </p:nvSpPr>
        <p:spPr bwMode="auto">
          <a:xfrm>
            <a:off x="669925" y="38147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140A6-D5F9-48F7-91F9-69AA4115AB80}" type="datetime'''2''''''0''''''''''0''''''''''0'">
              <a:rPr lang="ja-JP" altLang="en-US" sz="1000" smtClean="0"/>
              <a:pPr/>
              <a:t>2000</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49DA2E7F-EF62-AEA6-918D-49F19F49EA78}"/>
              </a:ext>
            </a:extLst>
          </p:cNvPr>
          <p:cNvSpPr>
            <a:spLocks/>
          </p:cNvSpPr>
          <p:nvPr>
            <p:custDataLst>
              <p:tags r:id="rId20"/>
            </p:custDataLst>
          </p:nvPr>
        </p:nvSpPr>
        <p:spPr bwMode="gray">
          <a:xfrm>
            <a:off x="1028700" y="34877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9EB8-8C7E-47A3-910B-34FC98C5232A}"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5" name="テキスト プレースホルダ 9">
            <a:extLst>
              <a:ext uri="{FF2B5EF4-FFF2-40B4-BE49-F238E27FC236}">
                <a16:creationId xmlns:a16="http://schemas.microsoft.com/office/drawing/2014/main" id="{0C8E3C99-B338-F7A5-AA66-2FB58205F4A3}"/>
              </a:ext>
            </a:extLst>
          </p:cNvPr>
          <p:cNvSpPr>
            <a:spLocks/>
          </p:cNvSpPr>
          <p:nvPr>
            <p:custDataLst>
              <p:tags r:id="rId21"/>
            </p:custDataLst>
          </p:nvPr>
        </p:nvSpPr>
        <p:spPr bwMode="auto">
          <a:xfrm>
            <a:off x="10477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0A6067-DD29-451F-B2B7-A837EBBD03B4}" type="datetime'0''''''1'''''''''''''''''''''''''''''''''''''''''''''">
              <a:rPr lang="ja-JP" altLang="en-US" sz="1000" smtClean="0"/>
              <a:pPr/>
              <a:t>01</a:t>
            </a:fld>
            <a:endParaRPr kumimoji="1" lang="ja-JP" altLang="en-US" sz="1000" dirty="0">
              <a:sym typeface="+mn-lt"/>
            </a:endParaRPr>
          </a:p>
        </p:txBody>
      </p:sp>
      <p:sp>
        <p:nvSpPr>
          <p:cNvPr id="608" name="テキスト プレースホルダ 9">
            <a:extLst>
              <a:ext uri="{FF2B5EF4-FFF2-40B4-BE49-F238E27FC236}">
                <a16:creationId xmlns:a16="http://schemas.microsoft.com/office/drawing/2014/main" id="{B2AA3884-FA34-F1E6-C34D-4B35DA6A6570}"/>
              </a:ext>
            </a:extLst>
          </p:cNvPr>
          <p:cNvSpPr>
            <a:spLocks/>
          </p:cNvSpPr>
          <p:nvPr>
            <p:custDataLst>
              <p:tags r:id="rId22"/>
            </p:custDataLst>
          </p:nvPr>
        </p:nvSpPr>
        <p:spPr bwMode="gray">
          <a:xfrm>
            <a:off x="1335088" y="34861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62965-F39F-4684-A08F-61E84019548A}"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6" name="テキスト プレースホルダ 9">
            <a:extLst>
              <a:ext uri="{FF2B5EF4-FFF2-40B4-BE49-F238E27FC236}">
                <a16:creationId xmlns:a16="http://schemas.microsoft.com/office/drawing/2014/main" id="{9F6807EF-13D7-E208-DC46-4DA35EBC7FC6}"/>
              </a:ext>
            </a:extLst>
          </p:cNvPr>
          <p:cNvSpPr>
            <a:spLocks/>
          </p:cNvSpPr>
          <p:nvPr>
            <p:custDataLst>
              <p:tags r:id="rId23"/>
            </p:custDataLst>
          </p:nvPr>
        </p:nvSpPr>
        <p:spPr bwMode="auto">
          <a:xfrm>
            <a:off x="13541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170272-68C1-494A-92A5-14F2EAC0991A}" type="datetime'''''''''''''''0''''''2'''''''''''''''''''''''''''''''">
              <a:rPr lang="ja-JP" altLang="en-US" sz="1000" smtClean="0"/>
              <a:pPr/>
              <a:t>02</a:t>
            </a:fld>
            <a:endParaRPr kumimoji="1" lang="ja-JP" altLang="en-US" sz="1000" dirty="0">
              <a:sym typeface="+mn-lt"/>
            </a:endParaRPr>
          </a:p>
        </p:txBody>
      </p:sp>
      <p:sp>
        <p:nvSpPr>
          <p:cNvPr id="609" name="テキスト プレースホルダ 9">
            <a:extLst>
              <a:ext uri="{FF2B5EF4-FFF2-40B4-BE49-F238E27FC236}">
                <a16:creationId xmlns:a16="http://schemas.microsoft.com/office/drawing/2014/main" id="{D19BDB41-B0A7-AE3A-0369-37137C3E2EE2}"/>
              </a:ext>
            </a:extLst>
          </p:cNvPr>
          <p:cNvSpPr>
            <a:spLocks/>
          </p:cNvSpPr>
          <p:nvPr>
            <p:custDataLst>
              <p:tags r:id="rId24"/>
            </p:custDataLst>
          </p:nvPr>
        </p:nvSpPr>
        <p:spPr bwMode="gray">
          <a:xfrm>
            <a:off x="1641475" y="34861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1D0F51-1583-40DB-B33D-8DF092D0E3C8}"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7" name="テキスト プレースホルダ 9">
            <a:extLst>
              <a:ext uri="{FF2B5EF4-FFF2-40B4-BE49-F238E27FC236}">
                <a16:creationId xmlns:a16="http://schemas.microsoft.com/office/drawing/2014/main" id="{6CDA0B9D-C465-6FE8-8AFB-F9026C00764E}"/>
              </a:ext>
            </a:extLst>
          </p:cNvPr>
          <p:cNvSpPr>
            <a:spLocks/>
          </p:cNvSpPr>
          <p:nvPr>
            <p:custDataLst>
              <p:tags r:id="rId25"/>
            </p:custDataLst>
          </p:nvPr>
        </p:nvSpPr>
        <p:spPr bwMode="auto">
          <a:xfrm>
            <a:off x="16605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666F0E-B436-44E6-B1EC-9FA8736DCD53}" type="datetime'''''''''''''''''''''0''''''''''''''''''3'''''''''">
              <a:rPr lang="ja-JP" altLang="en-US" sz="1000" smtClean="0"/>
              <a:pPr/>
              <a:t>03</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CB6EDB4D-8617-9FD3-12F2-39CB45761872}"/>
              </a:ext>
            </a:extLst>
          </p:cNvPr>
          <p:cNvSpPr>
            <a:spLocks/>
          </p:cNvSpPr>
          <p:nvPr>
            <p:custDataLst>
              <p:tags r:id="rId26"/>
            </p:custDataLst>
          </p:nvPr>
        </p:nvSpPr>
        <p:spPr bwMode="gray">
          <a:xfrm>
            <a:off x="1947863" y="34845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C4F92C-035A-454E-A70B-B3F11300FC21}" type="datetime'''''''''''4''''''''.''2'''''''''''''''''''''''''''''''''''''''">
              <a:rPr lang="ja-JP" altLang="en-US" sz="900" smtClean="0">
                <a:effectLst/>
                <a:sym typeface="+mn-lt"/>
              </a:rPr>
              <a:pPr marL="0" lvl="0" indent="0" algn="ctr">
                <a:spcBef>
                  <a:spcPct val="0"/>
                </a:spcBef>
                <a:buNone/>
              </a:pPr>
              <a:t>4.2</a:t>
            </a:fld>
            <a:endParaRPr kumimoji="1" lang="ja-JP" altLang="en-US" sz="900" dirty="0">
              <a:sym typeface="+mn-lt"/>
            </a:endParaRPr>
          </a:p>
        </p:txBody>
      </p:sp>
      <p:sp>
        <p:nvSpPr>
          <p:cNvPr id="338" name="テキスト プレースホルダ 9">
            <a:extLst>
              <a:ext uri="{FF2B5EF4-FFF2-40B4-BE49-F238E27FC236}">
                <a16:creationId xmlns:a16="http://schemas.microsoft.com/office/drawing/2014/main" id="{8D346ECE-BDF1-49E0-723C-BF02B2569F0D}"/>
              </a:ext>
            </a:extLst>
          </p:cNvPr>
          <p:cNvSpPr>
            <a:spLocks/>
          </p:cNvSpPr>
          <p:nvPr>
            <p:custDataLst>
              <p:tags r:id="rId27"/>
            </p:custDataLst>
          </p:nvPr>
        </p:nvSpPr>
        <p:spPr bwMode="auto">
          <a:xfrm>
            <a:off x="1966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1B2268-CA3F-48B7-9F09-0D897CA4697A}" type="datetime'''''0''''''4'''''''''''''''''''''''''''''''''''''''''''''''">
              <a:rPr lang="ja-JP" altLang="en-US" sz="1000" smtClean="0"/>
              <a:pPr/>
              <a:t>04</a:t>
            </a:fld>
            <a:endParaRPr kumimoji="1" lang="ja-JP" altLang="en-US" sz="1000" dirty="0">
              <a:sym typeface="+mn-lt"/>
            </a:endParaRPr>
          </a:p>
        </p:txBody>
      </p:sp>
      <p:sp>
        <p:nvSpPr>
          <p:cNvPr id="611" name="テキスト プレースホルダ 9">
            <a:extLst>
              <a:ext uri="{FF2B5EF4-FFF2-40B4-BE49-F238E27FC236}">
                <a16:creationId xmlns:a16="http://schemas.microsoft.com/office/drawing/2014/main" id="{F341167A-BA27-F9D9-8200-C3913614D177}"/>
              </a:ext>
            </a:extLst>
          </p:cNvPr>
          <p:cNvSpPr>
            <a:spLocks/>
          </p:cNvSpPr>
          <p:nvPr>
            <p:custDataLst>
              <p:tags r:id="rId28"/>
            </p:custDataLst>
          </p:nvPr>
        </p:nvSpPr>
        <p:spPr bwMode="gray">
          <a:xfrm>
            <a:off x="2255838" y="348138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1E04E-3D0A-49DD-A751-73F5A7A22A9D}" type="datetime'''''''''''4''''''''''''''''''''''''''''''''.''''3'''''''''''">
              <a:rPr lang="ja-JP" altLang="en-US" sz="900" smtClean="0">
                <a:effectLst/>
                <a:sym typeface="+mn-lt"/>
              </a:rPr>
              <a:pPr marL="0" lvl="0" indent="0" algn="ctr">
                <a:spcBef>
                  <a:spcPct val="0"/>
                </a:spcBef>
                <a:buNone/>
              </a:pPr>
              <a:t>4.3</a:t>
            </a:fld>
            <a:endParaRPr kumimoji="1" lang="ja-JP" altLang="en-US" sz="900" dirty="0">
              <a:sym typeface="+mn-lt"/>
            </a:endParaRPr>
          </a:p>
        </p:txBody>
      </p:sp>
      <p:sp>
        <p:nvSpPr>
          <p:cNvPr id="339" name="テキスト プレースホルダ 9">
            <a:extLst>
              <a:ext uri="{FF2B5EF4-FFF2-40B4-BE49-F238E27FC236}">
                <a16:creationId xmlns:a16="http://schemas.microsoft.com/office/drawing/2014/main" id="{79F67076-B8D2-806E-CE91-C16F31F30951}"/>
              </a:ext>
            </a:extLst>
          </p:cNvPr>
          <p:cNvSpPr>
            <a:spLocks/>
          </p:cNvSpPr>
          <p:nvPr>
            <p:custDataLst>
              <p:tags r:id="rId29"/>
            </p:custDataLst>
          </p:nvPr>
        </p:nvSpPr>
        <p:spPr bwMode="auto">
          <a:xfrm>
            <a:off x="22748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D2AA4-3EA5-4543-9F89-5589F6D93BE3}" type="datetime'''''''''''''''''0''''''''''''''5'''''">
              <a:rPr lang="ja-JP" altLang="en-US" sz="1000" smtClean="0"/>
              <a:pPr/>
              <a:t>05</a:t>
            </a:fld>
            <a:endParaRPr kumimoji="1" lang="ja-JP" altLang="en-US" sz="1000" dirty="0">
              <a:sym typeface="+mn-lt"/>
            </a:endParaRPr>
          </a:p>
        </p:txBody>
      </p:sp>
      <p:sp>
        <p:nvSpPr>
          <p:cNvPr id="612" name="テキスト プレースホルダ 9">
            <a:extLst>
              <a:ext uri="{FF2B5EF4-FFF2-40B4-BE49-F238E27FC236}">
                <a16:creationId xmlns:a16="http://schemas.microsoft.com/office/drawing/2014/main" id="{8E1EDA14-DDFE-98B5-1427-C19D68859713}"/>
              </a:ext>
            </a:extLst>
          </p:cNvPr>
          <p:cNvSpPr>
            <a:spLocks/>
          </p:cNvSpPr>
          <p:nvPr>
            <p:custDataLst>
              <p:tags r:id="rId30"/>
            </p:custDataLst>
          </p:nvPr>
        </p:nvSpPr>
        <p:spPr bwMode="gray">
          <a:xfrm>
            <a:off x="2562225" y="34750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651E21-4039-4630-BE2F-21AE9B73BF9C}" type="datetime'''4''''''''''''''''''.''4'''''''''''''''">
              <a:rPr lang="ja-JP" altLang="en-US" sz="900" smtClean="0">
                <a:effectLst/>
                <a:sym typeface="+mn-lt"/>
              </a:rPr>
              <a:pPr marL="0" lvl="0" indent="0" algn="ctr">
                <a:spcBef>
                  <a:spcPct val="0"/>
                </a:spcBef>
                <a:buNone/>
              </a:pPr>
              <a:t>4.4</a:t>
            </a:fld>
            <a:endParaRPr kumimoji="1" lang="ja-JP" altLang="en-US" sz="900" dirty="0">
              <a:sym typeface="+mn-lt"/>
            </a:endParaRPr>
          </a:p>
        </p:txBody>
      </p:sp>
      <p:sp>
        <p:nvSpPr>
          <p:cNvPr id="340" name="テキスト プレースホルダ 9">
            <a:extLst>
              <a:ext uri="{FF2B5EF4-FFF2-40B4-BE49-F238E27FC236}">
                <a16:creationId xmlns:a16="http://schemas.microsoft.com/office/drawing/2014/main" id="{843F4B65-5401-F892-693D-043A57452AD9}"/>
              </a:ext>
            </a:extLst>
          </p:cNvPr>
          <p:cNvSpPr>
            <a:spLocks/>
          </p:cNvSpPr>
          <p:nvPr>
            <p:custDataLst>
              <p:tags r:id="rId31"/>
            </p:custDataLst>
          </p:nvPr>
        </p:nvSpPr>
        <p:spPr bwMode="auto">
          <a:xfrm>
            <a:off x="25812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E02A5-7CB7-4B4A-898C-A753AECC3696}" type="datetime'''''''''''''''''''''0''''''''''''6'''''''">
              <a:rPr lang="ja-JP" altLang="en-US" sz="1000" smtClean="0"/>
              <a:pPr/>
              <a:t>06</a:t>
            </a:fld>
            <a:endParaRPr kumimoji="1" lang="ja-JP" altLang="en-US" sz="1000" dirty="0">
              <a:sym typeface="+mn-lt"/>
            </a:endParaRPr>
          </a:p>
        </p:txBody>
      </p:sp>
      <p:sp>
        <p:nvSpPr>
          <p:cNvPr id="613" name="テキスト プレースホルダ 9">
            <a:extLst>
              <a:ext uri="{FF2B5EF4-FFF2-40B4-BE49-F238E27FC236}">
                <a16:creationId xmlns:a16="http://schemas.microsoft.com/office/drawing/2014/main" id="{EFCF224E-C850-58CE-5D03-36BD7DC2E073}"/>
              </a:ext>
            </a:extLst>
          </p:cNvPr>
          <p:cNvSpPr>
            <a:spLocks/>
          </p:cNvSpPr>
          <p:nvPr>
            <p:custDataLst>
              <p:tags r:id="rId32"/>
            </p:custDataLst>
          </p:nvPr>
        </p:nvSpPr>
        <p:spPr bwMode="gray">
          <a:xfrm>
            <a:off x="2868613" y="34671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382246-A3D7-47A6-A02B-CE79F65A3433}" type="datetime'''''''''''''''''''''''''4''''.''''''''''''6'''''''''''''''">
              <a:rPr lang="ja-JP" altLang="en-US" sz="900" smtClean="0">
                <a:effectLst/>
                <a:sym typeface="+mn-lt"/>
              </a:rPr>
              <a:pPr marL="0" lvl="0" indent="0" algn="ctr">
                <a:spcBef>
                  <a:spcPct val="0"/>
                </a:spcBef>
                <a:buNone/>
              </a:pPr>
              <a:t>4.6</a:t>
            </a:fld>
            <a:endParaRPr kumimoji="1" lang="ja-JP" altLang="en-US" sz="900" dirty="0">
              <a:sym typeface="+mn-lt"/>
            </a:endParaRPr>
          </a:p>
        </p:txBody>
      </p:sp>
      <p:sp>
        <p:nvSpPr>
          <p:cNvPr id="341" name="テキスト プレースホルダ 9">
            <a:extLst>
              <a:ext uri="{FF2B5EF4-FFF2-40B4-BE49-F238E27FC236}">
                <a16:creationId xmlns:a16="http://schemas.microsoft.com/office/drawing/2014/main" id="{07411B3F-1EE2-5117-D45B-EDAA4AC5D267}"/>
              </a:ext>
            </a:extLst>
          </p:cNvPr>
          <p:cNvSpPr>
            <a:spLocks/>
          </p:cNvSpPr>
          <p:nvPr>
            <p:custDataLst>
              <p:tags r:id="rId33"/>
            </p:custDataLst>
          </p:nvPr>
        </p:nvSpPr>
        <p:spPr bwMode="auto">
          <a:xfrm>
            <a:off x="28876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3DCFC-C394-4D44-A878-CAD718AF47C7}" type="datetime'0''''''''''''''''''7'''''''''''''">
              <a:rPr lang="ja-JP" altLang="en-US" sz="1000" smtClean="0"/>
              <a:pPr/>
              <a:t>07</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31B0FF16-6AD5-E2EE-7B0E-9A1AD00F7C59}"/>
              </a:ext>
            </a:extLst>
          </p:cNvPr>
          <p:cNvSpPr>
            <a:spLocks/>
          </p:cNvSpPr>
          <p:nvPr>
            <p:custDataLst>
              <p:tags r:id="rId34"/>
            </p:custDataLst>
          </p:nvPr>
        </p:nvSpPr>
        <p:spPr bwMode="gray">
          <a:xfrm>
            <a:off x="3175000" y="345757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2B1FE8-B27F-43D7-96AB-4FD6665BE125}" type="datetime'''''''''4''''''''''''''''''''''''''''.''''''''''''''8'''''''">
              <a:rPr lang="ja-JP" altLang="en-US" sz="900" smtClean="0">
                <a:effectLst/>
                <a:sym typeface="+mn-lt"/>
              </a:rPr>
              <a:pPr marL="0" lvl="0" indent="0" algn="ctr">
                <a:spcBef>
                  <a:spcPct val="0"/>
                </a:spcBef>
                <a:buNone/>
              </a:pPr>
              <a:t>4.8</a:t>
            </a:fld>
            <a:endParaRPr kumimoji="1" lang="ja-JP" altLang="en-US" sz="900" dirty="0">
              <a:sym typeface="+mn-lt"/>
            </a:endParaRPr>
          </a:p>
        </p:txBody>
      </p:sp>
      <p:sp>
        <p:nvSpPr>
          <p:cNvPr id="342" name="テキスト プレースホルダ 9">
            <a:extLst>
              <a:ext uri="{FF2B5EF4-FFF2-40B4-BE49-F238E27FC236}">
                <a16:creationId xmlns:a16="http://schemas.microsoft.com/office/drawing/2014/main" id="{2E252CC9-252E-B3F6-9720-58FC31672AC0}"/>
              </a:ext>
            </a:extLst>
          </p:cNvPr>
          <p:cNvSpPr>
            <a:spLocks/>
          </p:cNvSpPr>
          <p:nvPr>
            <p:custDataLst>
              <p:tags r:id="rId35"/>
            </p:custDataLst>
          </p:nvPr>
        </p:nvSpPr>
        <p:spPr bwMode="auto">
          <a:xfrm>
            <a:off x="3194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C31BF2-29DF-42A2-BD62-F85AE577119B}" type="datetime'''0''''''''''''''''8'''''''''''''''''''">
              <a:rPr lang="ja-JP" altLang="en-US" sz="1000" smtClean="0"/>
              <a:pPr/>
              <a:t>08</a:t>
            </a:fld>
            <a:endParaRPr kumimoji="1" lang="ja-JP" altLang="en-US" sz="1000" dirty="0">
              <a:sym typeface="+mn-lt"/>
            </a:endParaRPr>
          </a:p>
        </p:txBody>
      </p:sp>
      <p:sp>
        <p:nvSpPr>
          <p:cNvPr id="615" name="テキスト プレースホルダ 9">
            <a:extLst>
              <a:ext uri="{FF2B5EF4-FFF2-40B4-BE49-F238E27FC236}">
                <a16:creationId xmlns:a16="http://schemas.microsoft.com/office/drawing/2014/main" id="{58EE9095-A05A-D778-5B55-9BAEED9DD288}"/>
              </a:ext>
            </a:extLst>
          </p:cNvPr>
          <p:cNvSpPr>
            <a:spLocks/>
          </p:cNvSpPr>
          <p:nvPr>
            <p:custDataLst>
              <p:tags r:id="rId36"/>
            </p:custDataLst>
          </p:nvPr>
        </p:nvSpPr>
        <p:spPr bwMode="gray">
          <a:xfrm>
            <a:off x="3482975" y="34512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928B4B-6950-434C-90A3-AAB1DF6C9955}"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352" name="テキスト プレースホルダ 9">
            <a:extLst>
              <a:ext uri="{FF2B5EF4-FFF2-40B4-BE49-F238E27FC236}">
                <a16:creationId xmlns:a16="http://schemas.microsoft.com/office/drawing/2014/main" id="{9DE5B057-AE0F-903E-51BB-D8B5D20B7733}"/>
              </a:ext>
            </a:extLst>
          </p:cNvPr>
          <p:cNvSpPr>
            <a:spLocks/>
          </p:cNvSpPr>
          <p:nvPr>
            <p:custDataLst>
              <p:tags r:id="rId37"/>
            </p:custDataLst>
          </p:nvPr>
        </p:nvSpPr>
        <p:spPr bwMode="auto">
          <a:xfrm>
            <a:off x="35020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AE750-8DF5-4834-B16C-F2708E4FF731}" type="datetime'''0''''''''9'''''''''''''">
              <a:rPr lang="ja-JP" altLang="en-US" sz="1000" smtClean="0"/>
              <a:pPr/>
              <a:t>09</a:t>
            </a:fld>
            <a:endParaRPr kumimoji="1" lang="ja-JP" altLang="en-US" sz="1000" dirty="0">
              <a:sym typeface="+mn-lt"/>
            </a:endParaRPr>
          </a:p>
        </p:txBody>
      </p:sp>
      <p:sp>
        <p:nvSpPr>
          <p:cNvPr id="616" name="テキスト プレースホルダ 9">
            <a:extLst>
              <a:ext uri="{FF2B5EF4-FFF2-40B4-BE49-F238E27FC236}">
                <a16:creationId xmlns:a16="http://schemas.microsoft.com/office/drawing/2014/main" id="{E698089C-9BE3-145C-4131-8DC35282D9B8}"/>
              </a:ext>
            </a:extLst>
          </p:cNvPr>
          <p:cNvSpPr>
            <a:spLocks/>
          </p:cNvSpPr>
          <p:nvPr>
            <p:custDataLst>
              <p:tags r:id="rId38"/>
            </p:custDataLst>
          </p:nvPr>
        </p:nvSpPr>
        <p:spPr bwMode="gray">
          <a:xfrm>
            <a:off x="3789363" y="34464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E449E-5CA8-4CED-AB59-8C746C92ACB8}" type="datetime'''''''''5''''''''''.1'''''''''''''''''''''''''''''''''">
              <a:rPr lang="ja-JP" altLang="en-US" sz="900" smtClean="0">
                <a:effectLst/>
                <a:sym typeface="+mn-lt"/>
              </a:rPr>
              <a:pPr marL="0" lvl="0" indent="0" algn="ctr">
                <a:spcBef>
                  <a:spcPct val="0"/>
                </a:spcBef>
                <a:buNone/>
              </a:pPr>
              <a:t>5.1</a:t>
            </a:fld>
            <a:endParaRPr kumimoji="1" lang="ja-JP" altLang="en-US" sz="900" dirty="0">
              <a:sym typeface="+mn-lt"/>
            </a:endParaRPr>
          </a:p>
        </p:txBody>
      </p:sp>
      <p:sp>
        <p:nvSpPr>
          <p:cNvPr id="344" name="テキスト プレースホルダ 9">
            <a:extLst>
              <a:ext uri="{FF2B5EF4-FFF2-40B4-BE49-F238E27FC236}">
                <a16:creationId xmlns:a16="http://schemas.microsoft.com/office/drawing/2014/main" id="{EE2CB51B-9059-F86C-88BD-500CA2659632}"/>
              </a:ext>
            </a:extLst>
          </p:cNvPr>
          <p:cNvSpPr>
            <a:spLocks/>
          </p:cNvSpPr>
          <p:nvPr>
            <p:custDataLst>
              <p:tags r:id="rId39"/>
            </p:custDataLst>
          </p:nvPr>
        </p:nvSpPr>
        <p:spPr bwMode="auto">
          <a:xfrm>
            <a:off x="38084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EBD85C-6471-4955-B46A-79933F702916}" type="datetime'''''1''''''''''''''''''''''0'''''''''''''''''">
              <a:rPr lang="ja-JP" altLang="en-US" sz="1000" smtClean="0"/>
              <a:pPr/>
              <a:t>10</a:t>
            </a:fld>
            <a:endParaRPr kumimoji="1" lang="ja-JP" altLang="en-US" sz="1000" dirty="0">
              <a:sym typeface="+mn-lt"/>
            </a:endParaRPr>
          </a:p>
        </p:txBody>
      </p:sp>
      <p:sp>
        <p:nvSpPr>
          <p:cNvPr id="617" name="テキスト プレースホルダ 9">
            <a:extLst>
              <a:ext uri="{FF2B5EF4-FFF2-40B4-BE49-F238E27FC236}">
                <a16:creationId xmlns:a16="http://schemas.microsoft.com/office/drawing/2014/main" id="{FAE93A3C-7764-A231-5809-05DE6F0EE118}"/>
              </a:ext>
            </a:extLst>
          </p:cNvPr>
          <p:cNvSpPr>
            <a:spLocks/>
          </p:cNvSpPr>
          <p:nvPr>
            <p:custDataLst>
              <p:tags r:id="rId40"/>
            </p:custDataLst>
          </p:nvPr>
        </p:nvSpPr>
        <p:spPr bwMode="gray">
          <a:xfrm>
            <a:off x="4095750" y="34417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BF05F-42F2-456E-B5EC-DB5FFE964FBD}" type="datetime'''''5''''''''''''''''''''''''''''''.''2'''''''''">
              <a:rPr lang="ja-JP" altLang="en-US" sz="900" smtClean="0">
                <a:effectLst/>
                <a:sym typeface="+mn-lt"/>
              </a:rPr>
              <a:pPr marL="0" lvl="0" indent="0" algn="ctr">
                <a:spcBef>
                  <a:spcPct val="0"/>
                </a:spcBef>
                <a:buNone/>
              </a:pPr>
              <a:t>5.2</a:t>
            </a:fld>
            <a:endParaRPr kumimoji="1" lang="ja-JP" altLang="en-US" sz="900" dirty="0">
              <a:sym typeface="+mn-lt"/>
            </a:endParaRPr>
          </a:p>
        </p:txBody>
      </p:sp>
      <p:sp>
        <p:nvSpPr>
          <p:cNvPr id="345" name="テキスト プレースホルダ 9">
            <a:extLst>
              <a:ext uri="{FF2B5EF4-FFF2-40B4-BE49-F238E27FC236}">
                <a16:creationId xmlns:a16="http://schemas.microsoft.com/office/drawing/2014/main" id="{D03F6F02-D6AA-52F3-A624-2BF5D8440BCD}"/>
              </a:ext>
            </a:extLst>
          </p:cNvPr>
          <p:cNvSpPr>
            <a:spLocks/>
          </p:cNvSpPr>
          <p:nvPr>
            <p:custDataLst>
              <p:tags r:id="rId41"/>
            </p:custDataLst>
          </p:nvPr>
        </p:nvSpPr>
        <p:spPr bwMode="auto">
          <a:xfrm>
            <a:off x="41148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86603-44BC-44B6-B2BA-56AE7D691C9E}" type="datetime'''''''''''''''''''''''''1''1'''''">
              <a:rPr lang="ja-JP" altLang="en-US" sz="1000" smtClean="0"/>
              <a:pPr/>
              <a:t>11</a:t>
            </a:fld>
            <a:endParaRPr kumimoji="1" lang="ja-JP" altLang="en-US" sz="1000" dirty="0">
              <a:sym typeface="+mn-lt"/>
            </a:endParaRPr>
          </a:p>
        </p:txBody>
      </p:sp>
      <p:sp>
        <p:nvSpPr>
          <p:cNvPr id="618" name="テキスト プレースホルダ 9">
            <a:extLst>
              <a:ext uri="{FF2B5EF4-FFF2-40B4-BE49-F238E27FC236}">
                <a16:creationId xmlns:a16="http://schemas.microsoft.com/office/drawing/2014/main" id="{25D709C0-6D78-BE4C-2EF0-D51078C4670A}"/>
              </a:ext>
            </a:extLst>
          </p:cNvPr>
          <p:cNvSpPr>
            <a:spLocks/>
          </p:cNvSpPr>
          <p:nvPr>
            <p:custDataLst>
              <p:tags r:id="rId42"/>
            </p:custDataLst>
          </p:nvPr>
        </p:nvSpPr>
        <p:spPr bwMode="gray">
          <a:xfrm>
            <a:off x="4403725" y="34369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123B6-61D0-4151-9EF6-20D053711922}" type="datetime'''''''''''''''''5''''''''''''''''.''3'''''''''''''''''''''">
              <a:rPr lang="ja-JP" altLang="en-US" sz="900" smtClean="0">
                <a:effectLst/>
                <a:sym typeface="+mn-lt"/>
              </a:rPr>
              <a:pPr marL="0" lvl="0" indent="0" algn="ctr">
                <a:spcBef>
                  <a:spcPct val="0"/>
                </a:spcBef>
                <a:buNone/>
              </a:pPr>
              <a:t>5.3</a:t>
            </a:fld>
            <a:endParaRPr kumimoji="1" lang="ja-JP" altLang="en-US" sz="900" dirty="0">
              <a:sym typeface="+mn-lt"/>
            </a:endParaRPr>
          </a:p>
        </p:txBody>
      </p:sp>
      <p:sp>
        <p:nvSpPr>
          <p:cNvPr id="346" name="テキスト プレースホルダ 9">
            <a:extLst>
              <a:ext uri="{FF2B5EF4-FFF2-40B4-BE49-F238E27FC236}">
                <a16:creationId xmlns:a16="http://schemas.microsoft.com/office/drawing/2014/main" id="{792ACE01-C66F-4571-296F-13EFCA07DF9E}"/>
              </a:ext>
            </a:extLst>
          </p:cNvPr>
          <p:cNvSpPr>
            <a:spLocks/>
          </p:cNvSpPr>
          <p:nvPr>
            <p:custDataLst>
              <p:tags r:id="rId43"/>
            </p:custDataLst>
          </p:nvPr>
        </p:nvSpPr>
        <p:spPr bwMode="auto">
          <a:xfrm>
            <a:off x="44227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EFD43-ADC5-4724-B7A1-B2036E722265}" type="datetime'''''''''1''''''''''''''''''''''2'''''''''''''''''''''''''">
              <a:rPr lang="ja-JP" altLang="en-US" sz="1000" smtClean="0"/>
              <a:pPr/>
              <a:t>12</a:t>
            </a:fld>
            <a:endParaRPr kumimoji="1" lang="ja-JP" altLang="en-US" sz="1000" dirty="0">
              <a:sym typeface="+mn-lt"/>
            </a:endParaRPr>
          </a:p>
        </p:txBody>
      </p:sp>
      <p:sp>
        <p:nvSpPr>
          <p:cNvPr id="619" name="テキスト プレースホルダ 9">
            <a:extLst>
              <a:ext uri="{FF2B5EF4-FFF2-40B4-BE49-F238E27FC236}">
                <a16:creationId xmlns:a16="http://schemas.microsoft.com/office/drawing/2014/main" id="{AD4A4A28-B0D0-9DEF-D775-0682F0157810}"/>
              </a:ext>
            </a:extLst>
          </p:cNvPr>
          <p:cNvSpPr>
            <a:spLocks/>
          </p:cNvSpPr>
          <p:nvPr>
            <p:custDataLst>
              <p:tags r:id="rId44"/>
            </p:custDataLst>
          </p:nvPr>
        </p:nvSpPr>
        <p:spPr bwMode="gray">
          <a:xfrm>
            <a:off x="4710113" y="34337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499E6C-5371-4F36-9D57-5D64F88AE7A7}" type="datetime'5''''''.4'''''''''''''''''''''''''''''''''''''''''''''''''''''">
              <a:rPr lang="ja-JP" altLang="en-US" sz="900" smtClean="0">
                <a:effectLst/>
                <a:sym typeface="+mn-lt"/>
              </a:rPr>
              <a:pPr marL="0" lvl="0" indent="0" algn="ctr">
                <a:spcBef>
                  <a:spcPct val="0"/>
                </a:spcBef>
                <a:buNone/>
              </a:pPr>
              <a:t>5.4</a:t>
            </a:fld>
            <a:endParaRPr kumimoji="1" lang="ja-JP" altLang="en-US" sz="900" dirty="0">
              <a:sym typeface="+mn-lt"/>
            </a:endParaRPr>
          </a:p>
        </p:txBody>
      </p:sp>
      <p:sp>
        <p:nvSpPr>
          <p:cNvPr id="347" name="テキスト プレースホルダ 9">
            <a:extLst>
              <a:ext uri="{FF2B5EF4-FFF2-40B4-BE49-F238E27FC236}">
                <a16:creationId xmlns:a16="http://schemas.microsoft.com/office/drawing/2014/main" id="{ECE2F3E8-BAAE-FFA9-9AF1-54F3ED9FE66B}"/>
              </a:ext>
            </a:extLst>
          </p:cNvPr>
          <p:cNvSpPr>
            <a:spLocks/>
          </p:cNvSpPr>
          <p:nvPr>
            <p:custDataLst>
              <p:tags r:id="rId45"/>
            </p:custDataLst>
          </p:nvPr>
        </p:nvSpPr>
        <p:spPr bwMode="auto">
          <a:xfrm>
            <a:off x="47291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9B1FF4-2300-4782-8D15-D8BAC5B652A8}" type="datetime'''''1''''''''''''''3'''''''''''''">
              <a:rPr lang="ja-JP" altLang="en-US" sz="1000" smtClean="0"/>
              <a:pPr/>
              <a:t>13</a:t>
            </a:fld>
            <a:endParaRPr kumimoji="1" lang="ja-JP" altLang="en-US" sz="1000" dirty="0">
              <a:sym typeface="+mn-lt"/>
            </a:endParaRPr>
          </a:p>
        </p:txBody>
      </p:sp>
      <p:sp>
        <p:nvSpPr>
          <p:cNvPr id="620" name="テキスト プレースホルダ 9">
            <a:extLst>
              <a:ext uri="{FF2B5EF4-FFF2-40B4-BE49-F238E27FC236}">
                <a16:creationId xmlns:a16="http://schemas.microsoft.com/office/drawing/2014/main" id="{EDC78D32-1D45-2A4E-DEC8-D7234E34564F}"/>
              </a:ext>
            </a:extLst>
          </p:cNvPr>
          <p:cNvSpPr>
            <a:spLocks/>
          </p:cNvSpPr>
          <p:nvPr>
            <p:custDataLst>
              <p:tags r:id="rId46"/>
            </p:custDataLst>
          </p:nvPr>
        </p:nvSpPr>
        <p:spPr bwMode="gray">
          <a:xfrm>
            <a:off x="5016500" y="343058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25C891-4822-4951-B3F7-A12CABF164BE}"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48" name="テキスト プレースホルダ 9">
            <a:extLst>
              <a:ext uri="{FF2B5EF4-FFF2-40B4-BE49-F238E27FC236}">
                <a16:creationId xmlns:a16="http://schemas.microsoft.com/office/drawing/2014/main" id="{5FEDB208-2938-0BDF-3831-28BF200C0F3B}"/>
              </a:ext>
            </a:extLst>
          </p:cNvPr>
          <p:cNvSpPr>
            <a:spLocks/>
          </p:cNvSpPr>
          <p:nvPr>
            <p:custDataLst>
              <p:tags r:id="rId47"/>
            </p:custDataLst>
          </p:nvPr>
        </p:nvSpPr>
        <p:spPr bwMode="auto">
          <a:xfrm>
            <a:off x="50355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55873D-57DA-4496-B164-275BB4480B79}" type="datetime'''''''''''''''''''1''''''''4'''">
              <a:rPr lang="ja-JP" altLang="en-US" sz="1000" smtClean="0"/>
              <a:pPr/>
              <a:t>14</a:t>
            </a:fld>
            <a:endParaRPr kumimoji="1" lang="ja-JP" altLang="en-US" sz="1000" dirty="0">
              <a:sym typeface="+mn-lt"/>
            </a:endParaRPr>
          </a:p>
        </p:txBody>
      </p:sp>
      <p:sp>
        <p:nvSpPr>
          <p:cNvPr id="621" name="テキスト プレースホルダ 9">
            <a:extLst>
              <a:ext uri="{FF2B5EF4-FFF2-40B4-BE49-F238E27FC236}">
                <a16:creationId xmlns:a16="http://schemas.microsoft.com/office/drawing/2014/main" id="{91F5BF01-FEEC-1FF9-B335-020BB270C0F1}"/>
              </a:ext>
            </a:extLst>
          </p:cNvPr>
          <p:cNvSpPr>
            <a:spLocks/>
          </p:cNvSpPr>
          <p:nvPr>
            <p:custDataLst>
              <p:tags r:id="rId48"/>
            </p:custDataLst>
          </p:nvPr>
        </p:nvSpPr>
        <p:spPr bwMode="gray">
          <a:xfrm>
            <a:off x="5322888" y="34274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9C9A5-226A-421C-A9C8-5D08E004D890}"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49" name="テキスト プレースホルダ 9">
            <a:extLst>
              <a:ext uri="{FF2B5EF4-FFF2-40B4-BE49-F238E27FC236}">
                <a16:creationId xmlns:a16="http://schemas.microsoft.com/office/drawing/2014/main" id="{A8406E0A-925A-44D5-CAB5-5A6764AF7EF1}"/>
              </a:ext>
            </a:extLst>
          </p:cNvPr>
          <p:cNvSpPr>
            <a:spLocks/>
          </p:cNvSpPr>
          <p:nvPr>
            <p:custDataLst>
              <p:tags r:id="rId49"/>
            </p:custDataLst>
          </p:nvPr>
        </p:nvSpPr>
        <p:spPr bwMode="auto">
          <a:xfrm>
            <a:off x="53419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FB30BE-61F0-46D0-A380-298A1CB4B7AA}" type="datetime'''''''''''''''1''''''''''''''''5'''''''''''''''''''''''''''''">
              <a:rPr lang="ja-JP" altLang="en-US" sz="1000" smtClean="0"/>
              <a:pPr/>
              <a:t>15</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628F5AC4-FCD7-70A0-CC76-E8064ABECB45}"/>
              </a:ext>
            </a:extLst>
          </p:cNvPr>
          <p:cNvSpPr>
            <a:spLocks/>
          </p:cNvSpPr>
          <p:nvPr>
            <p:custDataLst>
              <p:tags r:id="rId50"/>
            </p:custDataLst>
          </p:nvPr>
        </p:nvSpPr>
        <p:spPr bwMode="gray">
          <a:xfrm>
            <a:off x="5630863" y="34258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BE33C6-29E3-4572-AC49-4AA121B8A4D9}"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0" name="テキスト プレースホルダ 9">
            <a:extLst>
              <a:ext uri="{FF2B5EF4-FFF2-40B4-BE49-F238E27FC236}">
                <a16:creationId xmlns:a16="http://schemas.microsoft.com/office/drawing/2014/main" id="{8C76231D-56E4-BCB9-D904-A6ABA57A03CF}"/>
              </a:ext>
            </a:extLst>
          </p:cNvPr>
          <p:cNvSpPr>
            <a:spLocks/>
          </p:cNvSpPr>
          <p:nvPr>
            <p:custDataLst>
              <p:tags r:id="rId51"/>
            </p:custDataLst>
          </p:nvPr>
        </p:nvSpPr>
        <p:spPr bwMode="auto">
          <a:xfrm>
            <a:off x="5649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5B234E-C86B-4CE6-B867-934706CA8681}" type="datetime'''''''''''''''''''''''''1''''''''''''''''''''''''''''''6'''">
              <a:rPr lang="ja-JP" altLang="en-US" sz="1000" smtClean="0"/>
              <a:pPr/>
              <a:t>16</a:t>
            </a:fld>
            <a:endParaRPr kumimoji="1" lang="ja-JP" altLang="en-US" sz="1000" dirty="0">
              <a:sym typeface="+mn-lt"/>
            </a:endParaRPr>
          </a:p>
        </p:txBody>
      </p:sp>
      <p:sp>
        <p:nvSpPr>
          <p:cNvPr id="623" name="テキスト プレースホルダ 9">
            <a:extLst>
              <a:ext uri="{FF2B5EF4-FFF2-40B4-BE49-F238E27FC236}">
                <a16:creationId xmlns:a16="http://schemas.microsoft.com/office/drawing/2014/main" id="{8D7192F2-7C08-E277-06C7-3BA1ED21987A}"/>
              </a:ext>
            </a:extLst>
          </p:cNvPr>
          <p:cNvSpPr>
            <a:spLocks/>
          </p:cNvSpPr>
          <p:nvPr>
            <p:custDataLst>
              <p:tags r:id="rId52"/>
            </p:custDataLst>
          </p:nvPr>
        </p:nvSpPr>
        <p:spPr bwMode="gray">
          <a:xfrm>
            <a:off x="5937250" y="34242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3915B-4A80-4E08-8B2D-63D69A20F6AC}"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1" name="テキスト プレースホルダ 9">
            <a:extLst>
              <a:ext uri="{FF2B5EF4-FFF2-40B4-BE49-F238E27FC236}">
                <a16:creationId xmlns:a16="http://schemas.microsoft.com/office/drawing/2014/main" id="{AE18679A-EBAB-61AC-DE42-1407E8B1C0E3}"/>
              </a:ext>
            </a:extLst>
          </p:cNvPr>
          <p:cNvSpPr>
            <a:spLocks/>
          </p:cNvSpPr>
          <p:nvPr>
            <p:custDataLst>
              <p:tags r:id="rId53"/>
            </p:custDataLst>
          </p:nvPr>
        </p:nvSpPr>
        <p:spPr bwMode="auto">
          <a:xfrm>
            <a:off x="59563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586960-BF05-4E50-96F6-75015090524E}" type="datetime'''''''''1''''''''''''''''''''7'''''''''''''''''''''''''''''">
              <a:rPr lang="ja-JP" altLang="en-US" sz="1000" smtClean="0"/>
              <a:pPr/>
              <a:t>17</a:t>
            </a:fld>
            <a:endParaRPr kumimoji="1" lang="ja-JP" altLang="en-US" sz="1000" dirty="0">
              <a:sym typeface="+mn-lt"/>
            </a:endParaRPr>
          </a:p>
        </p:txBody>
      </p:sp>
      <p:sp>
        <p:nvSpPr>
          <p:cNvPr id="624" name="テキスト プレースホルダ 9">
            <a:extLst>
              <a:ext uri="{FF2B5EF4-FFF2-40B4-BE49-F238E27FC236}">
                <a16:creationId xmlns:a16="http://schemas.microsoft.com/office/drawing/2014/main" id="{55FC2CFB-14BE-5EBD-612D-047CE14606AE}"/>
              </a:ext>
            </a:extLst>
          </p:cNvPr>
          <p:cNvSpPr>
            <a:spLocks/>
          </p:cNvSpPr>
          <p:nvPr>
            <p:custDataLst>
              <p:tags r:id="rId54"/>
            </p:custDataLst>
          </p:nvPr>
        </p:nvSpPr>
        <p:spPr bwMode="gray">
          <a:xfrm>
            <a:off x="6243638" y="34226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49409-B72C-40B1-9828-556DD9C6FECD}"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61" name="テキスト プレースホルダ 9">
            <a:extLst>
              <a:ext uri="{FF2B5EF4-FFF2-40B4-BE49-F238E27FC236}">
                <a16:creationId xmlns:a16="http://schemas.microsoft.com/office/drawing/2014/main" id="{22DCF4CD-2098-87E5-7DB6-6F94A70EE86C}"/>
              </a:ext>
            </a:extLst>
          </p:cNvPr>
          <p:cNvSpPr>
            <a:spLocks/>
          </p:cNvSpPr>
          <p:nvPr>
            <p:custDataLst>
              <p:tags r:id="rId55"/>
            </p:custDataLst>
          </p:nvPr>
        </p:nvSpPr>
        <p:spPr bwMode="auto">
          <a:xfrm>
            <a:off x="62626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226D6A-EF48-43AB-A922-37CC68E8E279}" type="datetime'''''''''''''''''''''''''''''''''''''1''''8'''">
              <a:rPr lang="ja-JP" altLang="en-US" sz="1000" smtClean="0"/>
              <a:pPr/>
              <a:t>18</a:t>
            </a:fld>
            <a:endParaRPr kumimoji="1" lang="ja-JP" altLang="en-US" sz="1000" dirty="0">
              <a:sym typeface="+mn-lt"/>
            </a:endParaRPr>
          </a:p>
        </p:txBody>
      </p:sp>
      <p:sp>
        <p:nvSpPr>
          <p:cNvPr id="625" name="テキスト プレースホルダ 9">
            <a:extLst>
              <a:ext uri="{FF2B5EF4-FFF2-40B4-BE49-F238E27FC236}">
                <a16:creationId xmlns:a16="http://schemas.microsoft.com/office/drawing/2014/main" id="{BF977F8A-F36E-335B-DF5B-ABFFF607BD7D}"/>
              </a:ext>
            </a:extLst>
          </p:cNvPr>
          <p:cNvSpPr>
            <a:spLocks/>
          </p:cNvSpPr>
          <p:nvPr>
            <p:custDataLst>
              <p:tags r:id="rId56"/>
            </p:custDataLst>
          </p:nvPr>
        </p:nvSpPr>
        <p:spPr bwMode="gray">
          <a:xfrm>
            <a:off x="6551613" y="34210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B4BD69-1398-4B9B-B8EA-14DA2569574E}" type="datetime'''''''''''''''''''''''''5''.''''''''''''7'''''''">
              <a:rPr lang="ja-JP" altLang="en-US" sz="900" smtClean="0">
                <a:effectLst/>
                <a:sym typeface="+mn-lt"/>
              </a:rPr>
              <a:pPr marL="0" lvl="0" indent="0" algn="ctr">
                <a:spcBef>
                  <a:spcPct val="0"/>
                </a:spcBef>
                <a:buNone/>
              </a:pPr>
              <a:t>5.7</a:t>
            </a:fld>
            <a:endParaRPr kumimoji="1" lang="ja-JP" altLang="en-US" sz="900" dirty="0">
              <a:sym typeface="+mn-lt"/>
            </a:endParaRPr>
          </a:p>
        </p:txBody>
      </p:sp>
      <p:sp>
        <p:nvSpPr>
          <p:cNvPr id="353" name="テキスト プレースホルダ 9">
            <a:extLst>
              <a:ext uri="{FF2B5EF4-FFF2-40B4-BE49-F238E27FC236}">
                <a16:creationId xmlns:a16="http://schemas.microsoft.com/office/drawing/2014/main" id="{C5AFFC7E-8BBC-04C7-14D7-34915F7DB3CB}"/>
              </a:ext>
            </a:extLst>
          </p:cNvPr>
          <p:cNvSpPr>
            <a:spLocks/>
          </p:cNvSpPr>
          <p:nvPr>
            <p:custDataLst>
              <p:tags r:id="rId57"/>
            </p:custDataLst>
          </p:nvPr>
        </p:nvSpPr>
        <p:spPr bwMode="auto">
          <a:xfrm>
            <a:off x="65706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C0CA76-1CDD-4586-840B-F7979A6C9BD7}" type="datetime'''''1''''''''9'''''''''''''''''''''''''''''''''''''">
              <a:rPr lang="ja-JP" altLang="en-US" sz="1000" smtClean="0"/>
              <a:pPr/>
              <a:t>19</a:t>
            </a:fld>
            <a:endParaRPr kumimoji="1" lang="ja-JP" altLang="en-US" sz="1000" dirty="0">
              <a:sym typeface="+mn-lt"/>
            </a:endParaRPr>
          </a:p>
        </p:txBody>
      </p:sp>
      <p:sp>
        <p:nvSpPr>
          <p:cNvPr id="343" name="Text Placeholder 12">
            <a:extLst>
              <a:ext uri="{FF2B5EF4-FFF2-40B4-BE49-F238E27FC236}">
                <a16:creationId xmlns:a16="http://schemas.microsoft.com/office/drawing/2014/main" id="{84249323-E438-9EE3-8967-436C7FBABFB5}"/>
              </a:ext>
            </a:extLst>
          </p:cNvPr>
          <p:cNvSpPr>
            <a:spLocks/>
          </p:cNvSpPr>
          <p:nvPr>
            <p:custDataLst>
              <p:tags r:id="rId58"/>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626" name="テキスト プレースホルダ 9">
            <a:extLst>
              <a:ext uri="{FF2B5EF4-FFF2-40B4-BE49-F238E27FC236}">
                <a16:creationId xmlns:a16="http://schemas.microsoft.com/office/drawing/2014/main" id="{0F442B3D-91AC-98E4-3BAB-D2EB0D2CEBCD}"/>
              </a:ext>
            </a:extLst>
          </p:cNvPr>
          <p:cNvSpPr>
            <a:spLocks/>
          </p:cNvSpPr>
          <p:nvPr>
            <p:custDataLst>
              <p:tags r:id="rId59"/>
            </p:custDataLst>
          </p:nvPr>
        </p:nvSpPr>
        <p:spPr bwMode="gray">
          <a:xfrm>
            <a:off x="6858000" y="3424238"/>
            <a:ext cx="190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6C0F81-E859-459C-8537-90A05E3C4050}"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4" name="テキスト プレースホルダ 9">
            <a:extLst>
              <a:ext uri="{FF2B5EF4-FFF2-40B4-BE49-F238E27FC236}">
                <a16:creationId xmlns:a16="http://schemas.microsoft.com/office/drawing/2014/main" id="{2384F3A5-78EC-F2EE-954B-F41BD1874CDD}"/>
              </a:ext>
            </a:extLst>
          </p:cNvPr>
          <p:cNvSpPr>
            <a:spLocks/>
          </p:cNvSpPr>
          <p:nvPr>
            <p:custDataLst>
              <p:tags r:id="rId60"/>
            </p:custDataLst>
          </p:nvPr>
        </p:nvSpPr>
        <p:spPr bwMode="auto">
          <a:xfrm>
            <a:off x="6877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A2A6AF-5AC7-4AC0-B0FC-969704696406}" type="datetime'''''''2''''''''''''0'''''''''''''''''''''''''''''''">
              <a:rPr lang="ja-JP" altLang="en-US" sz="1000" smtClean="0"/>
              <a:pPr/>
              <a:t>20</a:t>
            </a:fld>
            <a:endParaRPr kumimoji="1" lang="ja-JP" altLang="en-US" sz="1000" dirty="0">
              <a:sym typeface="+mn-lt"/>
            </a:endParaRPr>
          </a:p>
        </p:txBody>
      </p:sp>
      <p:sp useBgFill="1">
        <p:nvSpPr>
          <p:cNvPr id="586" name="テキスト プレースホルダ 9">
            <a:extLst>
              <a:ext uri="{FF2B5EF4-FFF2-40B4-BE49-F238E27FC236}">
                <a16:creationId xmlns:a16="http://schemas.microsoft.com/office/drawing/2014/main" id="{97356093-2678-8447-EC41-FD6730BF1739}"/>
              </a:ext>
            </a:extLst>
          </p:cNvPr>
          <p:cNvSpPr>
            <a:spLocks/>
          </p:cNvSpPr>
          <p:nvPr>
            <p:custDataLst>
              <p:tags r:id="rId61"/>
            </p:custDataLst>
          </p:nvPr>
        </p:nvSpPr>
        <p:spPr bwMode="gray">
          <a:xfrm>
            <a:off x="7134225" y="30622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1F80BB-71F2-4A20-93BD-0B4BFDAF8980}"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33" name="Text Placeholder 12">
            <a:extLst>
              <a:ext uri="{FF2B5EF4-FFF2-40B4-BE49-F238E27FC236}">
                <a16:creationId xmlns:a16="http://schemas.microsoft.com/office/drawing/2014/main" id="{275552F6-870C-18DA-63F5-74D2CB07C11B}"/>
              </a:ext>
            </a:extLst>
          </p:cNvPr>
          <p:cNvSpPr>
            <a:spLocks/>
          </p:cNvSpPr>
          <p:nvPr>
            <p:custDataLst>
              <p:tags r:id="rId62"/>
            </p:custDataLst>
          </p:nvPr>
        </p:nvSpPr>
        <p:spPr bwMode="auto">
          <a:xfrm>
            <a:off x="95059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55" name="テキスト プレースホルダ 9">
            <a:extLst>
              <a:ext uri="{FF2B5EF4-FFF2-40B4-BE49-F238E27FC236}">
                <a16:creationId xmlns:a16="http://schemas.microsoft.com/office/drawing/2014/main" id="{6F4878E5-6A8D-AD2F-3392-B89E26BD7537}"/>
              </a:ext>
            </a:extLst>
          </p:cNvPr>
          <p:cNvSpPr>
            <a:spLocks/>
          </p:cNvSpPr>
          <p:nvPr>
            <p:custDataLst>
              <p:tags r:id="rId63"/>
            </p:custDataLst>
          </p:nvPr>
        </p:nvSpPr>
        <p:spPr bwMode="auto">
          <a:xfrm>
            <a:off x="71834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0B1F1-80BF-4A6F-BECA-D1FB03D07DE1}" type="datetime'''''''''''''''''''''''''''21'''''''">
              <a:rPr lang="ja-JP" altLang="en-US" sz="1000" smtClean="0"/>
              <a:pPr/>
              <a:t>21</a:t>
            </a:fld>
            <a:endParaRPr kumimoji="1" lang="ja-JP" altLang="en-US" sz="1000" dirty="0">
              <a:sym typeface="+mn-lt"/>
            </a:endParaRPr>
          </a:p>
        </p:txBody>
      </p:sp>
      <p:sp>
        <p:nvSpPr>
          <p:cNvPr id="628" name="テキスト プレースホルダ 9">
            <a:extLst>
              <a:ext uri="{FF2B5EF4-FFF2-40B4-BE49-F238E27FC236}">
                <a16:creationId xmlns:a16="http://schemas.microsoft.com/office/drawing/2014/main" id="{FE6EAA8F-6ED6-BAD6-AB2B-7294A049E36D}"/>
              </a:ext>
            </a:extLst>
          </p:cNvPr>
          <p:cNvSpPr>
            <a:spLocks/>
          </p:cNvSpPr>
          <p:nvPr>
            <p:custDataLst>
              <p:tags r:id="rId64"/>
            </p:custDataLst>
          </p:nvPr>
        </p:nvSpPr>
        <p:spPr bwMode="gray">
          <a:xfrm>
            <a:off x="7470775" y="34226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BAF481-620C-493A-9BF3-7E097056FA1E}"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6" name="テキスト プレースホルダ 9">
            <a:extLst>
              <a:ext uri="{FF2B5EF4-FFF2-40B4-BE49-F238E27FC236}">
                <a16:creationId xmlns:a16="http://schemas.microsoft.com/office/drawing/2014/main" id="{3126EB49-D680-6AE2-4ADB-14939279C845}"/>
              </a:ext>
            </a:extLst>
          </p:cNvPr>
          <p:cNvSpPr>
            <a:spLocks/>
          </p:cNvSpPr>
          <p:nvPr>
            <p:custDataLst>
              <p:tags r:id="rId65"/>
            </p:custDataLst>
          </p:nvPr>
        </p:nvSpPr>
        <p:spPr bwMode="auto">
          <a:xfrm>
            <a:off x="74898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B37FF-0663-4689-AA21-D9F589DAB231}" type="datetime'''''''2''''''''''''''''2'''''''''''''''''''''''">
              <a:rPr lang="ja-JP" altLang="en-US" sz="1000" smtClean="0"/>
              <a:pPr/>
              <a:t>22</a:t>
            </a:fld>
            <a:endParaRPr kumimoji="1" lang="ja-JP" altLang="en-US" sz="1000" dirty="0">
              <a:sym typeface="+mn-lt"/>
            </a:endParaRPr>
          </a:p>
        </p:txBody>
      </p:sp>
      <p:sp>
        <p:nvSpPr>
          <p:cNvPr id="629" name="テキスト プレースホルダ 9">
            <a:extLst>
              <a:ext uri="{FF2B5EF4-FFF2-40B4-BE49-F238E27FC236}">
                <a16:creationId xmlns:a16="http://schemas.microsoft.com/office/drawing/2014/main" id="{6D62D331-477A-55CB-C2EE-F2F58FCF0A34}"/>
              </a:ext>
            </a:extLst>
          </p:cNvPr>
          <p:cNvSpPr>
            <a:spLocks/>
          </p:cNvSpPr>
          <p:nvPr>
            <p:custDataLst>
              <p:tags r:id="rId66"/>
            </p:custDataLst>
          </p:nvPr>
        </p:nvSpPr>
        <p:spPr bwMode="gray">
          <a:xfrm>
            <a:off x="7778750" y="34163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D5DB17-06A5-4AE4-80CB-8D0662E2B353}" type="datetime'''''''5''''''''''''''.''''''''''8'''''''''''''''''''''">
              <a:rPr lang="ja-JP" altLang="en-US" sz="900" smtClean="0">
                <a:effectLst/>
                <a:sym typeface="+mn-lt"/>
              </a:rPr>
              <a:pPr marL="0" lvl="0" indent="0" algn="ctr">
                <a:spcBef>
                  <a:spcPct val="0"/>
                </a:spcBef>
                <a:buNone/>
              </a:pPr>
              <a:t>5.8</a:t>
            </a:fld>
            <a:endParaRPr kumimoji="1" lang="ja-JP" altLang="en-US" sz="900" dirty="0">
              <a:sym typeface="+mn-lt"/>
            </a:endParaRPr>
          </a:p>
        </p:txBody>
      </p:sp>
      <p:sp>
        <p:nvSpPr>
          <p:cNvPr id="357" name="テキスト プレースホルダ 9">
            <a:extLst>
              <a:ext uri="{FF2B5EF4-FFF2-40B4-BE49-F238E27FC236}">
                <a16:creationId xmlns:a16="http://schemas.microsoft.com/office/drawing/2014/main" id="{1EE6A6DF-D699-4518-4BA1-9ACC5F446997}"/>
              </a:ext>
            </a:extLst>
          </p:cNvPr>
          <p:cNvSpPr>
            <a:spLocks/>
          </p:cNvSpPr>
          <p:nvPr>
            <p:custDataLst>
              <p:tags r:id="rId67"/>
            </p:custDataLst>
          </p:nvPr>
        </p:nvSpPr>
        <p:spPr bwMode="auto">
          <a:xfrm>
            <a:off x="77978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922E60-6066-45D7-B688-2EA5BEE1883A}" type="datetime'2''''''''''''''''''''''''''3'''''''''''''''''">
              <a:rPr lang="ja-JP" altLang="en-US" sz="1000" smtClean="0"/>
              <a:pPr/>
              <a:t>23</a:t>
            </a:fld>
            <a:endParaRPr kumimoji="1" lang="ja-JP" altLang="en-US" sz="1000" dirty="0">
              <a:sym typeface="+mn-lt"/>
            </a:endParaRPr>
          </a:p>
        </p:txBody>
      </p:sp>
      <p:sp>
        <p:nvSpPr>
          <p:cNvPr id="630" name="テキスト プレースホルダ 9">
            <a:extLst>
              <a:ext uri="{FF2B5EF4-FFF2-40B4-BE49-F238E27FC236}">
                <a16:creationId xmlns:a16="http://schemas.microsoft.com/office/drawing/2014/main" id="{B41FFEE0-BF80-C910-DDE1-889BCDEC9491}"/>
              </a:ext>
            </a:extLst>
          </p:cNvPr>
          <p:cNvSpPr>
            <a:spLocks/>
          </p:cNvSpPr>
          <p:nvPr>
            <p:custDataLst>
              <p:tags r:id="rId68"/>
            </p:custDataLst>
          </p:nvPr>
        </p:nvSpPr>
        <p:spPr bwMode="gray">
          <a:xfrm>
            <a:off x="8085138" y="34147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BF65F2-96B0-4165-B58D-A16DF6F5B04F}" type="datetime'''5''''''''''''''''''''''''''.''''''''8'''''''''''''''''''''">
              <a:rPr lang="ja-JP" altLang="en-US" sz="900" smtClean="0">
                <a:effectLst/>
                <a:sym typeface="+mn-lt"/>
              </a:rPr>
              <a:pPr marL="0" lvl="0" indent="0" algn="ctr">
                <a:spcBef>
                  <a:spcPct val="0"/>
                </a:spcBef>
                <a:buNone/>
              </a:pPr>
              <a:t>5.8</a:t>
            </a:fld>
            <a:endParaRPr kumimoji="1" lang="ja-JP" altLang="en-US" sz="900" dirty="0">
              <a:sym typeface="+mn-lt"/>
            </a:endParaRPr>
          </a:p>
        </p:txBody>
      </p:sp>
      <p:sp>
        <p:nvSpPr>
          <p:cNvPr id="358" name="テキスト プレースホルダ 9">
            <a:extLst>
              <a:ext uri="{FF2B5EF4-FFF2-40B4-BE49-F238E27FC236}">
                <a16:creationId xmlns:a16="http://schemas.microsoft.com/office/drawing/2014/main" id="{8B8B56A6-9586-E803-2811-703B01DBFDDD}"/>
              </a:ext>
            </a:extLst>
          </p:cNvPr>
          <p:cNvSpPr>
            <a:spLocks/>
          </p:cNvSpPr>
          <p:nvPr>
            <p:custDataLst>
              <p:tags r:id="rId69"/>
            </p:custDataLst>
          </p:nvPr>
        </p:nvSpPr>
        <p:spPr bwMode="auto">
          <a:xfrm>
            <a:off x="81041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CFF46-2CFF-4F18-A765-BA573044DB69}" type="datetime'''''''''2''''''''''''''''''''''''4'''''''''''''">
              <a:rPr lang="ja-JP" altLang="en-US" sz="1000" smtClean="0"/>
              <a:pPr/>
              <a:t>24</a:t>
            </a:fld>
            <a:endParaRPr kumimoji="1" lang="ja-JP" altLang="en-US" sz="1000" dirty="0">
              <a:sym typeface="+mn-lt"/>
            </a:endParaRPr>
          </a:p>
        </p:txBody>
      </p:sp>
      <p:sp>
        <p:nvSpPr>
          <p:cNvPr id="627" name="テキスト プレースホルダ 9">
            <a:extLst>
              <a:ext uri="{FF2B5EF4-FFF2-40B4-BE49-F238E27FC236}">
                <a16:creationId xmlns:a16="http://schemas.microsoft.com/office/drawing/2014/main" id="{2E74E0B6-6B22-D1C4-0A9C-F9909F87A548}"/>
              </a:ext>
            </a:extLst>
          </p:cNvPr>
          <p:cNvSpPr>
            <a:spLocks/>
          </p:cNvSpPr>
          <p:nvPr>
            <p:custDataLst>
              <p:tags r:id="rId70"/>
            </p:custDataLst>
          </p:nvPr>
        </p:nvSpPr>
        <p:spPr bwMode="gray">
          <a:xfrm>
            <a:off x="7164388" y="34274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28AFA0-BCC7-4A8F-84A3-F06CB848C41B}"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59" name="テキスト プレースホルダ 9">
            <a:extLst>
              <a:ext uri="{FF2B5EF4-FFF2-40B4-BE49-F238E27FC236}">
                <a16:creationId xmlns:a16="http://schemas.microsoft.com/office/drawing/2014/main" id="{1C969435-8E4F-45AC-D6B9-AC733251DE83}"/>
              </a:ext>
            </a:extLst>
          </p:cNvPr>
          <p:cNvSpPr>
            <a:spLocks/>
          </p:cNvSpPr>
          <p:nvPr>
            <p:custDataLst>
              <p:tags r:id="rId71"/>
            </p:custDataLst>
          </p:nvPr>
        </p:nvSpPr>
        <p:spPr bwMode="auto">
          <a:xfrm>
            <a:off x="84105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8099F-B5CA-4B53-AE95-24D44DA6BC44}" type="datetime'''''''''''''''''''''''''''''2''''''''''''''''5'">
              <a:rPr lang="ja-JP" altLang="en-US" sz="1000" smtClean="0"/>
              <a:pPr/>
              <a:t>25</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A9001FE9-A926-1472-AA79-4F117993BCC9}"/>
              </a:ext>
            </a:extLst>
          </p:cNvPr>
          <p:cNvSpPr>
            <a:spLocks/>
          </p:cNvSpPr>
          <p:nvPr>
            <p:custDataLst>
              <p:tags r:id="rId72"/>
            </p:custDataLst>
          </p:nvPr>
        </p:nvSpPr>
        <p:spPr bwMode="gray">
          <a:xfrm>
            <a:off x="8697913" y="340677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0F27C-F8E7-463B-9CD6-6FD308C8AC0D}" type="datetime'''''''''''''''6''''''''''''''.0'''''''''''''''''''''''''">
              <a:rPr lang="ja-JP" altLang="en-US" sz="900" smtClean="0">
                <a:effectLst/>
                <a:sym typeface="+mn-lt"/>
              </a:rPr>
              <a:pPr marL="0" lvl="0" indent="0" algn="ctr">
                <a:spcBef>
                  <a:spcPct val="0"/>
                </a:spcBef>
                <a:buNone/>
              </a:pPr>
              <a:t>6.0</a:t>
            </a:fld>
            <a:endParaRPr kumimoji="1" lang="ja-JP" altLang="en-US" sz="900" dirty="0">
              <a:sym typeface="+mn-lt"/>
            </a:endParaRPr>
          </a:p>
        </p:txBody>
      </p:sp>
      <p:sp>
        <p:nvSpPr>
          <p:cNvPr id="360" name="テキスト プレースホルダ 9">
            <a:extLst>
              <a:ext uri="{FF2B5EF4-FFF2-40B4-BE49-F238E27FC236}">
                <a16:creationId xmlns:a16="http://schemas.microsoft.com/office/drawing/2014/main" id="{DC938186-6A9D-F8B5-E3D0-53AF56965DFF}"/>
              </a:ext>
            </a:extLst>
          </p:cNvPr>
          <p:cNvSpPr>
            <a:spLocks/>
          </p:cNvSpPr>
          <p:nvPr>
            <p:custDataLst>
              <p:tags r:id="rId73"/>
            </p:custDataLst>
          </p:nvPr>
        </p:nvSpPr>
        <p:spPr bwMode="auto">
          <a:xfrm>
            <a:off x="87169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AD37F7-F66E-4127-BE67-1155B3F00306}" type="datetime'''''''''''''''''''''''3''''''''''''0'''''''''''''''''">
              <a:rPr lang="ja-JP" altLang="en-US" sz="1000" smtClean="0"/>
              <a:pPr/>
              <a:t>30</a:t>
            </a:fld>
            <a:endParaRPr kumimoji="1" lang="ja-JP" altLang="en-US" sz="1000" dirty="0">
              <a:sym typeface="+mn-lt"/>
            </a:endParaRPr>
          </a:p>
        </p:txBody>
      </p:sp>
      <p:sp>
        <p:nvSpPr>
          <p:cNvPr id="633" name="テキスト プレースホルダ 9">
            <a:extLst>
              <a:ext uri="{FF2B5EF4-FFF2-40B4-BE49-F238E27FC236}">
                <a16:creationId xmlns:a16="http://schemas.microsoft.com/office/drawing/2014/main" id="{598415B2-F2D7-9089-BBED-2A349A20C7A7}"/>
              </a:ext>
            </a:extLst>
          </p:cNvPr>
          <p:cNvSpPr>
            <a:spLocks/>
          </p:cNvSpPr>
          <p:nvPr>
            <p:custDataLst>
              <p:tags r:id="rId74"/>
            </p:custDataLst>
          </p:nvPr>
        </p:nvSpPr>
        <p:spPr bwMode="gray">
          <a:xfrm>
            <a:off x="9005888" y="33988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351845-B5B0-4322-BEEB-F1590FB14600}" type="datetime'''6''''''''''''''''''''''''''''''.''''''''''''''''''''''''2'''">
              <a:rPr lang="ja-JP" altLang="en-US" sz="900" smtClean="0">
                <a:effectLst/>
                <a:sym typeface="+mn-lt"/>
              </a:rPr>
              <a:pPr marL="0" lvl="0" indent="0" algn="ctr">
                <a:spcBef>
                  <a:spcPct val="0"/>
                </a:spcBef>
                <a:buNone/>
              </a:pPr>
              <a:t>6.2</a:t>
            </a:fld>
            <a:endParaRPr kumimoji="1" lang="ja-JP" altLang="en-US" sz="900" dirty="0">
              <a:sym typeface="+mn-lt"/>
            </a:endParaRPr>
          </a:p>
        </p:txBody>
      </p:sp>
      <p:sp>
        <p:nvSpPr>
          <p:cNvPr id="567" name="テキスト プレースホルダ 9">
            <a:extLst>
              <a:ext uri="{FF2B5EF4-FFF2-40B4-BE49-F238E27FC236}">
                <a16:creationId xmlns:a16="http://schemas.microsoft.com/office/drawing/2014/main" id="{A7F99A13-81A5-7784-F4D3-B2ACE329646C}"/>
              </a:ext>
            </a:extLst>
          </p:cNvPr>
          <p:cNvSpPr>
            <a:spLocks/>
          </p:cNvSpPr>
          <p:nvPr>
            <p:custDataLst>
              <p:tags r:id="rId75"/>
            </p:custDataLst>
          </p:nvPr>
        </p:nvSpPr>
        <p:spPr bwMode="auto">
          <a:xfrm>
            <a:off x="9024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BACA4-A1C6-48AA-AFBB-B36AFA829D3A}" type="datetime'''''''4''''''''''''''''''''''''''0'''">
              <a:rPr lang="ja-JP" altLang="en-US" sz="1000" smtClean="0"/>
              <a:pPr/>
              <a:t>40</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81089609-E3A5-00BE-255F-75BA2BD14E3F}"/>
              </a:ext>
            </a:extLst>
          </p:cNvPr>
          <p:cNvSpPr>
            <a:spLocks/>
          </p:cNvSpPr>
          <p:nvPr>
            <p:custDataLst>
              <p:tags r:id="rId76"/>
            </p:custDataLst>
          </p:nvPr>
        </p:nvSpPr>
        <p:spPr bwMode="gray">
          <a:xfrm>
            <a:off x="9312275" y="34036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919DA5-0665-47A1-AD9D-6A5E4BED6640}" type="datetime'6''''''''''''''''''''''''''.''''''1'''''">
              <a:rPr lang="ja-JP" altLang="en-US" sz="900" smtClean="0">
                <a:effectLst/>
                <a:sym typeface="+mn-lt"/>
              </a:rPr>
              <a:pPr marL="0" lvl="0" indent="0" algn="ctr">
                <a:spcBef>
                  <a:spcPct val="0"/>
                </a:spcBef>
                <a:buNone/>
              </a:pPr>
              <a:t>6.1</a:t>
            </a:fld>
            <a:endParaRPr kumimoji="1" lang="ja-JP" altLang="en-US" sz="900" dirty="0">
              <a:sym typeface="+mn-lt"/>
            </a:endParaRPr>
          </a:p>
        </p:txBody>
      </p:sp>
      <p:sp>
        <p:nvSpPr>
          <p:cNvPr id="568" name="テキスト プレースホルダ 9">
            <a:extLst>
              <a:ext uri="{FF2B5EF4-FFF2-40B4-BE49-F238E27FC236}">
                <a16:creationId xmlns:a16="http://schemas.microsoft.com/office/drawing/2014/main" id="{FE570DD7-3CE9-1CFB-D0FF-7F7A0BB78F5F}"/>
              </a:ext>
            </a:extLst>
          </p:cNvPr>
          <p:cNvSpPr>
            <a:spLocks/>
          </p:cNvSpPr>
          <p:nvPr>
            <p:custDataLst>
              <p:tags r:id="rId77"/>
            </p:custDataLst>
          </p:nvPr>
        </p:nvSpPr>
        <p:spPr bwMode="auto">
          <a:xfrm>
            <a:off x="9331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6B37D-A66D-4E8F-AAA6-195F889F1469}" type="datetime'''''''''''5''''''''''''''''''''''''''''''''''0'''''''">
              <a:rPr lang="ja-JP" altLang="en-US" sz="1000" smtClean="0"/>
              <a:pPr/>
              <a:t>50</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9C81F8E6-A9D0-9BAA-C256-0E81F2610A3A}"/>
              </a:ext>
            </a:extLst>
          </p:cNvPr>
          <p:cNvSpPr>
            <a:spLocks/>
          </p:cNvSpPr>
          <p:nvPr>
            <p:custDataLst>
              <p:tags r:id="rId78"/>
            </p:custDataLst>
          </p:nvPr>
        </p:nvSpPr>
        <p:spPr bwMode="gray">
          <a:xfrm>
            <a:off x="8391525" y="34131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2A0113-2D7F-4915-BEFF-B07D116D9C64}" type="datetime'''5''''''.''''''''''''''''''''''''9'''''''''''''''''''">
              <a:rPr lang="ja-JP" altLang="en-US" sz="900" smtClean="0">
                <a:effectLst/>
                <a:sym typeface="+mn-lt"/>
              </a:rPr>
              <a:pPr marL="0" lvl="0" indent="0" algn="ctr">
                <a:spcBef>
                  <a:spcPct val="0"/>
                </a:spcBef>
                <a:buNone/>
              </a:pPr>
              <a:t>5.9</a:t>
            </a:fld>
            <a:endParaRPr kumimoji="1" lang="ja-JP" altLang="en-US" sz="900" dirty="0">
              <a:sym typeface="+mn-lt"/>
            </a:endParaRPr>
          </a:p>
        </p:txBody>
      </p:sp>
      <p:cxnSp>
        <p:nvCxnSpPr>
          <p:cNvPr id="379" name="Straight Connector 378">
            <a:extLst>
              <a:ext uri="{FF2B5EF4-FFF2-40B4-BE49-F238E27FC236}">
                <a16:creationId xmlns:a16="http://schemas.microsoft.com/office/drawing/2014/main" id="{7665228A-A42D-91B3-1ED4-E25597963437}"/>
              </a:ext>
            </a:extLst>
          </p:cNvPr>
          <p:cNvCxnSpPr/>
          <p:nvPr>
            <p:custDataLst>
              <p:tags r:id="rId79"/>
            </p:custDataLst>
          </p:nvPr>
        </p:nvCxnSpPr>
        <p:spPr bwMode="auto">
          <a:xfrm>
            <a:off x="7415213" y="6032501"/>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4B7F0849-5F75-8338-3D91-F0562972CC46}"/>
              </a:ext>
            </a:extLst>
          </p:cNvPr>
          <p:cNvCxnSpPr>
            <a:cxnSpLocks/>
          </p:cNvCxnSpPr>
          <p:nvPr>
            <p:custDataLst>
              <p:tags r:id="rId80"/>
            </p:custDataLst>
          </p:nvPr>
        </p:nvCxnSpPr>
        <p:spPr bwMode="auto">
          <a:xfrm>
            <a:off x="77120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650CC1FF-D40D-B655-F7F4-9AFDC03B39A1}"/>
              </a:ext>
            </a:extLst>
          </p:cNvPr>
          <p:cNvCxnSpPr>
            <a:cxnSpLocks/>
          </p:cNvCxnSpPr>
          <p:nvPr>
            <p:custDataLst>
              <p:tags r:id="rId81"/>
            </p:custDataLst>
          </p:nvPr>
        </p:nvCxnSpPr>
        <p:spPr bwMode="auto">
          <a:xfrm>
            <a:off x="7712075" y="49815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038CB1C8-5BAE-B45E-93D3-34B0D6BC3E2C}"/>
              </a:ext>
            </a:extLst>
          </p:cNvPr>
          <p:cNvCxnSpPr>
            <a:cxnSpLocks/>
          </p:cNvCxnSpPr>
          <p:nvPr>
            <p:custDataLst>
              <p:tags r:id="rId82"/>
            </p:custDataLst>
          </p:nvPr>
        </p:nvCxnSpPr>
        <p:spPr bwMode="auto">
          <a:xfrm>
            <a:off x="7712075" y="60356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0" name="Straight Connector 719">
            <a:extLst>
              <a:ext uri="{FF2B5EF4-FFF2-40B4-BE49-F238E27FC236}">
                <a16:creationId xmlns:a16="http://schemas.microsoft.com/office/drawing/2014/main" id="{D9C60652-AA93-DD2B-3C59-53C2CD3433C1}"/>
              </a:ext>
            </a:extLst>
          </p:cNvPr>
          <p:cNvCxnSpPr/>
          <p:nvPr>
            <p:custDataLst>
              <p:tags r:id="rId83"/>
            </p:custDataLst>
          </p:nvPr>
        </p:nvCxnSpPr>
        <p:spPr bwMode="auto">
          <a:xfrm>
            <a:off x="80105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1" name="Straight Connector 720">
            <a:extLst>
              <a:ext uri="{FF2B5EF4-FFF2-40B4-BE49-F238E27FC236}">
                <a16:creationId xmlns:a16="http://schemas.microsoft.com/office/drawing/2014/main" id="{B29959E2-D973-94DC-97F5-DA46BDB90ED5}"/>
              </a:ext>
            </a:extLst>
          </p:cNvPr>
          <p:cNvCxnSpPr/>
          <p:nvPr>
            <p:custDataLst>
              <p:tags r:id="rId84"/>
            </p:custDataLst>
          </p:nvPr>
        </p:nvCxnSpPr>
        <p:spPr bwMode="auto">
          <a:xfrm>
            <a:off x="8010525" y="4989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2" name="Straight Connector 721">
            <a:extLst>
              <a:ext uri="{FF2B5EF4-FFF2-40B4-BE49-F238E27FC236}">
                <a16:creationId xmlns:a16="http://schemas.microsoft.com/office/drawing/2014/main" id="{2FDE85F6-1131-C9A9-BD65-623A9A228EBA}"/>
              </a:ext>
            </a:extLst>
          </p:cNvPr>
          <p:cNvCxnSpPr/>
          <p:nvPr>
            <p:custDataLst>
              <p:tags r:id="rId85"/>
            </p:custDataLst>
          </p:nvPr>
        </p:nvCxnSpPr>
        <p:spPr bwMode="auto">
          <a:xfrm>
            <a:off x="8010525" y="60372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6" name="Straight Connector 695">
            <a:extLst>
              <a:ext uri="{FF2B5EF4-FFF2-40B4-BE49-F238E27FC236}">
                <a16:creationId xmlns:a16="http://schemas.microsoft.com/office/drawing/2014/main" id="{BA3361E7-1DA4-AF00-7CCF-57D3E283A82E}"/>
              </a:ext>
            </a:extLst>
          </p:cNvPr>
          <p:cNvCxnSpPr>
            <a:cxnSpLocks/>
          </p:cNvCxnSpPr>
          <p:nvPr>
            <p:custDataLst>
              <p:tags r:id="rId86"/>
            </p:custDataLst>
          </p:nvPr>
        </p:nvCxnSpPr>
        <p:spPr bwMode="auto">
          <a:xfrm>
            <a:off x="83073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7" name="Straight Connector 696">
            <a:extLst>
              <a:ext uri="{FF2B5EF4-FFF2-40B4-BE49-F238E27FC236}">
                <a16:creationId xmlns:a16="http://schemas.microsoft.com/office/drawing/2014/main" id="{FC738772-969F-93E5-50CA-1532212ABA62}"/>
              </a:ext>
            </a:extLst>
          </p:cNvPr>
          <p:cNvCxnSpPr>
            <a:cxnSpLocks/>
          </p:cNvCxnSpPr>
          <p:nvPr>
            <p:custDataLst>
              <p:tags r:id="rId87"/>
            </p:custDataLst>
          </p:nvPr>
        </p:nvCxnSpPr>
        <p:spPr bwMode="auto">
          <a:xfrm>
            <a:off x="8307388" y="499586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8" name="Straight Connector 697">
            <a:extLst>
              <a:ext uri="{FF2B5EF4-FFF2-40B4-BE49-F238E27FC236}">
                <a16:creationId xmlns:a16="http://schemas.microsoft.com/office/drawing/2014/main" id="{143BF173-AB6A-87C9-1A37-5BA89DAB79EA}"/>
              </a:ext>
            </a:extLst>
          </p:cNvPr>
          <p:cNvCxnSpPr/>
          <p:nvPr>
            <p:custDataLst>
              <p:tags r:id="rId88"/>
            </p:custDataLst>
          </p:nvPr>
        </p:nvCxnSpPr>
        <p:spPr bwMode="auto">
          <a:xfrm flipV="1">
            <a:off x="8307388" y="6032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286">
            <a:extLst>
              <a:ext uri="{FF2B5EF4-FFF2-40B4-BE49-F238E27FC236}">
                <a16:creationId xmlns:a16="http://schemas.microsoft.com/office/drawing/2014/main" id="{DA015574-A46C-91B2-1D2B-56CFECB313AB}"/>
              </a:ext>
            </a:extLst>
          </p:cNvPr>
          <p:cNvCxnSpPr/>
          <p:nvPr>
            <p:custDataLst>
              <p:tags r:id="rId89"/>
            </p:custDataLst>
          </p:nvPr>
        </p:nvCxnSpPr>
        <p:spPr bwMode="auto">
          <a:xfrm>
            <a:off x="8604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288">
            <a:extLst>
              <a:ext uri="{FF2B5EF4-FFF2-40B4-BE49-F238E27FC236}">
                <a16:creationId xmlns:a16="http://schemas.microsoft.com/office/drawing/2014/main" id="{344FA6E4-E5F3-0F5B-0C15-0B5D0AAA7268}"/>
              </a:ext>
            </a:extLst>
          </p:cNvPr>
          <p:cNvCxnSpPr/>
          <p:nvPr>
            <p:custDataLst>
              <p:tags r:id="rId90"/>
            </p:custDataLst>
          </p:nvPr>
        </p:nvCxnSpPr>
        <p:spPr bwMode="auto">
          <a:xfrm>
            <a:off x="8604250" y="60325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289">
            <a:extLst>
              <a:ext uri="{FF2B5EF4-FFF2-40B4-BE49-F238E27FC236}">
                <a16:creationId xmlns:a16="http://schemas.microsoft.com/office/drawing/2014/main" id="{99FCCD25-87B5-5C7A-1E85-745A445AE195}"/>
              </a:ext>
            </a:extLst>
          </p:cNvPr>
          <p:cNvCxnSpPr/>
          <p:nvPr>
            <p:custDataLst>
              <p:tags r:id="rId91"/>
            </p:custDataLst>
          </p:nvPr>
        </p:nvCxnSpPr>
        <p:spPr bwMode="auto">
          <a:xfrm>
            <a:off x="8902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290">
            <a:extLst>
              <a:ext uri="{FF2B5EF4-FFF2-40B4-BE49-F238E27FC236}">
                <a16:creationId xmlns:a16="http://schemas.microsoft.com/office/drawing/2014/main" id="{F76EB78D-7A8B-71E8-DEF4-7DD435059F4A}"/>
              </a:ext>
            </a:extLst>
          </p:cNvPr>
          <p:cNvCxnSpPr/>
          <p:nvPr>
            <p:custDataLst>
              <p:tags r:id="rId92"/>
            </p:custDataLst>
          </p:nvPr>
        </p:nvCxnSpPr>
        <p:spPr bwMode="auto">
          <a:xfrm>
            <a:off x="8902700" y="5097463"/>
            <a:ext cx="111125" cy="746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291">
            <a:extLst>
              <a:ext uri="{FF2B5EF4-FFF2-40B4-BE49-F238E27FC236}">
                <a16:creationId xmlns:a16="http://schemas.microsoft.com/office/drawing/2014/main" id="{A6153574-85E9-5358-A812-635B8C9148AA}"/>
              </a:ext>
            </a:extLst>
          </p:cNvPr>
          <p:cNvCxnSpPr/>
          <p:nvPr>
            <p:custDataLst>
              <p:tags r:id="rId93"/>
            </p:custDataLst>
          </p:nvPr>
        </p:nvCxnSpPr>
        <p:spPr bwMode="auto">
          <a:xfrm>
            <a:off x="8902700" y="6037263"/>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80">
            <a:extLst>
              <a:ext uri="{FF2B5EF4-FFF2-40B4-BE49-F238E27FC236}">
                <a16:creationId xmlns:a16="http://schemas.microsoft.com/office/drawing/2014/main" id="{DE0FA4DB-84C1-881B-5577-E862935705D5}"/>
              </a:ext>
            </a:extLst>
          </p:cNvPr>
          <p:cNvCxnSpPr/>
          <p:nvPr>
            <p:custDataLst>
              <p:tags r:id="rId94"/>
            </p:custDataLst>
          </p:nvPr>
        </p:nvCxnSpPr>
        <p:spPr bwMode="auto">
          <a:xfrm>
            <a:off x="8731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90">
            <a:extLst>
              <a:ext uri="{FF2B5EF4-FFF2-40B4-BE49-F238E27FC236}">
                <a16:creationId xmlns:a16="http://schemas.microsoft.com/office/drawing/2014/main" id="{C54BECCB-6170-B5F4-146A-6304C63957BF}"/>
              </a:ext>
            </a:extLst>
          </p:cNvPr>
          <p:cNvCxnSpPr/>
          <p:nvPr>
            <p:custDataLst>
              <p:tags r:id="rId95"/>
            </p:custDataLst>
          </p:nvPr>
        </p:nvCxnSpPr>
        <p:spPr bwMode="auto">
          <a:xfrm>
            <a:off x="873125" y="48847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91">
            <a:extLst>
              <a:ext uri="{FF2B5EF4-FFF2-40B4-BE49-F238E27FC236}">
                <a16:creationId xmlns:a16="http://schemas.microsoft.com/office/drawing/2014/main" id="{6D68EBFC-9BDC-E044-B51B-DA482FC240EC}"/>
              </a:ext>
            </a:extLst>
          </p:cNvPr>
          <p:cNvCxnSpPr/>
          <p:nvPr>
            <p:custDataLst>
              <p:tags r:id="rId96"/>
            </p:custDataLst>
          </p:nvPr>
        </p:nvCxnSpPr>
        <p:spPr bwMode="auto">
          <a:xfrm>
            <a:off x="873125" y="59372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287">
            <a:extLst>
              <a:ext uri="{FF2B5EF4-FFF2-40B4-BE49-F238E27FC236}">
                <a16:creationId xmlns:a16="http://schemas.microsoft.com/office/drawing/2014/main" id="{811457EA-CABE-8D57-AC68-5C6F50D523B8}"/>
              </a:ext>
            </a:extLst>
          </p:cNvPr>
          <p:cNvCxnSpPr/>
          <p:nvPr>
            <p:custDataLst>
              <p:tags r:id="rId97"/>
            </p:custDataLst>
          </p:nvPr>
        </p:nvCxnSpPr>
        <p:spPr bwMode="auto">
          <a:xfrm>
            <a:off x="8604250" y="5033963"/>
            <a:ext cx="111125"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93">
            <a:extLst>
              <a:ext uri="{FF2B5EF4-FFF2-40B4-BE49-F238E27FC236}">
                <a16:creationId xmlns:a16="http://schemas.microsoft.com/office/drawing/2014/main" id="{7F0CA996-C806-0EF9-B91F-4B6629801411}"/>
              </a:ext>
            </a:extLst>
          </p:cNvPr>
          <p:cNvCxnSpPr/>
          <p:nvPr>
            <p:custDataLst>
              <p:tags r:id="rId98"/>
            </p:custDataLst>
          </p:nvPr>
        </p:nvCxnSpPr>
        <p:spPr bwMode="auto">
          <a:xfrm>
            <a:off x="1171575" y="488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94">
            <a:extLst>
              <a:ext uri="{FF2B5EF4-FFF2-40B4-BE49-F238E27FC236}">
                <a16:creationId xmlns:a16="http://schemas.microsoft.com/office/drawing/2014/main" id="{657930DA-F829-3C01-758F-E333DC75B8AD}"/>
              </a:ext>
            </a:extLst>
          </p:cNvPr>
          <p:cNvCxnSpPr/>
          <p:nvPr>
            <p:custDataLst>
              <p:tags r:id="rId99"/>
            </p:custDataLst>
          </p:nvPr>
        </p:nvCxnSpPr>
        <p:spPr bwMode="auto">
          <a:xfrm>
            <a:off x="1171575" y="59404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95">
            <a:extLst>
              <a:ext uri="{FF2B5EF4-FFF2-40B4-BE49-F238E27FC236}">
                <a16:creationId xmlns:a16="http://schemas.microsoft.com/office/drawing/2014/main" id="{A523A292-817B-C0AC-2546-542EA30AF881}"/>
              </a:ext>
            </a:extLst>
          </p:cNvPr>
          <p:cNvCxnSpPr/>
          <p:nvPr>
            <p:custDataLst>
              <p:tags r:id="rId100"/>
            </p:custDataLst>
          </p:nvPr>
        </p:nvCxnSpPr>
        <p:spPr bwMode="auto">
          <a:xfrm>
            <a:off x="14684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96">
            <a:extLst>
              <a:ext uri="{FF2B5EF4-FFF2-40B4-BE49-F238E27FC236}">
                <a16:creationId xmlns:a16="http://schemas.microsoft.com/office/drawing/2014/main" id="{940EFA37-1E36-AFB9-D55C-FF4EB0C04686}"/>
              </a:ext>
            </a:extLst>
          </p:cNvPr>
          <p:cNvCxnSpPr/>
          <p:nvPr>
            <p:custDataLst>
              <p:tags r:id="rId101"/>
            </p:custDataLst>
          </p:nvPr>
        </p:nvCxnSpPr>
        <p:spPr bwMode="auto">
          <a:xfrm>
            <a:off x="1468438" y="488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97">
            <a:extLst>
              <a:ext uri="{FF2B5EF4-FFF2-40B4-BE49-F238E27FC236}">
                <a16:creationId xmlns:a16="http://schemas.microsoft.com/office/drawing/2014/main" id="{BC806AD7-5468-C32E-C2A5-4A85FC075630}"/>
              </a:ext>
            </a:extLst>
          </p:cNvPr>
          <p:cNvCxnSpPr/>
          <p:nvPr>
            <p:custDataLst>
              <p:tags r:id="rId102"/>
            </p:custDataLst>
          </p:nvPr>
        </p:nvCxnSpPr>
        <p:spPr bwMode="auto">
          <a:xfrm>
            <a:off x="1468438" y="59420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98">
            <a:extLst>
              <a:ext uri="{FF2B5EF4-FFF2-40B4-BE49-F238E27FC236}">
                <a16:creationId xmlns:a16="http://schemas.microsoft.com/office/drawing/2014/main" id="{8CB7DDE6-FC71-75CC-A8C0-E34E27634CF9}"/>
              </a:ext>
            </a:extLst>
          </p:cNvPr>
          <p:cNvCxnSpPr/>
          <p:nvPr>
            <p:custDataLst>
              <p:tags r:id="rId103"/>
            </p:custDataLst>
          </p:nvPr>
        </p:nvCxnSpPr>
        <p:spPr bwMode="auto">
          <a:xfrm>
            <a:off x="1765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246">
            <a:extLst>
              <a:ext uri="{FF2B5EF4-FFF2-40B4-BE49-F238E27FC236}">
                <a16:creationId xmlns:a16="http://schemas.microsoft.com/office/drawing/2014/main" id="{CC3B050B-3353-272F-B44F-AEA0E3BD064B}"/>
              </a:ext>
            </a:extLst>
          </p:cNvPr>
          <p:cNvCxnSpPr/>
          <p:nvPr>
            <p:custDataLst>
              <p:tags r:id="rId104"/>
            </p:custDataLst>
          </p:nvPr>
        </p:nvCxnSpPr>
        <p:spPr bwMode="auto">
          <a:xfrm>
            <a:off x="3549650" y="48990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99">
            <a:extLst>
              <a:ext uri="{FF2B5EF4-FFF2-40B4-BE49-F238E27FC236}">
                <a16:creationId xmlns:a16="http://schemas.microsoft.com/office/drawing/2014/main" id="{C7743983-7E4D-E93C-9133-EB9893380B54}"/>
              </a:ext>
            </a:extLst>
          </p:cNvPr>
          <p:cNvCxnSpPr/>
          <p:nvPr>
            <p:custDataLst>
              <p:tags r:id="rId105"/>
            </p:custDataLst>
          </p:nvPr>
        </p:nvCxnSpPr>
        <p:spPr bwMode="auto">
          <a:xfrm>
            <a:off x="1765300" y="4889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100">
            <a:extLst>
              <a:ext uri="{FF2B5EF4-FFF2-40B4-BE49-F238E27FC236}">
                <a16:creationId xmlns:a16="http://schemas.microsoft.com/office/drawing/2014/main" id="{F7AA4FE5-337D-F613-91C8-D01E03BFC943}"/>
              </a:ext>
            </a:extLst>
          </p:cNvPr>
          <p:cNvCxnSpPr/>
          <p:nvPr>
            <p:custDataLst>
              <p:tags r:id="rId106"/>
            </p:custDataLst>
          </p:nvPr>
        </p:nvCxnSpPr>
        <p:spPr bwMode="auto">
          <a:xfrm>
            <a:off x="1765300" y="59451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101">
            <a:extLst>
              <a:ext uri="{FF2B5EF4-FFF2-40B4-BE49-F238E27FC236}">
                <a16:creationId xmlns:a16="http://schemas.microsoft.com/office/drawing/2014/main" id="{369B900D-31E0-C6A4-922E-E972E43A4EDB}"/>
              </a:ext>
            </a:extLst>
          </p:cNvPr>
          <p:cNvCxnSpPr/>
          <p:nvPr>
            <p:custDataLst>
              <p:tags r:id="rId107"/>
            </p:custDataLst>
          </p:nvPr>
        </p:nvCxnSpPr>
        <p:spPr bwMode="auto">
          <a:xfrm>
            <a:off x="2063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127">
            <a:extLst>
              <a:ext uri="{FF2B5EF4-FFF2-40B4-BE49-F238E27FC236}">
                <a16:creationId xmlns:a16="http://schemas.microsoft.com/office/drawing/2014/main" id="{2E2186CC-9845-03F3-0BF1-68848E66602C}"/>
              </a:ext>
            </a:extLst>
          </p:cNvPr>
          <p:cNvCxnSpPr/>
          <p:nvPr>
            <p:custDataLst>
              <p:tags r:id="rId108"/>
            </p:custDataLst>
          </p:nvPr>
        </p:nvCxnSpPr>
        <p:spPr bwMode="auto">
          <a:xfrm>
            <a:off x="2063750" y="48926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7" name="Straight Connector 192">
            <a:extLst>
              <a:ext uri="{FF2B5EF4-FFF2-40B4-BE49-F238E27FC236}">
                <a16:creationId xmlns:a16="http://schemas.microsoft.com/office/drawing/2014/main" id="{767E1211-2DE6-BD75-2268-8EBC4773BABA}"/>
              </a:ext>
            </a:extLst>
          </p:cNvPr>
          <p:cNvCxnSpPr/>
          <p:nvPr>
            <p:custDataLst>
              <p:tags r:id="rId109"/>
            </p:custDataLst>
          </p:nvPr>
        </p:nvCxnSpPr>
        <p:spPr bwMode="auto">
          <a:xfrm>
            <a:off x="2063750" y="595153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Straight Connector 193">
            <a:extLst>
              <a:ext uri="{FF2B5EF4-FFF2-40B4-BE49-F238E27FC236}">
                <a16:creationId xmlns:a16="http://schemas.microsoft.com/office/drawing/2014/main" id="{B9AB1069-4AD4-A242-0F76-644461D9F98A}"/>
              </a:ext>
            </a:extLst>
          </p:cNvPr>
          <p:cNvCxnSpPr/>
          <p:nvPr>
            <p:custDataLst>
              <p:tags r:id="rId110"/>
            </p:custDataLst>
          </p:nvPr>
        </p:nvCxnSpPr>
        <p:spPr bwMode="auto">
          <a:xfrm>
            <a:off x="23606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4" name="Straight Connector 202">
            <a:extLst>
              <a:ext uri="{FF2B5EF4-FFF2-40B4-BE49-F238E27FC236}">
                <a16:creationId xmlns:a16="http://schemas.microsoft.com/office/drawing/2014/main" id="{FB9B17AC-9A63-CEC1-5A30-D585FFADE4B2}"/>
              </a:ext>
            </a:extLst>
          </p:cNvPr>
          <p:cNvCxnSpPr/>
          <p:nvPr>
            <p:custDataLst>
              <p:tags r:id="rId111"/>
            </p:custDataLst>
          </p:nvPr>
        </p:nvCxnSpPr>
        <p:spPr bwMode="auto">
          <a:xfrm>
            <a:off x="2360613" y="48958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203">
            <a:extLst>
              <a:ext uri="{FF2B5EF4-FFF2-40B4-BE49-F238E27FC236}">
                <a16:creationId xmlns:a16="http://schemas.microsoft.com/office/drawing/2014/main" id="{E1FC5673-55DF-3418-06D5-A0DD2E4770A8}"/>
              </a:ext>
            </a:extLst>
          </p:cNvPr>
          <p:cNvCxnSpPr/>
          <p:nvPr>
            <p:custDataLst>
              <p:tags r:id="rId112"/>
            </p:custDataLst>
          </p:nvPr>
        </p:nvCxnSpPr>
        <p:spPr bwMode="auto">
          <a:xfrm>
            <a:off x="2360613" y="59594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205">
            <a:extLst>
              <a:ext uri="{FF2B5EF4-FFF2-40B4-BE49-F238E27FC236}">
                <a16:creationId xmlns:a16="http://schemas.microsoft.com/office/drawing/2014/main" id="{BF5269D5-7B7D-9049-26C0-351F65564A25}"/>
              </a:ext>
            </a:extLst>
          </p:cNvPr>
          <p:cNvCxnSpPr/>
          <p:nvPr>
            <p:custDataLst>
              <p:tags r:id="rId113"/>
            </p:custDataLst>
          </p:nvPr>
        </p:nvCxnSpPr>
        <p:spPr bwMode="auto">
          <a:xfrm>
            <a:off x="2657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8" name="Straight Connector 207">
            <a:extLst>
              <a:ext uri="{FF2B5EF4-FFF2-40B4-BE49-F238E27FC236}">
                <a16:creationId xmlns:a16="http://schemas.microsoft.com/office/drawing/2014/main" id="{45283281-8FEE-1E48-94D2-352353607718}"/>
              </a:ext>
            </a:extLst>
          </p:cNvPr>
          <p:cNvCxnSpPr/>
          <p:nvPr>
            <p:custDataLst>
              <p:tags r:id="rId114"/>
            </p:custDataLst>
          </p:nvPr>
        </p:nvCxnSpPr>
        <p:spPr bwMode="auto">
          <a:xfrm>
            <a:off x="2657475" y="48974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213">
            <a:extLst>
              <a:ext uri="{FF2B5EF4-FFF2-40B4-BE49-F238E27FC236}">
                <a16:creationId xmlns:a16="http://schemas.microsoft.com/office/drawing/2014/main" id="{956FB98E-A1D9-D444-4786-7B275B948486}"/>
              </a:ext>
            </a:extLst>
          </p:cNvPr>
          <p:cNvCxnSpPr/>
          <p:nvPr>
            <p:custDataLst>
              <p:tags r:id="rId115"/>
            </p:custDataLst>
          </p:nvPr>
        </p:nvCxnSpPr>
        <p:spPr bwMode="auto">
          <a:xfrm>
            <a:off x="2657475" y="5967413"/>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214">
            <a:extLst>
              <a:ext uri="{FF2B5EF4-FFF2-40B4-BE49-F238E27FC236}">
                <a16:creationId xmlns:a16="http://schemas.microsoft.com/office/drawing/2014/main" id="{93B2739B-CA89-72E6-3358-35AF21A72C13}"/>
              </a:ext>
            </a:extLst>
          </p:cNvPr>
          <p:cNvCxnSpPr/>
          <p:nvPr>
            <p:custDataLst>
              <p:tags r:id="rId116"/>
            </p:custDataLst>
          </p:nvPr>
        </p:nvCxnSpPr>
        <p:spPr bwMode="auto">
          <a:xfrm>
            <a:off x="2954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222">
            <a:extLst>
              <a:ext uri="{FF2B5EF4-FFF2-40B4-BE49-F238E27FC236}">
                <a16:creationId xmlns:a16="http://schemas.microsoft.com/office/drawing/2014/main" id="{96B2AE26-D3EE-F7E9-7ED0-BBFB7DC0BF01}"/>
              </a:ext>
            </a:extLst>
          </p:cNvPr>
          <p:cNvCxnSpPr/>
          <p:nvPr>
            <p:custDataLst>
              <p:tags r:id="rId117"/>
            </p:custDataLst>
          </p:nvPr>
        </p:nvCxnSpPr>
        <p:spPr bwMode="auto">
          <a:xfrm>
            <a:off x="2954338" y="48974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223">
            <a:extLst>
              <a:ext uri="{FF2B5EF4-FFF2-40B4-BE49-F238E27FC236}">
                <a16:creationId xmlns:a16="http://schemas.microsoft.com/office/drawing/2014/main" id="{5794BB19-C54E-0A06-A2DA-B871F2775EDB}"/>
              </a:ext>
            </a:extLst>
          </p:cNvPr>
          <p:cNvCxnSpPr/>
          <p:nvPr>
            <p:custDataLst>
              <p:tags r:id="rId118"/>
            </p:custDataLst>
          </p:nvPr>
        </p:nvCxnSpPr>
        <p:spPr bwMode="auto">
          <a:xfrm>
            <a:off x="2954338" y="59785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224">
            <a:extLst>
              <a:ext uri="{FF2B5EF4-FFF2-40B4-BE49-F238E27FC236}">
                <a16:creationId xmlns:a16="http://schemas.microsoft.com/office/drawing/2014/main" id="{AD88EB2E-F890-6B77-E90C-2DBAC7C813E1}"/>
              </a:ext>
            </a:extLst>
          </p:cNvPr>
          <p:cNvCxnSpPr/>
          <p:nvPr>
            <p:custDataLst>
              <p:tags r:id="rId119"/>
            </p:custDataLst>
          </p:nvPr>
        </p:nvCxnSpPr>
        <p:spPr bwMode="auto">
          <a:xfrm>
            <a:off x="3252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225">
            <a:extLst>
              <a:ext uri="{FF2B5EF4-FFF2-40B4-BE49-F238E27FC236}">
                <a16:creationId xmlns:a16="http://schemas.microsoft.com/office/drawing/2014/main" id="{737997BF-8024-BF92-38BA-1ABA36F0E2A7}"/>
              </a:ext>
            </a:extLst>
          </p:cNvPr>
          <p:cNvCxnSpPr/>
          <p:nvPr>
            <p:custDataLst>
              <p:tags r:id="rId120"/>
            </p:custDataLst>
          </p:nvPr>
        </p:nvCxnSpPr>
        <p:spPr bwMode="auto">
          <a:xfrm>
            <a:off x="3252788" y="4897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243">
            <a:extLst>
              <a:ext uri="{FF2B5EF4-FFF2-40B4-BE49-F238E27FC236}">
                <a16:creationId xmlns:a16="http://schemas.microsoft.com/office/drawing/2014/main" id="{37B7226F-8980-2237-FA83-992323609DBD}"/>
              </a:ext>
            </a:extLst>
          </p:cNvPr>
          <p:cNvCxnSpPr/>
          <p:nvPr>
            <p:custDataLst>
              <p:tags r:id="rId121"/>
            </p:custDataLst>
          </p:nvPr>
        </p:nvCxnSpPr>
        <p:spPr bwMode="auto">
          <a:xfrm>
            <a:off x="3252788" y="59896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9" name="Straight Connector 245">
            <a:extLst>
              <a:ext uri="{FF2B5EF4-FFF2-40B4-BE49-F238E27FC236}">
                <a16:creationId xmlns:a16="http://schemas.microsoft.com/office/drawing/2014/main" id="{2813A320-E0F8-47FF-FC63-C8CC3A1AC7BF}"/>
              </a:ext>
            </a:extLst>
          </p:cNvPr>
          <p:cNvCxnSpPr/>
          <p:nvPr>
            <p:custDataLst>
              <p:tags r:id="rId122"/>
            </p:custDataLst>
          </p:nvPr>
        </p:nvCxnSpPr>
        <p:spPr bwMode="auto">
          <a:xfrm>
            <a:off x="35496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 name="Straight Connector 247">
            <a:extLst>
              <a:ext uri="{FF2B5EF4-FFF2-40B4-BE49-F238E27FC236}">
                <a16:creationId xmlns:a16="http://schemas.microsoft.com/office/drawing/2014/main" id="{7F2EBB3D-B3FE-BFBE-AE66-66739ACB7F35}"/>
              </a:ext>
            </a:extLst>
          </p:cNvPr>
          <p:cNvCxnSpPr/>
          <p:nvPr>
            <p:custDataLst>
              <p:tags r:id="rId123"/>
            </p:custDataLst>
          </p:nvPr>
        </p:nvCxnSpPr>
        <p:spPr bwMode="auto">
          <a:xfrm>
            <a:off x="3549650" y="59959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248">
            <a:extLst>
              <a:ext uri="{FF2B5EF4-FFF2-40B4-BE49-F238E27FC236}">
                <a16:creationId xmlns:a16="http://schemas.microsoft.com/office/drawing/2014/main" id="{3BE902B1-C3AE-7F83-D2E7-C9DF302DC69F}"/>
              </a:ext>
            </a:extLst>
          </p:cNvPr>
          <p:cNvCxnSpPr/>
          <p:nvPr>
            <p:custDataLst>
              <p:tags r:id="rId124"/>
            </p:custDataLst>
          </p:nvPr>
        </p:nvCxnSpPr>
        <p:spPr bwMode="auto">
          <a:xfrm>
            <a:off x="38465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249">
            <a:extLst>
              <a:ext uri="{FF2B5EF4-FFF2-40B4-BE49-F238E27FC236}">
                <a16:creationId xmlns:a16="http://schemas.microsoft.com/office/drawing/2014/main" id="{CFAF2033-DC18-D162-DB1D-33FCCB3DBEFC}"/>
              </a:ext>
            </a:extLst>
          </p:cNvPr>
          <p:cNvCxnSpPr/>
          <p:nvPr>
            <p:custDataLst>
              <p:tags r:id="rId125"/>
            </p:custDataLst>
          </p:nvPr>
        </p:nvCxnSpPr>
        <p:spPr bwMode="auto">
          <a:xfrm>
            <a:off x="3846513" y="49006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250">
            <a:extLst>
              <a:ext uri="{FF2B5EF4-FFF2-40B4-BE49-F238E27FC236}">
                <a16:creationId xmlns:a16="http://schemas.microsoft.com/office/drawing/2014/main" id="{B57EA5A2-5718-D9AC-84C2-19CDDE84A170}"/>
              </a:ext>
            </a:extLst>
          </p:cNvPr>
          <p:cNvCxnSpPr/>
          <p:nvPr>
            <p:custDataLst>
              <p:tags r:id="rId126"/>
            </p:custDataLst>
          </p:nvPr>
        </p:nvCxnSpPr>
        <p:spPr bwMode="auto">
          <a:xfrm>
            <a:off x="3846513" y="60023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251">
            <a:extLst>
              <a:ext uri="{FF2B5EF4-FFF2-40B4-BE49-F238E27FC236}">
                <a16:creationId xmlns:a16="http://schemas.microsoft.com/office/drawing/2014/main" id="{532AE5CE-5862-D929-762D-3DFD1065D965}"/>
              </a:ext>
            </a:extLst>
          </p:cNvPr>
          <p:cNvCxnSpPr/>
          <p:nvPr>
            <p:custDataLst>
              <p:tags r:id="rId127"/>
            </p:custDataLst>
          </p:nvPr>
        </p:nvCxnSpPr>
        <p:spPr bwMode="auto">
          <a:xfrm>
            <a:off x="41449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252">
            <a:extLst>
              <a:ext uri="{FF2B5EF4-FFF2-40B4-BE49-F238E27FC236}">
                <a16:creationId xmlns:a16="http://schemas.microsoft.com/office/drawing/2014/main" id="{828AE306-1DB2-E1D4-91FA-FBEE25C24AC2}"/>
              </a:ext>
            </a:extLst>
          </p:cNvPr>
          <p:cNvCxnSpPr/>
          <p:nvPr>
            <p:custDataLst>
              <p:tags r:id="rId128"/>
            </p:custDataLst>
          </p:nvPr>
        </p:nvCxnSpPr>
        <p:spPr bwMode="auto">
          <a:xfrm>
            <a:off x="4144963" y="49022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253">
            <a:extLst>
              <a:ext uri="{FF2B5EF4-FFF2-40B4-BE49-F238E27FC236}">
                <a16:creationId xmlns:a16="http://schemas.microsoft.com/office/drawing/2014/main" id="{E3E67FD3-F35E-09CD-1543-C9FAA604B790}"/>
              </a:ext>
            </a:extLst>
          </p:cNvPr>
          <p:cNvCxnSpPr/>
          <p:nvPr>
            <p:custDataLst>
              <p:tags r:id="rId129"/>
            </p:custDataLst>
          </p:nvPr>
        </p:nvCxnSpPr>
        <p:spPr bwMode="auto">
          <a:xfrm>
            <a:off x="4144963" y="60070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254">
            <a:extLst>
              <a:ext uri="{FF2B5EF4-FFF2-40B4-BE49-F238E27FC236}">
                <a16:creationId xmlns:a16="http://schemas.microsoft.com/office/drawing/2014/main" id="{70DD69C5-CC8C-3B0F-3246-0F00E663986E}"/>
              </a:ext>
            </a:extLst>
          </p:cNvPr>
          <p:cNvCxnSpPr/>
          <p:nvPr>
            <p:custDataLst>
              <p:tags r:id="rId130"/>
            </p:custDataLst>
          </p:nvPr>
        </p:nvCxnSpPr>
        <p:spPr bwMode="auto">
          <a:xfrm>
            <a:off x="4441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255">
            <a:extLst>
              <a:ext uri="{FF2B5EF4-FFF2-40B4-BE49-F238E27FC236}">
                <a16:creationId xmlns:a16="http://schemas.microsoft.com/office/drawing/2014/main" id="{2BF78167-F87B-90E1-9872-131E3394F850}"/>
              </a:ext>
            </a:extLst>
          </p:cNvPr>
          <p:cNvCxnSpPr/>
          <p:nvPr>
            <p:custDataLst>
              <p:tags r:id="rId131"/>
            </p:custDataLst>
          </p:nvPr>
        </p:nvCxnSpPr>
        <p:spPr bwMode="auto">
          <a:xfrm>
            <a:off x="4441825" y="49069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256">
            <a:extLst>
              <a:ext uri="{FF2B5EF4-FFF2-40B4-BE49-F238E27FC236}">
                <a16:creationId xmlns:a16="http://schemas.microsoft.com/office/drawing/2014/main" id="{A8554824-1C82-FEB4-0494-7E6017208FED}"/>
              </a:ext>
            </a:extLst>
          </p:cNvPr>
          <p:cNvCxnSpPr/>
          <p:nvPr>
            <p:custDataLst>
              <p:tags r:id="rId132"/>
            </p:custDataLst>
          </p:nvPr>
        </p:nvCxnSpPr>
        <p:spPr bwMode="auto">
          <a:xfrm>
            <a:off x="4441825" y="6013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257">
            <a:extLst>
              <a:ext uri="{FF2B5EF4-FFF2-40B4-BE49-F238E27FC236}">
                <a16:creationId xmlns:a16="http://schemas.microsoft.com/office/drawing/2014/main" id="{D9C11E17-7458-4E6D-08AA-D21BA8C18189}"/>
              </a:ext>
            </a:extLst>
          </p:cNvPr>
          <p:cNvCxnSpPr/>
          <p:nvPr>
            <p:custDataLst>
              <p:tags r:id="rId133"/>
            </p:custDataLst>
          </p:nvPr>
        </p:nvCxnSpPr>
        <p:spPr bwMode="auto">
          <a:xfrm>
            <a:off x="4738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258">
            <a:extLst>
              <a:ext uri="{FF2B5EF4-FFF2-40B4-BE49-F238E27FC236}">
                <a16:creationId xmlns:a16="http://schemas.microsoft.com/office/drawing/2014/main" id="{BFC2BBAE-CA4C-D23C-D850-0CF2784C4023}"/>
              </a:ext>
            </a:extLst>
          </p:cNvPr>
          <p:cNvCxnSpPr/>
          <p:nvPr>
            <p:custDataLst>
              <p:tags r:id="rId134"/>
            </p:custDataLst>
          </p:nvPr>
        </p:nvCxnSpPr>
        <p:spPr bwMode="auto">
          <a:xfrm>
            <a:off x="4738688" y="49117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259">
            <a:extLst>
              <a:ext uri="{FF2B5EF4-FFF2-40B4-BE49-F238E27FC236}">
                <a16:creationId xmlns:a16="http://schemas.microsoft.com/office/drawing/2014/main" id="{A5E949C2-B021-A33A-B9C6-BE4B87C32746}"/>
              </a:ext>
            </a:extLst>
          </p:cNvPr>
          <p:cNvCxnSpPr/>
          <p:nvPr>
            <p:custDataLst>
              <p:tags r:id="rId135"/>
            </p:custDataLst>
          </p:nvPr>
        </p:nvCxnSpPr>
        <p:spPr bwMode="auto">
          <a:xfrm>
            <a:off x="4738688" y="6016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261">
            <a:extLst>
              <a:ext uri="{FF2B5EF4-FFF2-40B4-BE49-F238E27FC236}">
                <a16:creationId xmlns:a16="http://schemas.microsoft.com/office/drawing/2014/main" id="{9E7FEC52-E4AC-0419-4C3F-31B3A62EED05}"/>
              </a:ext>
            </a:extLst>
          </p:cNvPr>
          <p:cNvCxnSpPr/>
          <p:nvPr>
            <p:custDataLst>
              <p:tags r:id="rId136"/>
            </p:custDataLst>
          </p:nvPr>
        </p:nvCxnSpPr>
        <p:spPr bwMode="auto">
          <a:xfrm>
            <a:off x="5037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262">
            <a:extLst>
              <a:ext uri="{FF2B5EF4-FFF2-40B4-BE49-F238E27FC236}">
                <a16:creationId xmlns:a16="http://schemas.microsoft.com/office/drawing/2014/main" id="{45B81EF7-D9D1-1DDE-D10A-9A8B195F7E8F}"/>
              </a:ext>
            </a:extLst>
          </p:cNvPr>
          <p:cNvCxnSpPr/>
          <p:nvPr>
            <p:custDataLst>
              <p:tags r:id="rId137"/>
            </p:custDataLst>
          </p:nvPr>
        </p:nvCxnSpPr>
        <p:spPr bwMode="auto">
          <a:xfrm>
            <a:off x="5037138" y="49180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263">
            <a:extLst>
              <a:ext uri="{FF2B5EF4-FFF2-40B4-BE49-F238E27FC236}">
                <a16:creationId xmlns:a16="http://schemas.microsoft.com/office/drawing/2014/main" id="{8AF279EB-C263-5354-119B-C9CC4F0FFA69}"/>
              </a:ext>
            </a:extLst>
          </p:cNvPr>
          <p:cNvCxnSpPr/>
          <p:nvPr>
            <p:custDataLst>
              <p:tags r:id="rId138"/>
            </p:custDataLst>
          </p:nvPr>
        </p:nvCxnSpPr>
        <p:spPr bwMode="auto">
          <a:xfrm>
            <a:off x="5037138" y="6019801"/>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Straight Connector 264">
            <a:extLst>
              <a:ext uri="{FF2B5EF4-FFF2-40B4-BE49-F238E27FC236}">
                <a16:creationId xmlns:a16="http://schemas.microsoft.com/office/drawing/2014/main" id="{EFDDE75A-5953-44DA-5DCA-BCD088FB880D}"/>
              </a:ext>
            </a:extLst>
          </p:cNvPr>
          <p:cNvCxnSpPr/>
          <p:nvPr>
            <p:custDataLst>
              <p:tags r:id="rId139"/>
            </p:custDataLst>
          </p:nvPr>
        </p:nvCxnSpPr>
        <p:spPr bwMode="auto">
          <a:xfrm>
            <a:off x="5334000" y="4797425"/>
            <a:ext cx="904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265">
            <a:extLst>
              <a:ext uri="{FF2B5EF4-FFF2-40B4-BE49-F238E27FC236}">
                <a16:creationId xmlns:a16="http://schemas.microsoft.com/office/drawing/2014/main" id="{A7619163-F824-45BB-EA84-F651BF19871C}"/>
              </a:ext>
            </a:extLst>
          </p:cNvPr>
          <p:cNvCxnSpPr/>
          <p:nvPr>
            <p:custDataLst>
              <p:tags r:id="rId140"/>
            </p:custDataLst>
          </p:nvPr>
        </p:nvCxnSpPr>
        <p:spPr bwMode="auto">
          <a:xfrm>
            <a:off x="5334000" y="4922839"/>
            <a:ext cx="904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266">
            <a:extLst>
              <a:ext uri="{FF2B5EF4-FFF2-40B4-BE49-F238E27FC236}">
                <a16:creationId xmlns:a16="http://schemas.microsoft.com/office/drawing/2014/main" id="{7246B0D2-A82D-465E-C751-0201E1AE8D74}"/>
              </a:ext>
            </a:extLst>
          </p:cNvPr>
          <p:cNvCxnSpPr/>
          <p:nvPr>
            <p:custDataLst>
              <p:tags r:id="rId141"/>
            </p:custDataLst>
          </p:nvPr>
        </p:nvCxnSpPr>
        <p:spPr bwMode="auto">
          <a:xfrm>
            <a:off x="5334000" y="60229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267">
            <a:extLst>
              <a:ext uri="{FF2B5EF4-FFF2-40B4-BE49-F238E27FC236}">
                <a16:creationId xmlns:a16="http://schemas.microsoft.com/office/drawing/2014/main" id="{91B7EF48-D3D1-4164-8897-DADB618A64F7}"/>
              </a:ext>
            </a:extLst>
          </p:cNvPr>
          <p:cNvCxnSpPr/>
          <p:nvPr>
            <p:custDataLst>
              <p:tags r:id="rId142"/>
            </p:custDataLst>
          </p:nvPr>
        </p:nvCxnSpPr>
        <p:spPr bwMode="auto">
          <a:xfrm>
            <a:off x="5649914"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268">
            <a:extLst>
              <a:ext uri="{FF2B5EF4-FFF2-40B4-BE49-F238E27FC236}">
                <a16:creationId xmlns:a16="http://schemas.microsoft.com/office/drawing/2014/main" id="{9E838A81-1863-B93C-521A-995D3F551632}"/>
              </a:ext>
            </a:extLst>
          </p:cNvPr>
          <p:cNvCxnSpPr/>
          <p:nvPr>
            <p:custDataLst>
              <p:tags r:id="rId143"/>
            </p:custDataLst>
          </p:nvPr>
        </p:nvCxnSpPr>
        <p:spPr bwMode="auto">
          <a:xfrm>
            <a:off x="5649914" y="4930775"/>
            <a:ext cx="9207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269">
            <a:extLst>
              <a:ext uri="{FF2B5EF4-FFF2-40B4-BE49-F238E27FC236}">
                <a16:creationId xmlns:a16="http://schemas.microsoft.com/office/drawing/2014/main" id="{D13A70E5-F6C5-A7FD-932F-BD0949E60D86}"/>
              </a:ext>
            </a:extLst>
          </p:cNvPr>
          <p:cNvCxnSpPr/>
          <p:nvPr>
            <p:custDataLst>
              <p:tags r:id="rId144"/>
            </p:custDataLst>
          </p:nvPr>
        </p:nvCxnSpPr>
        <p:spPr bwMode="auto">
          <a:xfrm>
            <a:off x="5630863" y="6024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270">
            <a:extLst>
              <a:ext uri="{FF2B5EF4-FFF2-40B4-BE49-F238E27FC236}">
                <a16:creationId xmlns:a16="http://schemas.microsoft.com/office/drawing/2014/main" id="{80655194-2677-2096-86A2-E907DCE7AF6B}"/>
              </a:ext>
            </a:extLst>
          </p:cNvPr>
          <p:cNvCxnSpPr/>
          <p:nvPr>
            <p:custDataLst>
              <p:tags r:id="rId145"/>
            </p:custDataLst>
          </p:nvPr>
        </p:nvCxnSpPr>
        <p:spPr bwMode="auto">
          <a:xfrm>
            <a:off x="59293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271">
            <a:extLst>
              <a:ext uri="{FF2B5EF4-FFF2-40B4-BE49-F238E27FC236}">
                <a16:creationId xmlns:a16="http://schemas.microsoft.com/office/drawing/2014/main" id="{8A58F181-066E-ED6A-2EA6-0CA9F63975A7}"/>
              </a:ext>
            </a:extLst>
          </p:cNvPr>
          <p:cNvCxnSpPr/>
          <p:nvPr>
            <p:custDataLst>
              <p:tags r:id="rId146"/>
            </p:custDataLst>
          </p:nvPr>
        </p:nvCxnSpPr>
        <p:spPr bwMode="auto">
          <a:xfrm>
            <a:off x="5929313" y="49371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272">
            <a:extLst>
              <a:ext uri="{FF2B5EF4-FFF2-40B4-BE49-F238E27FC236}">
                <a16:creationId xmlns:a16="http://schemas.microsoft.com/office/drawing/2014/main" id="{350B5111-0FD4-8E25-55C7-E1D9FD6053B4}"/>
              </a:ext>
            </a:extLst>
          </p:cNvPr>
          <p:cNvCxnSpPr/>
          <p:nvPr>
            <p:custDataLst>
              <p:tags r:id="rId147"/>
            </p:custDataLst>
          </p:nvPr>
        </p:nvCxnSpPr>
        <p:spPr bwMode="auto">
          <a:xfrm>
            <a:off x="5929313" y="6026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273">
            <a:extLst>
              <a:ext uri="{FF2B5EF4-FFF2-40B4-BE49-F238E27FC236}">
                <a16:creationId xmlns:a16="http://schemas.microsoft.com/office/drawing/2014/main" id="{51B4E1A5-4763-9DAB-66BE-43A63077273B}"/>
              </a:ext>
            </a:extLst>
          </p:cNvPr>
          <p:cNvCxnSpPr/>
          <p:nvPr>
            <p:custDataLst>
              <p:tags r:id="rId148"/>
            </p:custDataLst>
          </p:nvPr>
        </p:nvCxnSpPr>
        <p:spPr bwMode="auto">
          <a:xfrm>
            <a:off x="62261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274">
            <a:extLst>
              <a:ext uri="{FF2B5EF4-FFF2-40B4-BE49-F238E27FC236}">
                <a16:creationId xmlns:a16="http://schemas.microsoft.com/office/drawing/2014/main" id="{4D7D2BA3-D503-55A0-A371-A3AB080BE546}"/>
              </a:ext>
            </a:extLst>
          </p:cNvPr>
          <p:cNvCxnSpPr/>
          <p:nvPr>
            <p:custDataLst>
              <p:tags r:id="rId149"/>
            </p:custDataLst>
          </p:nvPr>
        </p:nvCxnSpPr>
        <p:spPr bwMode="auto">
          <a:xfrm>
            <a:off x="6226175" y="494506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275">
            <a:extLst>
              <a:ext uri="{FF2B5EF4-FFF2-40B4-BE49-F238E27FC236}">
                <a16:creationId xmlns:a16="http://schemas.microsoft.com/office/drawing/2014/main" id="{AAA5B78B-F07D-1EE7-093B-90CE6BB7FE06}"/>
              </a:ext>
            </a:extLst>
          </p:cNvPr>
          <p:cNvCxnSpPr/>
          <p:nvPr>
            <p:custDataLst>
              <p:tags r:id="rId150"/>
            </p:custDataLst>
          </p:nvPr>
        </p:nvCxnSpPr>
        <p:spPr bwMode="auto">
          <a:xfrm>
            <a:off x="6226175" y="60277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277">
            <a:extLst>
              <a:ext uri="{FF2B5EF4-FFF2-40B4-BE49-F238E27FC236}">
                <a16:creationId xmlns:a16="http://schemas.microsoft.com/office/drawing/2014/main" id="{1420966A-A3B7-D98B-0E35-F5E0524A592B}"/>
              </a:ext>
            </a:extLst>
          </p:cNvPr>
          <p:cNvCxnSpPr/>
          <p:nvPr>
            <p:custDataLst>
              <p:tags r:id="rId151"/>
            </p:custDataLst>
          </p:nvPr>
        </p:nvCxnSpPr>
        <p:spPr bwMode="auto">
          <a:xfrm>
            <a:off x="65230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278">
            <a:extLst>
              <a:ext uri="{FF2B5EF4-FFF2-40B4-BE49-F238E27FC236}">
                <a16:creationId xmlns:a16="http://schemas.microsoft.com/office/drawing/2014/main" id="{21D56803-727F-F9B2-E9F1-1FB90FABB22D}"/>
              </a:ext>
            </a:extLst>
          </p:cNvPr>
          <p:cNvCxnSpPr/>
          <p:nvPr>
            <p:custDataLst>
              <p:tags r:id="rId152"/>
            </p:custDataLst>
          </p:nvPr>
        </p:nvCxnSpPr>
        <p:spPr bwMode="auto">
          <a:xfrm>
            <a:off x="6523038" y="49514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279">
            <a:extLst>
              <a:ext uri="{FF2B5EF4-FFF2-40B4-BE49-F238E27FC236}">
                <a16:creationId xmlns:a16="http://schemas.microsoft.com/office/drawing/2014/main" id="{A575B53C-2403-9415-D666-92C9DAAD3D52}"/>
              </a:ext>
            </a:extLst>
          </p:cNvPr>
          <p:cNvCxnSpPr/>
          <p:nvPr>
            <p:custDataLst>
              <p:tags r:id="rId153"/>
            </p:custDataLst>
          </p:nvPr>
        </p:nvCxnSpPr>
        <p:spPr bwMode="auto">
          <a:xfrm>
            <a:off x="6523038" y="60293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280">
            <a:extLst>
              <a:ext uri="{FF2B5EF4-FFF2-40B4-BE49-F238E27FC236}">
                <a16:creationId xmlns:a16="http://schemas.microsoft.com/office/drawing/2014/main" id="{FFC25AD9-55A6-BF30-6AFB-43375CB80776}"/>
              </a:ext>
            </a:extLst>
          </p:cNvPr>
          <p:cNvCxnSpPr/>
          <p:nvPr>
            <p:custDataLst>
              <p:tags r:id="rId154"/>
            </p:custDataLst>
          </p:nvPr>
        </p:nvCxnSpPr>
        <p:spPr bwMode="auto">
          <a:xfrm>
            <a:off x="68214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281">
            <a:extLst>
              <a:ext uri="{FF2B5EF4-FFF2-40B4-BE49-F238E27FC236}">
                <a16:creationId xmlns:a16="http://schemas.microsoft.com/office/drawing/2014/main" id="{62A439DC-72E2-66A3-90FC-77383127FF72}"/>
              </a:ext>
            </a:extLst>
          </p:cNvPr>
          <p:cNvCxnSpPr/>
          <p:nvPr>
            <p:custDataLst>
              <p:tags r:id="rId155"/>
            </p:custDataLst>
          </p:nvPr>
        </p:nvCxnSpPr>
        <p:spPr bwMode="auto">
          <a:xfrm>
            <a:off x="6821488" y="49593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92">
            <a:extLst>
              <a:ext uri="{FF2B5EF4-FFF2-40B4-BE49-F238E27FC236}">
                <a16:creationId xmlns:a16="http://schemas.microsoft.com/office/drawing/2014/main" id="{FBE71B71-4841-E8FC-C975-094544DD27D2}"/>
              </a:ext>
            </a:extLst>
          </p:cNvPr>
          <p:cNvCxnSpPr/>
          <p:nvPr>
            <p:custDataLst>
              <p:tags r:id="rId156"/>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282">
            <a:extLst>
              <a:ext uri="{FF2B5EF4-FFF2-40B4-BE49-F238E27FC236}">
                <a16:creationId xmlns:a16="http://schemas.microsoft.com/office/drawing/2014/main" id="{75F1B3D6-8FF6-50A6-FD1C-7EC7645FBC14}"/>
              </a:ext>
            </a:extLst>
          </p:cNvPr>
          <p:cNvCxnSpPr/>
          <p:nvPr>
            <p:custDataLst>
              <p:tags r:id="rId157"/>
            </p:custDataLst>
          </p:nvPr>
        </p:nvCxnSpPr>
        <p:spPr bwMode="auto">
          <a:xfrm>
            <a:off x="6821488" y="60293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283">
            <a:extLst>
              <a:ext uri="{FF2B5EF4-FFF2-40B4-BE49-F238E27FC236}">
                <a16:creationId xmlns:a16="http://schemas.microsoft.com/office/drawing/2014/main" id="{7518A64F-8594-384A-4368-F009CE58EFB4}"/>
              </a:ext>
            </a:extLst>
          </p:cNvPr>
          <p:cNvCxnSpPr/>
          <p:nvPr>
            <p:custDataLst>
              <p:tags r:id="rId158"/>
            </p:custDataLst>
          </p:nvPr>
        </p:nvCxnSpPr>
        <p:spPr bwMode="auto">
          <a:xfrm>
            <a:off x="71183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284">
            <a:extLst>
              <a:ext uri="{FF2B5EF4-FFF2-40B4-BE49-F238E27FC236}">
                <a16:creationId xmlns:a16="http://schemas.microsoft.com/office/drawing/2014/main" id="{F5FAD734-074B-792E-EE07-0D1853F32A2B}"/>
              </a:ext>
            </a:extLst>
          </p:cNvPr>
          <p:cNvCxnSpPr/>
          <p:nvPr>
            <p:custDataLst>
              <p:tags r:id="rId159"/>
            </p:custDataLst>
          </p:nvPr>
        </p:nvCxnSpPr>
        <p:spPr bwMode="auto">
          <a:xfrm>
            <a:off x="7118350" y="49688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285">
            <a:extLst>
              <a:ext uri="{FF2B5EF4-FFF2-40B4-BE49-F238E27FC236}">
                <a16:creationId xmlns:a16="http://schemas.microsoft.com/office/drawing/2014/main" id="{4E74ED3A-503E-3A99-D7BF-5B427989D710}"/>
              </a:ext>
            </a:extLst>
          </p:cNvPr>
          <p:cNvCxnSpPr/>
          <p:nvPr>
            <p:custDataLst>
              <p:tags r:id="rId160"/>
            </p:custDataLst>
          </p:nvPr>
        </p:nvCxnSpPr>
        <p:spPr bwMode="auto">
          <a:xfrm>
            <a:off x="7118350" y="60293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190E4142-7CBC-FD30-37B6-01CDFCCDF9E4}"/>
              </a:ext>
            </a:extLst>
          </p:cNvPr>
          <p:cNvCxnSpPr/>
          <p:nvPr>
            <p:custDataLst>
              <p:tags r:id="rId161"/>
            </p:custDataLst>
          </p:nvPr>
        </p:nvCxnSpPr>
        <p:spPr bwMode="auto">
          <a:xfrm>
            <a:off x="7415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56A5A153-A435-C1AF-0914-ADB37F10E712}"/>
              </a:ext>
            </a:extLst>
          </p:cNvPr>
          <p:cNvCxnSpPr/>
          <p:nvPr>
            <p:custDataLst>
              <p:tags r:id="rId162"/>
            </p:custDataLst>
          </p:nvPr>
        </p:nvCxnSpPr>
        <p:spPr bwMode="auto">
          <a:xfrm>
            <a:off x="7415213" y="49752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63" name="Chart 762">
            <a:extLst>
              <a:ext uri="{FF2B5EF4-FFF2-40B4-BE49-F238E27FC236}">
                <a16:creationId xmlns:a16="http://schemas.microsoft.com/office/drawing/2014/main" id="{6425FBF6-EACE-3377-C84D-8D0BEB7317A0}"/>
              </a:ext>
            </a:extLst>
          </p:cNvPr>
          <p:cNvGraphicFramePr/>
          <p:nvPr>
            <p:custDataLst>
              <p:tags r:id="rId163"/>
            </p:custDataLst>
            <p:extLst>
              <p:ext uri="{D42A27DB-BD31-4B8C-83A1-F6EECF244321}">
                <p14:modId xmlns:p14="http://schemas.microsoft.com/office/powerpoint/2010/main" val="332393489"/>
              </p:ext>
            </p:extLst>
          </p:nvPr>
        </p:nvGraphicFramePr>
        <p:xfrm>
          <a:off x="85725" y="4572000"/>
          <a:ext cx="9251950" cy="1854200"/>
        </p:xfrm>
        <a:graphic>
          <a:graphicData uri="http://schemas.openxmlformats.org/drawingml/2006/chart">
            <c:chart xmlns:c="http://schemas.openxmlformats.org/drawingml/2006/chart" xmlns:r="http://schemas.openxmlformats.org/officeDocument/2006/relationships" r:id="rId288"/>
          </a:graphicData>
        </a:graphic>
      </p:graphicFrame>
      <p:sp>
        <p:nvSpPr>
          <p:cNvPr id="499" name="Text Placeholder 12">
            <a:extLst>
              <a:ext uri="{FF2B5EF4-FFF2-40B4-BE49-F238E27FC236}">
                <a16:creationId xmlns:a16="http://schemas.microsoft.com/office/drawing/2014/main" id="{14929C06-9CB5-5F22-BF42-E5AFDD5E39C6}"/>
              </a:ext>
            </a:extLst>
          </p:cNvPr>
          <p:cNvSpPr>
            <a:spLocks/>
          </p:cNvSpPr>
          <p:nvPr>
            <p:custDataLst>
              <p:tags r:id="rId164"/>
            </p:custDataLst>
          </p:nvPr>
        </p:nvSpPr>
        <p:spPr bwMode="gray">
          <a:xfrm>
            <a:off x="639763" y="5334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5AAD04-8850-4DEC-B312-3461B11F1A8A}" type="datetime'''''''''''''7''''''''''''''5''''''''''''''.''''''0'''''''''''">
              <a:rPr lang="ja-JP" altLang="en-US" sz="1000" b="0" smtClean="0">
                <a:effectLst/>
              </a:rPr>
              <a:pPr/>
              <a:t>75.0</a:t>
            </a:fld>
            <a:endParaRPr kumimoji="0" lang="ja-JP" altLang="en-US" sz="1000" b="0" dirty="0">
              <a:sym typeface="+mn-lt"/>
            </a:endParaRPr>
          </a:p>
        </p:txBody>
      </p:sp>
      <p:sp>
        <p:nvSpPr>
          <p:cNvPr id="502" name="Text Placeholder 12">
            <a:extLst>
              <a:ext uri="{FF2B5EF4-FFF2-40B4-BE49-F238E27FC236}">
                <a16:creationId xmlns:a16="http://schemas.microsoft.com/office/drawing/2014/main" id="{7DE75236-568A-A9D5-09F5-71E44CDDB8D8}"/>
              </a:ext>
            </a:extLst>
          </p:cNvPr>
          <p:cNvSpPr>
            <a:spLocks/>
          </p:cNvSpPr>
          <p:nvPr>
            <p:custDataLst>
              <p:tags r:id="rId165"/>
            </p:custDataLst>
          </p:nvPr>
        </p:nvSpPr>
        <p:spPr bwMode="gray">
          <a:xfrm>
            <a:off x="639763"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468943-3EEF-459A-A09D-E221C1BF6315}" type="datetime'''''''''''''''''1''''8''''.''''''8'''''''''''''''''''''''''''">
              <a:rPr lang="ja-JP" altLang="en-US" sz="1000" b="0" smtClean="0">
                <a:solidFill>
                  <a:schemeClr val="bg1"/>
                </a:solidFill>
                <a:effectLst/>
              </a:rPr>
              <a:pPr/>
              <a:t>18.8</a:t>
            </a:fld>
            <a:endParaRPr kumimoji="0" lang="ja-JP" altLang="en-US" sz="1000" b="0" dirty="0">
              <a:solidFill>
                <a:schemeClr val="bg1"/>
              </a:solidFill>
              <a:sym typeface="+mn-lt"/>
            </a:endParaRPr>
          </a:p>
        </p:txBody>
      </p:sp>
      <p:sp>
        <p:nvSpPr>
          <p:cNvPr id="525" name="テキスト プレースホルダ 9">
            <a:extLst>
              <a:ext uri="{FF2B5EF4-FFF2-40B4-BE49-F238E27FC236}">
                <a16:creationId xmlns:a16="http://schemas.microsoft.com/office/drawing/2014/main" id="{CC5A6DF4-183D-3C46-EC2B-3F3EB40A72F1}"/>
              </a:ext>
            </a:extLst>
          </p:cNvPr>
          <p:cNvSpPr>
            <a:spLocks/>
          </p:cNvSpPr>
          <p:nvPr>
            <p:custDataLst>
              <p:tags r:id="rId166"/>
            </p:custDataLst>
          </p:nvPr>
        </p:nvSpPr>
        <p:spPr bwMode="auto">
          <a:xfrm>
            <a:off x="633413"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4A0127-3497-40CE-84CB-C9C091C8A4E0}" type="datetime'''''''''''''''''20''''''0''''''''''''''''''''''''''''''0'''''">
              <a:rPr lang="ja-JP" altLang="en-US" sz="1000" smtClean="0"/>
              <a:pPr/>
              <a:t>2000</a:t>
            </a:fld>
            <a:endParaRPr kumimoji="1" lang="ja-JP" altLang="en-US" sz="1000" dirty="0">
              <a:sym typeface="+mn-lt"/>
            </a:endParaRPr>
          </a:p>
        </p:txBody>
      </p:sp>
      <p:sp>
        <p:nvSpPr>
          <p:cNvPr id="505" name="Text Placeholder 12">
            <a:extLst>
              <a:ext uri="{FF2B5EF4-FFF2-40B4-BE49-F238E27FC236}">
                <a16:creationId xmlns:a16="http://schemas.microsoft.com/office/drawing/2014/main" id="{0B3CB92C-2331-40F2-2F4F-5051A90CB10E}"/>
              </a:ext>
            </a:extLst>
          </p:cNvPr>
          <p:cNvSpPr>
            <a:spLocks/>
          </p:cNvSpPr>
          <p:nvPr>
            <p:custDataLst>
              <p:tags r:id="rId167"/>
            </p:custDataLst>
          </p:nvPr>
        </p:nvSpPr>
        <p:spPr bwMode="gray">
          <a:xfrm>
            <a:off x="938213" y="5337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1E4B5C-DA09-48AD-957A-7C993E5B8CC3}" type="datetime'''7''5''.''''''''''''1'''''">
              <a:rPr lang="ja-JP" altLang="en-US" sz="1000" b="0" smtClean="0">
                <a:effectLst/>
              </a:rPr>
              <a:pPr/>
              <a:t>75.1</a:t>
            </a:fld>
            <a:endParaRPr kumimoji="0" lang="ja-JP" altLang="en-US" sz="1000" b="0" dirty="0">
              <a:sym typeface="+mn-lt"/>
            </a:endParaRPr>
          </a:p>
        </p:txBody>
      </p:sp>
      <p:sp>
        <p:nvSpPr>
          <p:cNvPr id="508" name="Text Placeholder 12">
            <a:extLst>
              <a:ext uri="{FF2B5EF4-FFF2-40B4-BE49-F238E27FC236}">
                <a16:creationId xmlns:a16="http://schemas.microsoft.com/office/drawing/2014/main" id="{3DA32CDA-9DE0-647A-AF34-B48C26EC68B6}"/>
              </a:ext>
            </a:extLst>
          </p:cNvPr>
          <p:cNvSpPr>
            <a:spLocks/>
          </p:cNvSpPr>
          <p:nvPr>
            <p:custDataLst>
              <p:tags r:id="rId168"/>
            </p:custDataLst>
          </p:nvPr>
        </p:nvSpPr>
        <p:spPr bwMode="gray">
          <a:xfrm>
            <a:off x="938213"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0827789-7014-41F4-8347-7A0D0C32C3E3}" type="datetime'''''1''''''''''''8''.''''''''''''''''''''''''''''''''''6'">
              <a:rPr lang="ja-JP" altLang="en-US" sz="1000" b="0" smtClean="0">
                <a:solidFill>
                  <a:schemeClr val="bg1"/>
                </a:solidFill>
                <a:effectLst/>
              </a:rPr>
              <a:pPr/>
              <a:t>18.6</a:t>
            </a:fld>
            <a:endParaRPr kumimoji="0" lang="ja-JP" altLang="en-US" sz="1000" b="0" dirty="0">
              <a:solidFill>
                <a:schemeClr val="bg1"/>
              </a:solidFill>
              <a:sym typeface="+mn-lt"/>
            </a:endParaRPr>
          </a:p>
        </p:txBody>
      </p:sp>
      <p:sp>
        <p:nvSpPr>
          <p:cNvPr id="526" name="テキスト プレースホルダ 9">
            <a:extLst>
              <a:ext uri="{FF2B5EF4-FFF2-40B4-BE49-F238E27FC236}">
                <a16:creationId xmlns:a16="http://schemas.microsoft.com/office/drawing/2014/main" id="{2CFBE898-6793-83DE-69A0-5EFB8078E909}"/>
              </a:ext>
            </a:extLst>
          </p:cNvPr>
          <p:cNvSpPr>
            <a:spLocks/>
          </p:cNvSpPr>
          <p:nvPr>
            <p:custDataLst>
              <p:tags r:id="rId169"/>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D63927-525C-46F7-9C07-989FCD37B811}" type="datetime'''''''''''0''1'''''''''''''''''">
              <a:rPr lang="ja-JP" altLang="en-US" sz="1000" smtClean="0"/>
              <a:pPr/>
              <a:t>01</a:t>
            </a:fld>
            <a:endParaRPr kumimoji="1" lang="ja-JP" altLang="en-US" sz="1000" dirty="0">
              <a:sym typeface="+mn-lt"/>
            </a:endParaRPr>
          </a:p>
        </p:txBody>
      </p:sp>
      <p:sp>
        <p:nvSpPr>
          <p:cNvPr id="513" name="Text Placeholder 12">
            <a:extLst>
              <a:ext uri="{FF2B5EF4-FFF2-40B4-BE49-F238E27FC236}">
                <a16:creationId xmlns:a16="http://schemas.microsoft.com/office/drawing/2014/main" id="{3B64C786-8FDD-1523-0CE2-F8B5777CF8EF}"/>
              </a:ext>
            </a:extLst>
          </p:cNvPr>
          <p:cNvSpPr>
            <a:spLocks/>
          </p:cNvSpPr>
          <p:nvPr>
            <p:custDataLst>
              <p:tags r:id="rId170"/>
            </p:custDataLst>
          </p:nvPr>
        </p:nvSpPr>
        <p:spPr bwMode="gray">
          <a:xfrm>
            <a:off x="1235075" y="5338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BF6FA1-9775-4841-B174-5049F05C6F96}" type="datetime'''''''''''''7''5''''''''''.''''''''''''''''''''''''''''1'''">
              <a:rPr lang="ja-JP" altLang="en-US" sz="1000" b="0" smtClean="0">
                <a:effectLst/>
              </a:rPr>
              <a:pPr/>
              <a:t>75.1</a:t>
            </a:fld>
            <a:endParaRPr kumimoji="0" lang="ja-JP" altLang="en-US" sz="1000" b="0" dirty="0">
              <a:sym typeface="+mn-lt"/>
            </a:endParaRPr>
          </a:p>
        </p:txBody>
      </p:sp>
      <p:sp>
        <p:nvSpPr>
          <p:cNvPr id="520" name="Text Placeholder 12">
            <a:extLst>
              <a:ext uri="{FF2B5EF4-FFF2-40B4-BE49-F238E27FC236}">
                <a16:creationId xmlns:a16="http://schemas.microsoft.com/office/drawing/2014/main" id="{85F3F8EA-07F9-6F5D-41AA-2062FFEBF579}"/>
              </a:ext>
            </a:extLst>
          </p:cNvPr>
          <p:cNvSpPr>
            <a:spLocks/>
          </p:cNvSpPr>
          <p:nvPr>
            <p:custDataLst>
              <p:tags r:id="rId171"/>
            </p:custDataLst>
          </p:nvPr>
        </p:nvSpPr>
        <p:spPr bwMode="gray">
          <a:xfrm>
            <a:off x="1235075"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64DE60-8E17-4A36-94A7-D12808AC18BD}" type="datetime'''''''''''''''''''''1''''8.''''''''''''''4'''''''''''''''''">
              <a:rPr lang="ja-JP" altLang="en-US" sz="1000" b="0" smtClean="0">
                <a:solidFill>
                  <a:schemeClr val="bg1"/>
                </a:solidFill>
                <a:effectLst/>
              </a:rPr>
              <a:pPr/>
              <a:t>18.4</a:t>
            </a:fld>
            <a:endParaRPr kumimoji="0" lang="ja-JP" altLang="en-US" sz="1000" b="0" dirty="0">
              <a:solidFill>
                <a:schemeClr val="bg1"/>
              </a:solidFill>
              <a:sym typeface="+mn-lt"/>
            </a:endParaRPr>
          </a:p>
        </p:txBody>
      </p:sp>
      <p:sp>
        <p:nvSpPr>
          <p:cNvPr id="527" name="テキスト プレースホルダ 9">
            <a:extLst>
              <a:ext uri="{FF2B5EF4-FFF2-40B4-BE49-F238E27FC236}">
                <a16:creationId xmlns:a16="http://schemas.microsoft.com/office/drawing/2014/main" id="{86F45D2B-0383-1C96-7478-7251B46E0E8D}"/>
              </a:ext>
            </a:extLst>
          </p:cNvPr>
          <p:cNvSpPr>
            <a:spLocks/>
          </p:cNvSpPr>
          <p:nvPr>
            <p:custDataLst>
              <p:tags r:id="rId172"/>
            </p:custDataLst>
          </p:nvPr>
        </p:nvSpPr>
        <p:spPr bwMode="auto">
          <a:xfrm>
            <a:off x="1298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663E6-98F8-4EB3-A6CC-D86A394DFB3A}" type="datetime'''''''''''''''''''''''''''''''''0''''''''''2'''''''''''''''">
              <a:rPr lang="ja-JP" altLang="en-US" sz="1000" smtClean="0"/>
              <a:pPr/>
              <a:t>02</a:t>
            </a:fld>
            <a:endParaRPr kumimoji="1" lang="ja-JP" altLang="en-US" sz="1000" dirty="0">
              <a:sym typeface="+mn-lt"/>
            </a:endParaRPr>
          </a:p>
        </p:txBody>
      </p:sp>
      <p:sp>
        <p:nvSpPr>
          <p:cNvPr id="521" name="Text Placeholder 12">
            <a:extLst>
              <a:ext uri="{FF2B5EF4-FFF2-40B4-BE49-F238E27FC236}">
                <a16:creationId xmlns:a16="http://schemas.microsoft.com/office/drawing/2014/main" id="{8AE69C3E-B0D2-2604-7C86-343A1D985FAC}"/>
              </a:ext>
            </a:extLst>
          </p:cNvPr>
          <p:cNvSpPr>
            <a:spLocks/>
          </p:cNvSpPr>
          <p:nvPr>
            <p:custDataLst>
              <p:tags r:id="rId173"/>
            </p:custDataLst>
          </p:nvPr>
        </p:nvSpPr>
        <p:spPr bwMode="gray">
          <a:xfrm>
            <a:off x="1531938" y="5340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912C42A-6744-4A00-AB30-96BA85D05624}" type="datetime'''7''5''.''''''''''''''''2'''''''''''''''''''''''''''''''''''">
              <a:rPr lang="ja-JP" altLang="en-US" sz="1000" b="0" smtClean="0">
                <a:effectLst/>
              </a:rPr>
              <a:pPr/>
              <a:t>75.2</a:t>
            </a:fld>
            <a:endParaRPr kumimoji="0" lang="ja-JP" altLang="en-US" sz="1000" b="0" dirty="0">
              <a:sym typeface="+mn-lt"/>
            </a:endParaRPr>
          </a:p>
        </p:txBody>
      </p:sp>
      <p:sp>
        <p:nvSpPr>
          <p:cNvPr id="522" name="Text Placeholder 12">
            <a:extLst>
              <a:ext uri="{FF2B5EF4-FFF2-40B4-BE49-F238E27FC236}">
                <a16:creationId xmlns:a16="http://schemas.microsoft.com/office/drawing/2014/main" id="{4BB213A9-B88D-3FAD-7B39-1BAD8C8A3E37}"/>
              </a:ext>
            </a:extLst>
          </p:cNvPr>
          <p:cNvSpPr>
            <a:spLocks/>
          </p:cNvSpPr>
          <p:nvPr>
            <p:custDataLst>
              <p:tags r:id="rId174"/>
            </p:custDataLst>
          </p:nvPr>
        </p:nvSpPr>
        <p:spPr bwMode="gray">
          <a:xfrm>
            <a:off x="1531938"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9EC7073-268E-4829-B86E-07545A5BB854}" type="datetime'''''''1''''''''''''''''''''8''''.''''''''''''''2'">
              <a:rPr lang="ja-JP" altLang="en-US" sz="1000" b="0" smtClean="0">
                <a:solidFill>
                  <a:schemeClr val="bg1"/>
                </a:solidFill>
                <a:effectLst/>
              </a:rPr>
              <a:pPr/>
              <a:t>18.2</a:t>
            </a:fld>
            <a:endParaRPr kumimoji="0" lang="ja-JP" altLang="en-US" sz="1000" b="0" dirty="0">
              <a:solidFill>
                <a:schemeClr val="bg1"/>
              </a:solidFill>
              <a:sym typeface="+mn-lt"/>
            </a:endParaRPr>
          </a:p>
        </p:txBody>
      </p:sp>
      <p:sp>
        <p:nvSpPr>
          <p:cNvPr id="528" name="テキスト プレースホルダ 9">
            <a:extLst>
              <a:ext uri="{FF2B5EF4-FFF2-40B4-BE49-F238E27FC236}">
                <a16:creationId xmlns:a16="http://schemas.microsoft.com/office/drawing/2014/main" id="{D64F89C2-1D8B-A7CE-DDCB-E04A40CEB090}"/>
              </a:ext>
            </a:extLst>
          </p:cNvPr>
          <p:cNvSpPr>
            <a:spLocks/>
          </p:cNvSpPr>
          <p:nvPr>
            <p:custDataLst>
              <p:tags r:id="rId175"/>
            </p:custDataLst>
          </p:nvPr>
        </p:nvSpPr>
        <p:spPr bwMode="auto">
          <a:xfrm>
            <a:off x="1595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1D684-127C-48E6-B5A2-BA977867A251}" type="datetime'''''''''''0''''''''''''''''3'''''''''''''''">
              <a:rPr lang="ja-JP" altLang="en-US" sz="1000" smtClean="0"/>
              <a:pPr/>
              <a:t>03</a:t>
            </a:fld>
            <a:endParaRPr kumimoji="1" lang="ja-JP" altLang="en-US" sz="1000" dirty="0">
              <a:sym typeface="+mn-lt"/>
            </a:endParaRPr>
          </a:p>
        </p:txBody>
      </p:sp>
      <p:sp>
        <p:nvSpPr>
          <p:cNvPr id="466" name="Text Placeholder 12">
            <a:extLst>
              <a:ext uri="{FF2B5EF4-FFF2-40B4-BE49-F238E27FC236}">
                <a16:creationId xmlns:a16="http://schemas.microsoft.com/office/drawing/2014/main" id="{44953E8E-B566-3F76-34F5-8F9D157ACD43}"/>
              </a:ext>
            </a:extLst>
          </p:cNvPr>
          <p:cNvSpPr>
            <a:spLocks/>
          </p:cNvSpPr>
          <p:nvPr>
            <p:custDataLst>
              <p:tags r:id="rId176"/>
            </p:custDataLst>
          </p:nvPr>
        </p:nvSpPr>
        <p:spPr bwMode="gray">
          <a:xfrm>
            <a:off x="1830388"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A753588-3901-4448-A89A-F163ADF896BF}" type="datetime'''''''''''7''''''''''''''''''''''''''''''''''''5.''''''''4'">
              <a:rPr lang="ja-JP" altLang="en-US" sz="1000" b="0" smtClean="0">
                <a:effectLst/>
              </a:rPr>
              <a:pPr/>
              <a:t>75.4</a:t>
            </a:fld>
            <a:endParaRPr kumimoji="0" lang="ja-JP" altLang="en-US" sz="1000" b="0" dirty="0">
              <a:sym typeface="+mn-lt"/>
            </a:endParaRPr>
          </a:p>
        </p:txBody>
      </p:sp>
      <p:sp>
        <p:nvSpPr>
          <p:cNvPr id="467" name="Text Placeholder 12">
            <a:extLst>
              <a:ext uri="{FF2B5EF4-FFF2-40B4-BE49-F238E27FC236}">
                <a16:creationId xmlns:a16="http://schemas.microsoft.com/office/drawing/2014/main" id="{19191D3D-CA64-37C6-E252-1D476876C289}"/>
              </a:ext>
            </a:extLst>
          </p:cNvPr>
          <p:cNvSpPr>
            <a:spLocks/>
          </p:cNvSpPr>
          <p:nvPr>
            <p:custDataLst>
              <p:tags r:id="rId177"/>
            </p:custDataLst>
          </p:nvPr>
        </p:nvSpPr>
        <p:spPr bwMode="gray">
          <a:xfrm>
            <a:off x="1830388" y="5999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D3E67F-53DA-4830-A91F-E478EDAB3C4A}" type="datetime'''''''''''1''''7''''''''''''.''''''''8'''''''''''''">
              <a:rPr lang="ja-JP" altLang="en-US" sz="1000" b="0" smtClean="0">
                <a:solidFill>
                  <a:schemeClr val="bg1"/>
                </a:solidFill>
                <a:effectLst/>
              </a:rPr>
              <a:pPr/>
              <a:t>17.8</a:t>
            </a:fld>
            <a:endParaRPr kumimoji="0" lang="ja-JP" altLang="en-US" sz="1000" b="0" dirty="0">
              <a:solidFill>
                <a:schemeClr val="bg1"/>
              </a:solidFill>
              <a:sym typeface="+mn-lt"/>
            </a:endParaRPr>
          </a:p>
        </p:txBody>
      </p:sp>
      <p:sp>
        <p:nvSpPr>
          <p:cNvPr id="552" name="テキスト プレースホルダ 9">
            <a:extLst>
              <a:ext uri="{FF2B5EF4-FFF2-40B4-BE49-F238E27FC236}">
                <a16:creationId xmlns:a16="http://schemas.microsoft.com/office/drawing/2014/main" id="{70E22B0B-53A9-69D9-96A5-EC42692130F7}"/>
              </a:ext>
            </a:extLst>
          </p:cNvPr>
          <p:cNvSpPr>
            <a:spLocks/>
          </p:cNvSpPr>
          <p:nvPr>
            <p:custDataLst>
              <p:tags r:id="rId178"/>
            </p:custDataLst>
          </p:nvPr>
        </p:nvSpPr>
        <p:spPr bwMode="auto">
          <a:xfrm>
            <a:off x="1893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F6582C-B27F-4864-BAB7-594AF3D1C875}" type="datetime'''''''''''''''''''''''''''0''''''''''''''''''''''''4'''''">
              <a:rPr lang="ja-JP" altLang="en-US" sz="1000" smtClean="0"/>
              <a:pPr/>
              <a:t>04</a:t>
            </a:fld>
            <a:endParaRPr kumimoji="1" lang="ja-JP" altLang="en-US" sz="1000" dirty="0">
              <a:sym typeface="+mn-lt"/>
            </a:endParaRPr>
          </a:p>
        </p:txBody>
      </p:sp>
      <p:sp>
        <p:nvSpPr>
          <p:cNvPr id="524" name="Text Placeholder 12">
            <a:extLst>
              <a:ext uri="{FF2B5EF4-FFF2-40B4-BE49-F238E27FC236}">
                <a16:creationId xmlns:a16="http://schemas.microsoft.com/office/drawing/2014/main" id="{E2E72B58-ABF1-47FE-8B2A-1B2066BCC92D}"/>
              </a:ext>
            </a:extLst>
          </p:cNvPr>
          <p:cNvSpPr>
            <a:spLocks/>
          </p:cNvSpPr>
          <p:nvPr>
            <p:custDataLst>
              <p:tags r:id="rId179"/>
            </p:custDataLst>
          </p:nvPr>
        </p:nvSpPr>
        <p:spPr bwMode="gray">
          <a:xfrm>
            <a:off x="2127250"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6AF738-B09E-4F62-89D6-A2D3B6CD61B9}" type="datetime'''7''5''''''''''''''''''''''''''''''''.''''7'''''''''''''''">
              <a:rPr lang="ja-JP" altLang="en-US" sz="1000" b="0" smtClean="0">
                <a:effectLst/>
              </a:rPr>
              <a:pPr/>
              <a:t>75.7</a:t>
            </a:fld>
            <a:endParaRPr kumimoji="0" lang="ja-JP" altLang="en-US" sz="1000" b="0" dirty="0">
              <a:sym typeface="+mn-lt"/>
            </a:endParaRPr>
          </a:p>
        </p:txBody>
      </p:sp>
      <p:sp>
        <p:nvSpPr>
          <p:cNvPr id="523" name="Text Placeholder 12">
            <a:extLst>
              <a:ext uri="{FF2B5EF4-FFF2-40B4-BE49-F238E27FC236}">
                <a16:creationId xmlns:a16="http://schemas.microsoft.com/office/drawing/2014/main" id="{CFD57E0A-0E3A-A655-666D-49E5D8B1C984}"/>
              </a:ext>
            </a:extLst>
          </p:cNvPr>
          <p:cNvSpPr>
            <a:spLocks/>
          </p:cNvSpPr>
          <p:nvPr>
            <p:custDataLst>
              <p:tags r:id="rId180"/>
            </p:custDataLst>
          </p:nvPr>
        </p:nvSpPr>
        <p:spPr bwMode="gray">
          <a:xfrm>
            <a:off x="2127250" y="6003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46C06F-1C54-4EB7-B2C1-D37C87928E51}" type="datetime'''''''''''''1''''''7''''''.''''2'''''''''''''''''''''''">
              <a:rPr lang="ja-JP" altLang="en-US" sz="1000" b="0" smtClean="0">
                <a:solidFill>
                  <a:schemeClr val="bg1"/>
                </a:solidFill>
                <a:effectLst/>
              </a:rPr>
              <a:pPr/>
              <a:t>17.2</a:t>
            </a:fld>
            <a:endParaRPr kumimoji="0" lang="ja-JP" altLang="en-US" sz="1000" b="0" dirty="0">
              <a:solidFill>
                <a:schemeClr val="bg1"/>
              </a:solidFill>
              <a:sym typeface="+mn-lt"/>
            </a:endParaRPr>
          </a:p>
        </p:txBody>
      </p:sp>
      <p:sp>
        <p:nvSpPr>
          <p:cNvPr id="530" name="テキスト プレースホルダ 9">
            <a:extLst>
              <a:ext uri="{FF2B5EF4-FFF2-40B4-BE49-F238E27FC236}">
                <a16:creationId xmlns:a16="http://schemas.microsoft.com/office/drawing/2014/main" id="{13BD946B-62E3-08C0-080A-FC8417F72725}"/>
              </a:ext>
            </a:extLst>
          </p:cNvPr>
          <p:cNvSpPr>
            <a:spLocks/>
          </p:cNvSpPr>
          <p:nvPr>
            <p:custDataLst>
              <p:tags r:id="rId181"/>
            </p:custDataLst>
          </p:nvPr>
        </p:nvSpPr>
        <p:spPr bwMode="auto">
          <a:xfrm>
            <a:off x="2190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5B052-4C22-45CE-8092-655A6E2286AC}" type="datetime'''0''''''''''''''''''''''''''5'''''''''">
              <a:rPr lang="ja-JP" altLang="en-US" sz="1000" smtClean="0"/>
              <a:pPr/>
              <a:t>05</a:t>
            </a:fld>
            <a:endParaRPr kumimoji="1" lang="ja-JP" altLang="en-US" sz="1000" dirty="0">
              <a:sym typeface="+mn-lt"/>
            </a:endParaRPr>
          </a:p>
        </p:txBody>
      </p:sp>
      <p:sp>
        <p:nvSpPr>
          <p:cNvPr id="515" name="Text Placeholder 12">
            <a:extLst>
              <a:ext uri="{FF2B5EF4-FFF2-40B4-BE49-F238E27FC236}">
                <a16:creationId xmlns:a16="http://schemas.microsoft.com/office/drawing/2014/main" id="{BF6C48AA-9DAE-D5A3-B455-49A0943C624E}"/>
              </a:ext>
            </a:extLst>
          </p:cNvPr>
          <p:cNvSpPr>
            <a:spLocks/>
          </p:cNvSpPr>
          <p:nvPr>
            <p:custDataLst>
              <p:tags r:id="rId182"/>
            </p:custDataLst>
          </p:nvPr>
        </p:nvSpPr>
        <p:spPr bwMode="gray">
          <a:xfrm>
            <a:off x="2424113" y="5356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F03A89-8FE9-4FE6-BF73-C197E0DFF39F}" type="datetime'76''''''.''''''''''''''''''2'''''">
              <a:rPr lang="ja-JP" altLang="en-US" sz="1000" b="0" smtClean="0">
                <a:effectLst/>
              </a:rPr>
              <a:pPr/>
              <a:t>76.2</a:t>
            </a:fld>
            <a:endParaRPr kumimoji="0" lang="ja-JP" altLang="en-US" sz="1000" b="0" dirty="0">
              <a:sym typeface="+mn-lt"/>
            </a:endParaRPr>
          </a:p>
        </p:txBody>
      </p:sp>
      <p:sp>
        <p:nvSpPr>
          <p:cNvPr id="514" name="Text Placeholder 12">
            <a:extLst>
              <a:ext uri="{FF2B5EF4-FFF2-40B4-BE49-F238E27FC236}">
                <a16:creationId xmlns:a16="http://schemas.microsoft.com/office/drawing/2014/main" id="{278F6482-5956-8F19-7B33-CACFF7FA6C66}"/>
              </a:ext>
            </a:extLst>
          </p:cNvPr>
          <p:cNvSpPr>
            <a:spLocks/>
          </p:cNvSpPr>
          <p:nvPr>
            <p:custDataLst>
              <p:tags r:id="rId183"/>
            </p:custDataLst>
          </p:nvPr>
        </p:nvSpPr>
        <p:spPr bwMode="gray">
          <a:xfrm>
            <a:off x="2424113" y="6007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AE171E-67C1-4B2D-A810-26EFB4DD7DB9}" type="datetime'''''''''''''1''6.''''''''''''''''''''''''''''6'''''''''''''''">
              <a:rPr lang="ja-JP" altLang="en-US" sz="1000" b="0" smtClean="0">
                <a:solidFill>
                  <a:schemeClr val="bg1"/>
                </a:solidFill>
                <a:effectLst/>
              </a:rPr>
              <a:pPr/>
              <a:t>16.6</a:t>
            </a:fld>
            <a:endParaRPr kumimoji="0" lang="ja-JP" altLang="en-US" sz="1000" b="0" dirty="0">
              <a:solidFill>
                <a:schemeClr val="bg1"/>
              </a:solidFill>
              <a:sym typeface="+mn-lt"/>
            </a:endParaRPr>
          </a:p>
        </p:txBody>
      </p:sp>
      <p:sp>
        <p:nvSpPr>
          <p:cNvPr id="531" name="テキスト プレースホルダ 9">
            <a:extLst>
              <a:ext uri="{FF2B5EF4-FFF2-40B4-BE49-F238E27FC236}">
                <a16:creationId xmlns:a16="http://schemas.microsoft.com/office/drawing/2014/main" id="{870C91B8-9AFB-BD4D-693A-FD41620BB1D7}"/>
              </a:ext>
            </a:extLst>
          </p:cNvPr>
          <p:cNvSpPr>
            <a:spLocks/>
          </p:cNvSpPr>
          <p:nvPr>
            <p:custDataLst>
              <p:tags r:id="rId184"/>
            </p:custDataLst>
          </p:nvPr>
        </p:nvSpPr>
        <p:spPr bwMode="auto">
          <a:xfrm>
            <a:off x="2487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69A046-214A-4BA6-ACB7-FA85B48173DF}" type="datetime'''''''''''''''''0''''''''''''''''6'''''''''''''''''''''">
              <a:rPr lang="ja-JP" altLang="en-US" sz="1000" smtClean="0"/>
              <a:pPr/>
              <a:t>06</a:t>
            </a:fld>
            <a:endParaRPr kumimoji="1" lang="ja-JP" altLang="en-US" sz="1000" dirty="0">
              <a:sym typeface="+mn-lt"/>
            </a:endParaRPr>
          </a:p>
        </p:txBody>
      </p:sp>
      <p:sp>
        <p:nvSpPr>
          <p:cNvPr id="492" name="Text Placeholder 12">
            <a:extLst>
              <a:ext uri="{FF2B5EF4-FFF2-40B4-BE49-F238E27FC236}">
                <a16:creationId xmlns:a16="http://schemas.microsoft.com/office/drawing/2014/main" id="{284A6EB5-4B55-F30C-750F-B3426F687DA7}"/>
              </a:ext>
            </a:extLst>
          </p:cNvPr>
          <p:cNvSpPr>
            <a:spLocks/>
          </p:cNvSpPr>
          <p:nvPr>
            <p:custDataLst>
              <p:tags r:id="rId185"/>
            </p:custDataLst>
          </p:nvPr>
        </p:nvSpPr>
        <p:spPr bwMode="gray">
          <a:xfrm>
            <a:off x="2720975"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28D65-12A9-4193-A53D-564DA3882BEC}" type="datetime'''''''''''77''''.''0'''''''''''''''''''''''''''">
              <a:rPr lang="ja-JP" altLang="en-US" sz="1000" b="0" smtClean="0">
                <a:effectLst/>
              </a:rPr>
              <a:pPr/>
              <a:t>77.0</a:t>
            </a:fld>
            <a:endParaRPr kumimoji="0" lang="ja-JP" altLang="en-US" sz="1000" b="0" dirty="0">
              <a:sym typeface="+mn-lt"/>
            </a:endParaRPr>
          </a:p>
        </p:txBody>
      </p:sp>
      <p:sp>
        <p:nvSpPr>
          <p:cNvPr id="512" name="Text Placeholder 12">
            <a:extLst>
              <a:ext uri="{FF2B5EF4-FFF2-40B4-BE49-F238E27FC236}">
                <a16:creationId xmlns:a16="http://schemas.microsoft.com/office/drawing/2014/main" id="{7577EF30-3422-DA0A-8A1B-07CE498707EC}"/>
              </a:ext>
            </a:extLst>
          </p:cNvPr>
          <p:cNvSpPr>
            <a:spLocks/>
          </p:cNvSpPr>
          <p:nvPr>
            <p:custDataLst>
              <p:tags r:id="rId186"/>
            </p:custDataLst>
          </p:nvPr>
        </p:nvSpPr>
        <p:spPr bwMode="gray">
          <a:xfrm>
            <a:off x="2720975"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2C8A82-9A3D-442D-987C-C49DE8546FA6}" type="datetime'''1''''''5''''''''''''''.''''''''8'''''''''''''''''''''''">
              <a:rPr lang="ja-JP" altLang="en-US" sz="1000" b="0" smtClean="0">
                <a:solidFill>
                  <a:schemeClr val="bg1"/>
                </a:solidFill>
                <a:effectLst/>
              </a:rPr>
              <a:pPr/>
              <a:t>15.8</a:t>
            </a:fld>
            <a:endParaRPr kumimoji="0" lang="ja-JP" altLang="en-US" sz="1000" b="0" dirty="0">
              <a:solidFill>
                <a:schemeClr val="bg1"/>
              </a:solidFill>
              <a:sym typeface="+mn-lt"/>
            </a:endParaRPr>
          </a:p>
        </p:txBody>
      </p:sp>
      <p:sp>
        <p:nvSpPr>
          <p:cNvPr id="532" name="テキスト プレースホルダ 9">
            <a:extLst>
              <a:ext uri="{FF2B5EF4-FFF2-40B4-BE49-F238E27FC236}">
                <a16:creationId xmlns:a16="http://schemas.microsoft.com/office/drawing/2014/main" id="{6D1AC45D-0880-CC16-959C-FB714E2C00AF}"/>
              </a:ext>
            </a:extLst>
          </p:cNvPr>
          <p:cNvSpPr>
            <a:spLocks/>
          </p:cNvSpPr>
          <p:nvPr>
            <p:custDataLst>
              <p:tags r:id="rId187"/>
            </p:custDataLst>
          </p:nvPr>
        </p:nvSpPr>
        <p:spPr bwMode="auto">
          <a:xfrm>
            <a:off x="27844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BAAE48-62CB-49D7-AA6C-07D336412D0C}" type="datetime'''''''''07'''''''''">
              <a:rPr lang="ja-JP" altLang="en-US" sz="1000" smtClean="0"/>
              <a:pPr/>
              <a:t>07</a:t>
            </a:fld>
            <a:endParaRPr kumimoji="1" lang="ja-JP" altLang="en-US" sz="1000" dirty="0">
              <a:sym typeface="+mn-lt"/>
            </a:endParaRPr>
          </a:p>
        </p:txBody>
      </p:sp>
      <p:sp>
        <p:nvSpPr>
          <p:cNvPr id="509" name="Text Placeholder 12">
            <a:extLst>
              <a:ext uri="{FF2B5EF4-FFF2-40B4-BE49-F238E27FC236}">
                <a16:creationId xmlns:a16="http://schemas.microsoft.com/office/drawing/2014/main" id="{468A650E-3279-B05B-6976-1339B762B509}"/>
              </a:ext>
            </a:extLst>
          </p:cNvPr>
          <p:cNvSpPr>
            <a:spLocks/>
          </p:cNvSpPr>
          <p:nvPr>
            <p:custDataLst>
              <p:tags r:id="rId188"/>
            </p:custDataLst>
          </p:nvPr>
        </p:nvSpPr>
        <p:spPr bwMode="gray">
          <a:xfrm>
            <a:off x="3019425" y="6018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B6C60D-1925-487A-8B77-DA289598462D}" type="datetime'''''1''''''''''''''''5.''''''''''''''''''1'''">
              <a:rPr lang="ja-JP" altLang="en-US" sz="1000" b="0" smtClean="0">
                <a:solidFill>
                  <a:schemeClr val="bg1"/>
                </a:solidFill>
                <a:effectLst/>
              </a:rPr>
              <a:pPr/>
              <a:t>15.1</a:t>
            </a:fld>
            <a:endParaRPr kumimoji="0" lang="ja-JP" altLang="en-US" sz="1000" b="0" dirty="0">
              <a:solidFill>
                <a:schemeClr val="bg1"/>
              </a:solidFill>
              <a:sym typeface="+mn-lt"/>
            </a:endParaRPr>
          </a:p>
        </p:txBody>
      </p:sp>
      <p:sp>
        <p:nvSpPr>
          <p:cNvPr id="533" name="テキスト プレースホルダ 9">
            <a:extLst>
              <a:ext uri="{FF2B5EF4-FFF2-40B4-BE49-F238E27FC236}">
                <a16:creationId xmlns:a16="http://schemas.microsoft.com/office/drawing/2014/main" id="{023D8EF6-F788-311D-650E-3C7C6A23B414}"/>
              </a:ext>
            </a:extLst>
          </p:cNvPr>
          <p:cNvSpPr>
            <a:spLocks/>
          </p:cNvSpPr>
          <p:nvPr>
            <p:custDataLst>
              <p:tags r:id="rId189"/>
            </p:custDataLst>
          </p:nvPr>
        </p:nvSpPr>
        <p:spPr bwMode="auto">
          <a:xfrm>
            <a:off x="3082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E5D57F-D557-4F10-8BDB-DC5889B9DE2F}" type="datetime'''''''''''''''''''''''''''''0''''''''''''''''''''8'''''''''">
              <a:rPr lang="ja-JP" altLang="en-US" sz="1000" smtClean="0"/>
              <a:pPr/>
              <a:t>08</a:t>
            </a:fld>
            <a:endParaRPr kumimoji="1" lang="ja-JP" altLang="en-US" sz="1000" dirty="0">
              <a:sym typeface="+mn-lt"/>
            </a:endParaRPr>
          </a:p>
        </p:txBody>
      </p:sp>
      <p:sp>
        <p:nvSpPr>
          <p:cNvPr id="507" name="Text Placeholder 12">
            <a:extLst>
              <a:ext uri="{FF2B5EF4-FFF2-40B4-BE49-F238E27FC236}">
                <a16:creationId xmlns:a16="http://schemas.microsoft.com/office/drawing/2014/main" id="{427A6C4E-F6ED-6616-872B-FB933D344FF8}"/>
              </a:ext>
            </a:extLst>
          </p:cNvPr>
          <p:cNvSpPr>
            <a:spLocks/>
          </p:cNvSpPr>
          <p:nvPr>
            <p:custDataLst>
              <p:tags r:id="rId190"/>
            </p:custDataLst>
          </p:nvPr>
        </p:nvSpPr>
        <p:spPr bwMode="gray">
          <a:xfrm>
            <a:off x="3316288" y="5370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63619DC-EB09-4095-962B-44E5A48989C7}" type="datetime'''''''''''''''''7''''''''8''''''''''''.''''''''2'''''''''''''">
              <a:rPr lang="ja-JP" altLang="en-US" sz="1000" b="0" smtClean="0">
                <a:effectLst/>
              </a:rPr>
              <a:pPr/>
              <a:t>78.2</a:t>
            </a:fld>
            <a:endParaRPr kumimoji="0" lang="ja-JP" altLang="en-US" sz="1000" b="0" dirty="0">
              <a:sym typeface="+mn-lt"/>
            </a:endParaRPr>
          </a:p>
        </p:txBody>
      </p:sp>
      <p:sp>
        <p:nvSpPr>
          <p:cNvPr id="506" name="Text Placeholder 12">
            <a:extLst>
              <a:ext uri="{FF2B5EF4-FFF2-40B4-BE49-F238E27FC236}">
                <a16:creationId xmlns:a16="http://schemas.microsoft.com/office/drawing/2014/main" id="{B128655D-689E-3C8C-BA8B-96CCF67316C0}"/>
              </a:ext>
            </a:extLst>
          </p:cNvPr>
          <p:cNvSpPr>
            <a:spLocks/>
          </p:cNvSpPr>
          <p:nvPr>
            <p:custDataLst>
              <p:tags r:id="rId191"/>
            </p:custDataLst>
          </p:nvPr>
        </p:nvSpPr>
        <p:spPr bwMode="gray">
          <a:xfrm>
            <a:off x="3316288" y="6021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3D87735-E486-40E1-B990-22103A627534}" type="datetime'''''''''''''''''''''''''1''''4''.''''''''''''''''''6'''">
              <a:rPr lang="ja-JP" altLang="en-US" sz="1000" b="0" smtClean="0">
                <a:solidFill>
                  <a:schemeClr val="bg1"/>
                </a:solidFill>
                <a:effectLst/>
              </a:rPr>
              <a:pPr/>
              <a:t>14.6</a:t>
            </a:fld>
            <a:endParaRPr kumimoji="0" lang="ja-JP" altLang="en-US" sz="1000" b="0" dirty="0">
              <a:solidFill>
                <a:schemeClr val="bg1"/>
              </a:solidFill>
              <a:sym typeface="+mn-lt"/>
            </a:endParaRPr>
          </a:p>
        </p:txBody>
      </p:sp>
      <p:sp>
        <p:nvSpPr>
          <p:cNvPr id="534" name="テキスト プレースホルダ 9">
            <a:extLst>
              <a:ext uri="{FF2B5EF4-FFF2-40B4-BE49-F238E27FC236}">
                <a16:creationId xmlns:a16="http://schemas.microsoft.com/office/drawing/2014/main" id="{631325DD-A652-C10E-A909-2F2ED344C879}"/>
              </a:ext>
            </a:extLst>
          </p:cNvPr>
          <p:cNvSpPr>
            <a:spLocks/>
          </p:cNvSpPr>
          <p:nvPr>
            <p:custDataLst>
              <p:tags r:id="rId192"/>
            </p:custDataLst>
          </p:nvPr>
        </p:nvSpPr>
        <p:spPr bwMode="auto">
          <a:xfrm>
            <a:off x="33797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A7BCD-47D7-4337-B7AD-5AD70DEC6555}" type="datetime'''''''''''''''0''''''''9'''''">
              <a:rPr lang="ja-JP" altLang="en-US" sz="1000" smtClean="0"/>
              <a:pPr/>
              <a:t>09</a:t>
            </a:fld>
            <a:endParaRPr kumimoji="1" lang="ja-JP" altLang="en-US" sz="1000" dirty="0">
              <a:sym typeface="+mn-lt"/>
            </a:endParaRPr>
          </a:p>
        </p:txBody>
      </p:sp>
      <p:sp>
        <p:nvSpPr>
          <p:cNvPr id="504" name="Text Placeholder 12">
            <a:extLst>
              <a:ext uri="{FF2B5EF4-FFF2-40B4-BE49-F238E27FC236}">
                <a16:creationId xmlns:a16="http://schemas.microsoft.com/office/drawing/2014/main" id="{27BC8716-F8F9-EAFB-D296-1A4DBCBCA790}"/>
              </a:ext>
            </a:extLst>
          </p:cNvPr>
          <p:cNvSpPr>
            <a:spLocks/>
          </p:cNvSpPr>
          <p:nvPr>
            <p:custDataLst>
              <p:tags r:id="rId193"/>
            </p:custDataLst>
          </p:nvPr>
        </p:nvSpPr>
        <p:spPr bwMode="gray">
          <a:xfrm>
            <a:off x="3613150" y="5375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453AE7-BE7F-4ED9-AB01-D327E73F7E9D}" type="datetime'''''''''''78.''5'">
              <a:rPr lang="ja-JP" altLang="en-US" sz="1000" b="0" smtClean="0">
                <a:effectLst/>
              </a:rPr>
              <a:pPr/>
              <a:t>78.5</a:t>
            </a:fld>
            <a:endParaRPr kumimoji="0" lang="ja-JP" altLang="en-US" sz="1000" b="0" dirty="0">
              <a:sym typeface="+mn-lt"/>
            </a:endParaRPr>
          </a:p>
        </p:txBody>
      </p:sp>
      <p:sp>
        <p:nvSpPr>
          <p:cNvPr id="503" name="Text Placeholder 12">
            <a:extLst>
              <a:ext uri="{FF2B5EF4-FFF2-40B4-BE49-F238E27FC236}">
                <a16:creationId xmlns:a16="http://schemas.microsoft.com/office/drawing/2014/main" id="{A67714BB-FFE0-0864-6A6B-D0C13AA62D57}"/>
              </a:ext>
            </a:extLst>
          </p:cNvPr>
          <p:cNvSpPr>
            <a:spLocks/>
          </p:cNvSpPr>
          <p:nvPr>
            <p:custDataLst>
              <p:tags r:id="rId194"/>
            </p:custDataLst>
          </p:nvPr>
        </p:nvSpPr>
        <p:spPr bwMode="gray">
          <a:xfrm>
            <a:off x="3613150" y="6024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969A3FD-A8B4-468E-A183-A3A0CD77DCEE}" type="datetime'1''''''''''''''''''''''''''''''''''4.''1'''''''''''''">
              <a:rPr lang="ja-JP" altLang="en-US" sz="1000" b="0" smtClean="0">
                <a:solidFill>
                  <a:schemeClr val="bg1"/>
                </a:solidFill>
                <a:effectLst/>
              </a:rPr>
              <a:pPr/>
              <a:t>14.1</a:t>
            </a:fld>
            <a:endParaRPr kumimoji="0" lang="ja-JP" altLang="en-US" sz="1000" b="0" dirty="0">
              <a:solidFill>
                <a:schemeClr val="bg1"/>
              </a:solidFill>
              <a:sym typeface="+mn-lt"/>
            </a:endParaRPr>
          </a:p>
        </p:txBody>
      </p:sp>
      <p:sp>
        <p:nvSpPr>
          <p:cNvPr id="535" name="テキスト プレースホルダ 9">
            <a:extLst>
              <a:ext uri="{FF2B5EF4-FFF2-40B4-BE49-F238E27FC236}">
                <a16:creationId xmlns:a16="http://schemas.microsoft.com/office/drawing/2014/main" id="{3366C26D-49E3-DB21-04AE-4ECA66B06891}"/>
              </a:ext>
            </a:extLst>
          </p:cNvPr>
          <p:cNvSpPr>
            <a:spLocks/>
          </p:cNvSpPr>
          <p:nvPr>
            <p:custDataLst>
              <p:tags r:id="rId195"/>
            </p:custDataLst>
          </p:nvPr>
        </p:nvSpPr>
        <p:spPr bwMode="auto">
          <a:xfrm>
            <a:off x="3676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4B83F5-64FD-4128-9631-77278214F3AA}" type="datetime'''''''''''1''''''''''''''''''''''''''''0'">
              <a:rPr lang="ja-JP" altLang="en-US" sz="1000" smtClean="0"/>
              <a:pPr/>
              <a:t>10</a:t>
            </a:fld>
            <a:endParaRPr kumimoji="1" lang="ja-JP" altLang="en-US" sz="1000" dirty="0">
              <a:sym typeface="+mn-lt"/>
            </a:endParaRPr>
          </a:p>
        </p:txBody>
      </p:sp>
      <p:sp>
        <p:nvSpPr>
          <p:cNvPr id="501" name="Text Placeholder 12">
            <a:extLst>
              <a:ext uri="{FF2B5EF4-FFF2-40B4-BE49-F238E27FC236}">
                <a16:creationId xmlns:a16="http://schemas.microsoft.com/office/drawing/2014/main" id="{15D18A08-0204-2322-F87D-4192334C0ACD}"/>
              </a:ext>
            </a:extLst>
          </p:cNvPr>
          <p:cNvSpPr>
            <a:spLocks/>
          </p:cNvSpPr>
          <p:nvPr>
            <p:custDataLst>
              <p:tags r:id="rId196"/>
            </p:custDataLst>
          </p:nvPr>
        </p:nvSpPr>
        <p:spPr bwMode="gray">
          <a:xfrm>
            <a:off x="3911600" y="5378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DAE0A3-9BF6-49EF-BBD3-7343471FA8B9}" type="datetime'''''''''''''''''7''''''''''''''''''''8''''.8'''''''''''">
              <a:rPr lang="ja-JP" altLang="en-US" sz="1000" b="0" smtClean="0">
                <a:effectLst/>
              </a:rPr>
              <a:pPr/>
              <a:t>78.8</a:t>
            </a:fld>
            <a:endParaRPr kumimoji="0" lang="ja-JP" altLang="en-US" sz="1000" b="0" dirty="0">
              <a:sym typeface="+mn-lt"/>
            </a:endParaRPr>
          </a:p>
        </p:txBody>
      </p:sp>
      <p:sp>
        <p:nvSpPr>
          <p:cNvPr id="500" name="Text Placeholder 12">
            <a:extLst>
              <a:ext uri="{FF2B5EF4-FFF2-40B4-BE49-F238E27FC236}">
                <a16:creationId xmlns:a16="http://schemas.microsoft.com/office/drawing/2014/main" id="{39928266-4527-A9E4-7794-3AE2C96EEDBF}"/>
              </a:ext>
            </a:extLst>
          </p:cNvPr>
          <p:cNvSpPr>
            <a:spLocks/>
          </p:cNvSpPr>
          <p:nvPr>
            <p:custDataLst>
              <p:tags r:id="rId197"/>
            </p:custDataLst>
          </p:nvPr>
        </p:nvSpPr>
        <p:spPr bwMode="gray">
          <a:xfrm>
            <a:off x="3911600" y="6027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480E110-A6DC-48AE-83A5-5D5C4D4CA4DE}" type="datetime'''''1''''''''''''''''''''''''3''''.''''''''''''''7'">
              <a:rPr lang="ja-JP" altLang="en-US" sz="1000" b="0" smtClean="0">
                <a:solidFill>
                  <a:schemeClr val="bg1"/>
                </a:solidFill>
                <a:effectLst/>
              </a:rPr>
              <a:pPr/>
              <a:t>13.7</a:t>
            </a:fld>
            <a:endParaRPr kumimoji="0" lang="ja-JP" altLang="en-US" sz="1000" b="0" dirty="0">
              <a:solidFill>
                <a:schemeClr val="bg1"/>
              </a:solidFill>
              <a:sym typeface="+mn-lt"/>
            </a:endParaRPr>
          </a:p>
        </p:txBody>
      </p:sp>
      <p:sp>
        <p:nvSpPr>
          <p:cNvPr id="536" name="テキスト プレースホルダ 9">
            <a:extLst>
              <a:ext uri="{FF2B5EF4-FFF2-40B4-BE49-F238E27FC236}">
                <a16:creationId xmlns:a16="http://schemas.microsoft.com/office/drawing/2014/main" id="{9B5EADEF-05BC-4D20-2251-1667BE5F2BEA}"/>
              </a:ext>
            </a:extLst>
          </p:cNvPr>
          <p:cNvSpPr>
            <a:spLocks/>
          </p:cNvSpPr>
          <p:nvPr>
            <p:custDataLst>
              <p:tags r:id="rId198"/>
            </p:custDataLst>
          </p:nvPr>
        </p:nvSpPr>
        <p:spPr bwMode="auto">
          <a:xfrm>
            <a:off x="39751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1AC01-57EC-4DDB-AE98-3193C3667988}" type="datetime'''''''''''1''''''''''1'''''''''">
              <a:rPr lang="ja-JP" altLang="en-US" sz="1000" smtClean="0"/>
              <a:pPr/>
              <a:t>11</a:t>
            </a:fld>
            <a:endParaRPr kumimoji="1" lang="ja-JP" altLang="en-US" sz="1000" dirty="0">
              <a:sym typeface="+mn-lt"/>
            </a:endParaRPr>
          </a:p>
        </p:txBody>
      </p:sp>
      <p:sp>
        <p:nvSpPr>
          <p:cNvPr id="498" name="Text Placeholder 12">
            <a:extLst>
              <a:ext uri="{FF2B5EF4-FFF2-40B4-BE49-F238E27FC236}">
                <a16:creationId xmlns:a16="http://schemas.microsoft.com/office/drawing/2014/main" id="{21FA52E3-737C-3B0E-E730-2849308DF0E4}"/>
              </a:ext>
            </a:extLst>
          </p:cNvPr>
          <p:cNvSpPr>
            <a:spLocks/>
          </p:cNvSpPr>
          <p:nvPr>
            <p:custDataLst>
              <p:tags r:id="rId199"/>
            </p:custDataLst>
          </p:nvPr>
        </p:nvSpPr>
        <p:spPr bwMode="gray">
          <a:xfrm>
            <a:off x="4208463" y="5383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D36FF3-3F62-4815-A123-0F0A9A4960A5}" type="datetime'''''''78''''.''''''''8'''''''''''''''''''''''">
              <a:rPr lang="ja-JP" altLang="en-US" sz="1000" b="0" smtClean="0">
                <a:effectLst/>
              </a:rPr>
              <a:pPr/>
              <a:t>78.8</a:t>
            </a:fld>
            <a:endParaRPr kumimoji="0" lang="ja-JP" altLang="en-US" sz="1000" b="0" dirty="0">
              <a:sym typeface="+mn-lt"/>
            </a:endParaRPr>
          </a:p>
        </p:txBody>
      </p:sp>
      <p:sp>
        <p:nvSpPr>
          <p:cNvPr id="511" name="Text Placeholder 12">
            <a:extLst>
              <a:ext uri="{FF2B5EF4-FFF2-40B4-BE49-F238E27FC236}">
                <a16:creationId xmlns:a16="http://schemas.microsoft.com/office/drawing/2014/main" id="{9344D637-E1EA-262A-401F-147DEA8B9E81}"/>
              </a:ext>
            </a:extLst>
          </p:cNvPr>
          <p:cNvSpPr>
            <a:spLocks/>
          </p:cNvSpPr>
          <p:nvPr>
            <p:custDataLst>
              <p:tags r:id="rId200"/>
            </p:custDataLst>
          </p:nvPr>
        </p:nvSpPr>
        <p:spPr bwMode="gray">
          <a:xfrm>
            <a:off x="4208463" y="6030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4365E4-1FC9-4823-B86B-FED6F347FD59}" type="datetime'''''''''''''''''''1''''''''''''''''3''.4'">
              <a:rPr lang="ja-JP" altLang="en-US" sz="1000" b="0" smtClean="0">
                <a:solidFill>
                  <a:schemeClr val="bg1"/>
                </a:solidFill>
                <a:effectLst/>
              </a:rPr>
              <a:pPr/>
              <a:t>13.4</a:t>
            </a:fld>
            <a:endParaRPr kumimoji="0" lang="ja-JP" altLang="en-US" sz="1000" b="0" dirty="0">
              <a:solidFill>
                <a:schemeClr val="bg1"/>
              </a:solidFill>
              <a:sym typeface="+mn-lt"/>
            </a:endParaRPr>
          </a:p>
        </p:txBody>
      </p:sp>
      <p:sp>
        <p:nvSpPr>
          <p:cNvPr id="537" name="テキスト プレースホルダ 9">
            <a:extLst>
              <a:ext uri="{FF2B5EF4-FFF2-40B4-BE49-F238E27FC236}">
                <a16:creationId xmlns:a16="http://schemas.microsoft.com/office/drawing/2014/main" id="{4052F79E-64BA-C7AC-293C-13CC9ED31F51}"/>
              </a:ext>
            </a:extLst>
          </p:cNvPr>
          <p:cNvSpPr>
            <a:spLocks/>
          </p:cNvSpPr>
          <p:nvPr>
            <p:custDataLst>
              <p:tags r:id="rId201"/>
            </p:custDataLst>
          </p:nvPr>
        </p:nvSpPr>
        <p:spPr bwMode="auto">
          <a:xfrm>
            <a:off x="42719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56F261-8239-4EAE-9995-16962708B654}" type="datetime'''''''''''''''''''1''''''''''''''''''''2'''''''">
              <a:rPr lang="ja-JP" altLang="en-US" sz="1000" smtClean="0"/>
              <a:pPr/>
              <a:t>12</a:t>
            </a:fld>
            <a:endParaRPr kumimoji="1" lang="ja-JP" altLang="en-US" sz="1000" dirty="0">
              <a:sym typeface="+mn-lt"/>
            </a:endParaRPr>
          </a:p>
        </p:txBody>
      </p:sp>
      <p:sp>
        <p:nvSpPr>
          <p:cNvPr id="496" name="Text Placeholder 12">
            <a:extLst>
              <a:ext uri="{FF2B5EF4-FFF2-40B4-BE49-F238E27FC236}">
                <a16:creationId xmlns:a16="http://schemas.microsoft.com/office/drawing/2014/main" id="{DC730F3C-A805-5A51-AB3F-06CA1919E331}"/>
              </a:ext>
            </a:extLst>
          </p:cNvPr>
          <p:cNvSpPr>
            <a:spLocks/>
          </p:cNvSpPr>
          <p:nvPr>
            <p:custDataLst>
              <p:tags r:id="rId202"/>
            </p:custDataLst>
          </p:nvPr>
        </p:nvSpPr>
        <p:spPr bwMode="gray">
          <a:xfrm>
            <a:off x="4505325" y="5387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C92E82-7212-4D3C-AE0F-01E6FC9F74B1}" type="datetime'''''''''7''''''''''''''''''''''''''8''.''7'''''''''''''''">
              <a:rPr lang="ja-JP" altLang="en-US" sz="1000" b="0" smtClean="0">
                <a:effectLst/>
              </a:rPr>
              <a:pPr/>
              <a:t>78.7</a:t>
            </a:fld>
            <a:endParaRPr kumimoji="0" lang="ja-JP" altLang="en-US" sz="1000" b="0" dirty="0">
              <a:sym typeface="+mn-lt"/>
            </a:endParaRPr>
          </a:p>
        </p:txBody>
      </p:sp>
      <p:sp>
        <p:nvSpPr>
          <p:cNvPr id="495" name="Text Placeholder 12">
            <a:extLst>
              <a:ext uri="{FF2B5EF4-FFF2-40B4-BE49-F238E27FC236}">
                <a16:creationId xmlns:a16="http://schemas.microsoft.com/office/drawing/2014/main" id="{D1CF7814-1824-9E47-725F-276D8E23B24F}"/>
              </a:ext>
            </a:extLst>
          </p:cNvPr>
          <p:cNvSpPr>
            <a:spLocks/>
          </p:cNvSpPr>
          <p:nvPr>
            <p:custDataLst>
              <p:tags r:id="rId203"/>
            </p:custDataLst>
          </p:nvPr>
        </p:nvSpPr>
        <p:spPr bwMode="gray">
          <a:xfrm>
            <a:off x="4505325" y="6032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190513-E297-4EFC-BA49-354D4E5F076F}" type="datetime'''''''''1''''''''''3''''''.''''''''''''''''''1'''''''">
              <a:rPr lang="ja-JP" altLang="en-US" sz="1000" b="0" smtClean="0">
                <a:solidFill>
                  <a:schemeClr val="bg1"/>
                </a:solidFill>
                <a:effectLst/>
              </a:rPr>
              <a:pPr/>
              <a:t>13.1</a:t>
            </a:fld>
            <a:endParaRPr kumimoji="0" lang="ja-JP" altLang="en-US" sz="1000" b="0" dirty="0">
              <a:solidFill>
                <a:schemeClr val="bg1"/>
              </a:solidFill>
              <a:sym typeface="+mn-lt"/>
            </a:endParaRPr>
          </a:p>
        </p:txBody>
      </p:sp>
      <p:sp>
        <p:nvSpPr>
          <p:cNvPr id="538" name="テキスト プレースホルダ 9">
            <a:extLst>
              <a:ext uri="{FF2B5EF4-FFF2-40B4-BE49-F238E27FC236}">
                <a16:creationId xmlns:a16="http://schemas.microsoft.com/office/drawing/2014/main" id="{9812351A-6F2D-1AF8-249B-576A18D94E82}"/>
              </a:ext>
            </a:extLst>
          </p:cNvPr>
          <p:cNvSpPr>
            <a:spLocks/>
          </p:cNvSpPr>
          <p:nvPr>
            <p:custDataLst>
              <p:tags r:id="rId204"/>
            </p:custDataLst>
          </p:nvPr>
        </p:nvSpPr>
        <p:spPr bwMode="auto">
          <a:xfrm>
            <a:off x="4568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9149F-DE84-42AA-B818-B96127F0BD25}" type="datetime'''''''''''''''''1''''3'''''''''''''''''''''''''''''''''''''">
              <a:rPr lang="ja-JP" altLang="en-US" sz="1000" smtClean="0"/>
              <a:pPr/>
              <a:t>13</a:t>
            </a:fld>
            <a:endParaRPr kumimoji="1" lang="ja-JP" altLang="en-US" sz="1000" dirty="0">
              <a:sym typeface="+mn-lt"/>
            </a:endParaRPr>
          </a:p>
        </p:txBody>
      </p:sp>
      <p:sp>
        <p:nvSpPr>
          <p:cNvPr id="494" name="Text Placeholder 12">
            <a:extLst>
              <a:ext uri="{FF2B5EF4-FFF2-40B4-BE49-F238E27FC236}">
                <a16:creationId xmlns:a16="http://schemas.microsoft.com/office/drawing/2014/main" id="{D7BFA835-592D-6262-E020-19C6D5276BC9}"/>
              </a:ext>
            </a:extLst>
          </p:cNvPr>
          <p:cNvSpPr>
            <a:spLocks/>
          </p:cNvSpPr>
          <p:nvPr>
            <p:custDataLst>
              <p:tags r:id="rId205"/>
            </p:custDataLst>
          </p:nvPr>
        </p:nvSpPr>
        <p:spPr bwMode="gray">
          <a:xfrm>
            <a:off x="4803775" y="5392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5D4540E-D4B5-48FD-B4D4-403933486C4F}" type="datetime'''''''7''8''''''''''''.''5'">
              <a:rPr lang="ja-JP" altLang="en-US" sz="1000" b="0" smtClean="0">
                <a:effectLst/>
              </a:rPr>
              <a:pPr/>
              <a:t>78.5</a:t>
            </a:fld>
            <a:endParaRPr kumimoji="0" lang="ja-JP" altLang="en-US" sz="1000" b="0" dirty="0">
              <a:sym typeface="+mn-lt"/>
            </a:endParaRPr>
          </a:p>
        </p:txBody>
      </p:sp>
      <p:sp>
        <p:nvSpPr>
          <p:cNvPr id="493" name="Text Placeholder 12">
            <a:extLst>
              <a:ext uri="{FF2B5EF4-FFF2-40B4-BE49-F238E27FC236}">
                <a16:creationId xmlns:a16="http://schemas.microsoft.com/office/drawing/2014/main" id="{290B956B-26A4-C370-95B4-1F86B9D26D14}"/>
              </a:ext>
            </a:extLst>
          </p:cNvPr>
          <p:cNvSpPr>
            <a:spLocks/>
          </p:cNvSpPr>
          <p:nvPr>
            <p:custDataLst>
              <p:tags r:id="rId206"/>
            </p:custDataLst>
          </p:nvPr>
        </p:nvSpPr>
        <p:spPr bwMode="gray">
          <a:xfrm>
            <a:off x="4803775" y="6034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74662FE-8A60-4E5C-8C7C-C47A75899FE4}" type="datetime'''''''''''1''''''''''''''''''''''2''''.''''''9'''''''''''">
              <a:rPr lang="ja-JP" altLang="en-US" sz="1000" b="0" smtClean="0">
                <a:solidFill>
                  <a:schemeClr val="bg1"/>
                </a:solidFill>
                <a:effectLst/>
              </a:rPr>
              <a:pPr/>
              <a:t>12.9</a:t>
            </a:fld>
            <a:endParaRPr kumimoji="0" lang="ja-JP" altLang="en-US" sz="1000" b="0" dirty="0">
              <a:solidFill>
                <a:schemeClr val="bg1"/>
              </a:solidFill>
              <a:sym typeface="+mn-lt"/>
            </a:endParaRPr>
          </a:p>
        </p:txBody>
      </p:sp>
      <p:sp>
        <p:nvSpPr>
          <p:cNvPr id="539" name="テキスト プレースホルダ 9">
            <a:extLst>
              <a:ext uri="{FF2B5EF4-FFF2-40B4-BE49-F238E27FC236}">
                <a16:creationId xmlns:a16="http://schemas.microsoft.com/office/drawing/2014/main" id="{F7A5E864-08CC-F6EA-5577-D64A74740946}"/>
              </a:ext>
            </a:extLst>
          </p:cNvPr>
          <p:cNvSpPr>
            <a:spLocks/>
          </p:cNvSpPr>
          <p:nvPr>
            <p:custDataLst>
              <p:tags r:id="rId207"/>
            </p:custDataLst>
          </p:nvPr>
        </p:nvSpPr>
        <p:spPr bwMode="auto">
          <a:xfrm>
            <a:off x="4867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C85C2-0F9F-4B24-A220-B07077FAB79E}" type="datetime'''''''''''''''''''''''''''''14'''''''''''''''''''">
              <a:rPr lang="ja-JP" altLang="en-US" sz="1000" smtClean="0"/>
              <a:pPr/>
              <a:t>14</a:t>
            </a:fld>
            <a:endParaRPr kumimoji="1" lang="ja-JP" altLang="en-US" sz="1000" dirty="0">
              <a:sym typeface="+mn-lt"/>
            </a:endParaRPr>
          </a:p>
        </p:txBody>
      </p:sp>
      <p:sp>
        <p:nvSpPr>
          <p:cNvPr id="491" name="Text Placeholder 12">
            <a:extLst>
              <a:ext uri="{FF2B5EF4-FFF2-40B4-BE49-F238E27FC236}">
                <a16:creationId xmlns:a16="http://schemas.microsoft.com/office/drawing/2014/main" id="{DE8CB6F8-35BD-CC82-2E88-55FBD9C3CF99}"/>
              </a:ext>
            </a:extLst>
          </p:cNvPr>
          <p:cNvSpPr>
            <a:spLocks/>
          </p:cNvSpPr>
          <p:nvPr>
            <p:custDataLst>
              <p:tags r:id="rId208"/>
            </p:custDataLst>
          </p:nvPr>
        </p:nvSpPr>
        <p:spPr bwMode="gray">
          <a:xfrm>
            <a:off x="5100638" y="5395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D45FBBB-AF5A-490F-A68B-DD5531F47087}" type="datetime'''''''''''''''''''''''7''''''''8''''''.''''''3'''''''''''''''">
              <a:rPr lang="ja-JP" altLang="en-US" sz="1000" b="0" smtClean="0">
                <a:effectLst/>
              </a:rPr>
              <a:pPr/>
              <a:t>78.3</a:t>
            </a:fld>
            <a:endParaRPr kumimoji="0" lang="ja-JP" altLang="en-US" sz="1000" b="0" dirty="0">
              <a:sym typeface="+mn-lt"/>
            </a:endParaRPr>
          </a:p>
        </p:txBody>
      </p:sp>
      <p:sp>
        <p:nvSpPr>
          <p:cNvPr id="490" name="Text Placeholder 12">
            <a:extLst>
              <a:ext uri="{FF2B5EF4-FFF2-40B4-BE49-F238E27FC236}">
                <a16:creationId xmlns:a16="http://schemas.microsoft.com/office/drawing/2014/main" id="{7196ADC3-5BE4-4F1F-35FB-2C1C5E086537}"/>
              </a:ext>
            </a:extLst>
          </p:cNvPr>
          <p:cNvSpPr>
            <a:spLocks/>
          </p:cNvSpPr>
          <p:nvPr>
            <p:custDataLst>
              <p:tags r:id="rId209"/>
            </p:custDataLst>
          </p:nvPr>
        </p:nvSpPr>
        <p:spPr bwMode="gray">
          <a:xfrm>
            <a:off x="5100638" y="6035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CA90119-01FC-4C08-8A72-4EAAA2780FC4}" type="datetime'''''''''''''1''''''2.''''7'''''''''''''''''''''''''''''''''''">
              <a:rPr lang="ja-JP" altLang="en-US" sz="1000" b="0" smtClean="0">
                <a:solidFill>
                  <a:schemeClr val="bg1"/>
                </a:solidFill>
                <a:effectLst/>
              </a:rPr>
              <a:pPr/>
              <a:t>12.7</a:t>
            </a:fld>
            <a:endParaRPr kumimoji="0" lang="ja-JP" altLang="en-US" sz="1000" b="0" dirty="0">
              <a:solidFill>
                <a:schemeClr val="bg1"/>
              </a:solidFill>
              <a:sym typeface="+mn-lt"/>
            </a:endParaRPr>
          </a:p>
        </p:txBody>
      </p:sp>
      <p:sp>
        <p:nvSpPr>
          <p:cNvPr id="540" name="テキスト プレースホルダ 9">
            <a:extLst>
              <a:ext uri="{FF2B5EF4-FFF2-40B4-BE49-F238E27FC236}">
                <a16:creationId xmlns:a16="http://schemas.microsoft.com/office/drawing/2014/main" id="{E8406C93-3DE3-F00D-2765-ACDE7D356FD0}"/>
              </a:ext>
            </a:extLst>
          </p:cNvPr>
          <p:cNvSpPr>
            <a:spLocks/>
          </p:cNvSpPr>
          <p:nvPr>
            <p:custDataLst>
              <p:tags r:id="rId210"/>
            </p:custDataLst>
          </p:nvPr>
        </p:nvSpPr>
        <p:spPr bwMode="auto">
          <a:xfrm>
            <a:off x="5164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350DC-D7DC-402B-A333-1655E7CF6033}" type="datetime'''''''''''''''''''''''''''''''1''''5'''''''''''''''''">
              <a:rPr lang="ja-JP" altLang="en-US" sz="1000" smtClean="0"/>
              <a:pPr/>
              <a:t>15</a:t>
            </a:fld>
            <a:endParaRPr kumimoji="1" lang="ja-JP" altLang="en-US" sz="1000" dirty="0">
              <a:sym typeface="+mn-lt"/>
            </a:endParaRPr>
          </a:p>
        </p:txBody>
      </p:sp>
      <p:sp>
        <p:nvSpPr>
          <p:cNvPr id="489" name="Text Placeholder 12">
            <a:extLst>
              <a:ext uri="{FF2B5EF4-FFF2-40B4-BE49-F238E27FC236}">
                <a16:creationId xmlns:a16="http://schemas.microsoft.com/office/drawing/2014/main" id="{0EC495F5-81A5-6A75-CCA6-43750200D84A}"/>
              </a:ext>
            </a:extLst>
          </p:cNvPr>
          <p:cNvSpPr>
            <a:spLocks/>
          </p:cNvSpPr>
          <p:nvPr>
            <p:custDataLst>
              <p:tags r:id="rId211"/>
            </p:custDataLst>
          </p:nvPr>
        </p:nvSpPr>
        <p:spPr bwMode="gray">
          <a:xfrm>
            <a:off x="5397500" y="5400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FD8835-78CD-443B-8324-EA4CE1D81629}" type="datetime'''''''''''''''''''''''''''78''''.''''''''0'''''">
              <a:rPr lang="ja-JP" altLang="en-US" sz="1000" b="0" smtClean="0">
                <a:effectLst/>
              </a:rPr>
              <a:pPr/>
              <a:t>78.0</a:t>
            </a:fld>
            <a:endParaRPr kumimoji="0" lang="ja-JP" altLang="en-US" sz="1000" b="0" dirty="0">
              <a:sym typeface="+mn-lt"/>
            </a:endParaRPr>
          </a:p>
        </p:txBody>
      </p:sp>
      <p:sp>
        <p:nvSpPr>
          <p:cNvPr id="488" name="Text Placeholder 12">
            <a:extLst>
              <a:ext uri="{FF2B5EF4-FFF2-40B4-BE49-F238E27FC236}">
                <a16:creationId xmlns:a16="http://schemas.microsoft.com/office/drawing/2014/main" id="{F3C4E61E-692E-16BB-F27E-C03E192D2119}"/>
              </a:ext>
            </a:extLst>
          </p:cNvPr>
          <p:cNvSpPr>
            <a:spLocks/>
          </p:cNvSpPr>
          <p:nvPr>
            <p:custDataLst>
              <p:tags r:id="rId212"/>
            </p:custDataLst>
          </p:nvPr>
        </p:nvSpPr>
        <p:spPr bwMode="gray">
          <a:xfrm>
            <a:off x="5397500" y="6035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DB3A225-6E39-4C5D-A34E-434259A0C13A}" type="datetime'1''''''''''''''''''2''''.''''''''''''''''''''''''5'''">
              <a:rPr lang="ja-JP" altLang="en-US" sz="1000" b="0" smtClean="0">
                <a:solidFill>
                  <a:schemeClr val="bg1"/>
                </a:solidFill>
                <a:effectLst/>
              </a:rPr>
              <a:pPr/>
              <a:t>12.5</a:t>
            </a:fld>
            <a:endParaRPr kumimoji="0" lang="ja-JP" altLang="en-US" sz="1000" b="0" dirty="0">
              <a:solidFill>
                <a:schemeClr val="bg1"/>
              </a:solidFill>
              <a:sym typeface="+mn-lt"/>
            </a:endParaRPr>
          </a:p>
        </p:txBody>
      </p:sp>
      <p:sp>
        <p:nvSpPr>
          <p:cNvPr id="541" name="テキスト プレースホルダ 9">
            <a:extLst>
              <a:ext uri="{FF2B5EF4-FFF2-40B4-BE49-F238E27FC236}">
                <a16:creationId xmlns:a16="http://schemas.microsoft.com/office/drawing/2014/main" id="{0B72FEF8-73DA-EA91-D7BC-4BA8D45B6490}"/>
              </a:ext>
            </a:extLst>
          </p:cNvPr>
          <p:cNvSpPr>
            <a:spLocks/>
          </p:cNvSpPr>
          <p:nvPr>
            <p:custDataLst>
              <p:tags r:id="rId213"/>
            </p:custDataLst>
          </p:nvPr>
        </p:nvSpPr>
        <p:spPr bwMode="auto">
          <a:xfrm>
            <a:off x="54610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72D8D-BE81-4146-B73B-A44B09CBD0E7}" type="datetime'''1''''''''''''''''''''''''''''''''''''''''6'''''">
              <a:rPr lang="ja-JP" altLang="en-US" sz="1000" smtClean="0"/>
              <a:pPr/>
              <a:t>16</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E4D24A91-1E46-5F9E-25C4-E33453EED1FE}"/>
              </a:ext>
            </a:extLst>
          </p:cNvPr>
          <p:cNvSpPr>
            <a:spLocks/>
          </p:cNvSpPr>
          <p:nvPr>
            <p:custDataLst>
              <p:tags r:id="rId214"/>
            </p:custDataLst>
          </p:nvPr>
        </p:nvSpPr>
        <p:spPr bwMode="gray">
          <a:xfrm>
            <a:off x="5695950" y="54054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0F7514-7697-4397-BA15-78E2349272A6}" type="datetime'''''''''''''''7''7''''''.''''''''''''''''''''''6'''''''''">
              <a:rPr lang="ja-JP" altLang="en-US" sz="1000" smtClean="0">
                <a:effectLst/>
              </a:rPr>
              <a:pPr/>
              <a:t>77.6</a:t>
            </a:fld>
            <a:endParaRPr kumimoji="0" lang="ja-JP" altLang="en-US" sz="1000" dirty="0">
              <a:sym typeface="+mn-lt"/>
            </a:endParaRPr>
          </a:p>
        </p:txBody>
      </p:sp>
      <p:sp>
        <p:nvSpPr>
          <p:cNvPr id="487" name="テキスト プレースホルダ 9">
            <a:extLst>
              <a:ext uri="{FF2B5EF4-FFF2-40B4-BE49-F238E27FC236}">
                <a16:creationId xmlns:a16="http://schemas.microsoft.com/office/drawing/2014/main" id="{5A845018-8575-B261-0DDD-94FC9367BADC}"/>
              </a:ext>
            </a:extLst>
          </p:cNvPr>
          <p:cNvSpPr>
            <a:spLocks/>
          </p:cNvSpPr>
          <p:nvPr>
            <p:custDataLst>
              <p:tags r:id="rId215"/>
            </p:custDataLst>
          </p:nvPr>
        </p:nvSpPr>
        <p:spPr bwMode="gray">
          <a:xfrm>
            <a:off x="5695950" y="6037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FD0CE1-E0DA-4B8B-9D09-75B1CA698463}" type="datetime'''''12''''''.''''4'''''''''''''''''''''''''''''''''''">
              <a:rPr lang="ja-JP" altLang="en-US" sz="1000" smtClean="0">
                <a:solidFill>
                  <a:schemeClr val="bg1"/>
                </a:solidFill>
                <a:effectLst/>
              </a:rPr>
              <a:pPr/>
              <a:t>12.4</a:t>
            </a:fld>
            <a:endParaRPr kumimoji="0" lang="ja-JP" altLang="en-US" sz="1000" dirty="0">
              <a:solidFill>
                <a:schemeClr val="bg1"/>
              </a:solidFill>
              <a:sym typeface="+mn-lt"/>
            </a:endParaRPr>
          </a:p>
        </p:txBody>
      </p:sp>
      <p:sp>
        <p:nvSpPr>
          <p:cNvPr id="542" name="テキスト プレースホルダ 9">
            <a:extLst>
              <a:ext uri="{FF2B5EF4-FFF2-40B4-BE49-F238E27FC236}">
                <a16:creationId xmlns:a16="http://schemas.microsoft.com/office/drawing/2014/main" id="{B71EDB94-9D4F-D9C5-7349-1F86BB2F56E0}"/>
              </a:ext>
            </a:extLst>
          </p:cNvPr>
          <p:cNvSpPr>
            <a:spLocks/>
          </p:cNvSpPr>
          <p:nvPr>
            <p:custDataLst>
              <p:tags r:id="rId216"/>
            </p:custDataLst>
          </p:nvPr>
        </p:nvSpPr>
        <p:spPr bwMode="auto">
          <a:xfrm>
            <a:off x="57594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26040-0C17-4E6A-9460-DC3582C8A09D}" type="datetime'''''''''''''''''''''''1''''7'''''''''''">
              <a:rPr lang="ja-JP" altLang="en-US" sz="1000" smtClean="0"/>
              <a:pPr/>
              <a:t>17</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AE85BB10-AC88-46B5-BA63-4CE7B3B27527}"/>
              </a:ext>
            </a:extLst>
          </p:cNvPr>
          <p:cNvSpPr>
            <a:spLocks/>
          </p:cNvSpPr>
          <p:nvPr>
            <p:custDataLst>
              <p:tags r:id="rId217"/>
            </p:custDataLst>
          </p:nvPr>
        </p:nvSpPr>
        <p:spPr bwMode="gray">
          <a:xfrm>
            <a:off x="5992813" y="54102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2DC4D2-E06D-4B87-80B0-40C2B709E4D0}" type="datetime'''''''''''''''7''''''''7''''''''.''2'''">
              <a:rPr lang="ja-JP" altLang="en-US" sz="1000" smtClean="0">
                <a:effectLst/>
              </a:rPr>
              <a:pPr/>
              <a:t>77.2</a:t>
            </a:fld>
            <a:endParaRPr kumimoji="0" lang="ja-JP" altLang="en-US" sz="1000" dirty="0">
              <a:sym typeface="+mn-lt"/>
            </a:endParaRPr>
          </a:p>
        </p:txBody>
      </p:sp>
      <p:sp>
        <p:nvSpPr>
          <p:cNvPr id="484" name="テキスト プレースホルダ 9">
            <a:extLst>
              <a:ext uri="{FF2B5EF4-FFF2-40B4-BE49-F238E27FC236}">
                <a16:creationId xmlns:a16="http://schemas.microsoft.com/office/drawing/2014/main" id="{8F0F6EB7-0D09-8688-BF68-214D539AC950}"/>
              </a:ext>
            </a:extLst>
          </p:cNvPr>
          <p:cNvSpPr>
            <a:spLocks/>
          </p:cNvSpPr>
          <p:nvPr>
            <p:custDataLst>
              <p:tags r:id="rId218"/>
            </p:custDataLst>
          </p:nvPr>
        </p:nvSpPr>
        <p:spPr bwMode="gray">
          <a:xfrm>
            <a:off x="5992813" y="6037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914C377-DA4C-4712-8669-DDC986839727}" type="datetime'''''''''''1''''''''2.''3'''''''''''''''''''''''''">
              <a:rPr lang="ja-JP" altLang="en-US" sz="1000" smtClean="0">
                <a:solidFill>
                  <a:schemeClr val="bg1"/>
                </a:solidFill>
                <a:effectLst/>
              </a:rPr>
              <a:pPr/>
              <a:t>12.3</a:t>
            </a:fld>
            <a:endParaRPr kumimoji="0" lang="ja-JP" altLang="en-US" sz="1000" dirty="0">
              <a:solidFill>
                <a:schemeClr val="bg1"/>
              </a:solidFill>
              <a:sym typeface="+mn-lt"/>
            </a:endParaRPr>
          </a:p>
        </p:txBody>
      </p:sp>
      <p:sp>
        <p:nvSpPr>
          <p:cNvPr id="543" name="テキスト プレースホルダ 9">
            <a:extLst>
              <a:ext uri="{FF2B5EF4-FFF2-40B4-BE49-F238E27FC236}">
                <a16:creationId xmlns:a16="http://schemas.microsoft.com/office/drawing/2014/main" id="{1E1E8C02-460B-EF1A-4E14-6ECBEB38913F}"/>
              </a:ext>
            </a:extLst>
          </p:cNvPr>
          <p:cNvSpPr>
            <a:spLocks/>
          </p:cNvSpPr>
          <p:nvPr>
            <p:custDataLst>
              <p:tags r:id="rId219"/>
            </p:custDataLst>
          </p:nvPr>
        </p:nvSpPr>
        <p:spPr bwMode="auto">
          <a:xfrm>
            <a:off x="60563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0FE725-B6D0-493D-BB1B-7BA1938E8EAB}" type="datetime'''''''''''''''''1''''''''8'''''''''''''">
              <a:rPr lang="ja-JP" altLang="en-US" sz="1000" smtClean="0"/>
              <a:pPr/>
              <a:t>18</a:t>
            </a:fld>
            <a:endParaRPr kumimoji="1" lang="ja-JP" altLang="en-US" sz="1000" dirty="0">
              <a:sym typeface="+mn-lt"/>
            </a:endParaRPr>
          </a:p>
        </p:txBody>
      </p:sp>
      <p:sp>
        <p:nvSpPr>
          <p:cNvPr id="483" name="Text Placeholder 12">
            <a:extLst>
              <a:ext uri="{FF2B5EF4-FFF2-40B4-BE49-F238E27FC236}">
                <a16:creationId xmlns:a16="http://schemas.microsoft.com/office/drawing/2014/main" id="{A3FF6F16-63F9-4DFF-2CC8-1DF1915F45A5}"/>
              </a:ext>
            </a:extLst>
          </p:cNvPr>
          <p:cNvSpPr>
            <a:spLocks/>
          </p:cNvSpPr>
          <p:nvPr>
            <p:custDataLst>
              <p:tags r:id="rId220"/>
            </p:custDataLst>
          </p:nvPr>
        </p:nvSpPr>
        <p:spPr bwMode="gray">
          <a:xfrm>
            <a:off x="6289675" y="5413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DDA9F4-FB95-49CA-A071-F21A2D9338AF}" type="datetime'''''7''''''''''''''''''''''6''.''''8'''">
              <a:rPr lang="ja-JP" altLang="en-US" sz="1000" b="0" smtClean="0">
                <a:effectLst/>
              </a:rPr>
              <a:pPr/>
              <a:t>76.8</a:t>
            </a:fld>
            <a:endParaRPr kumimoji="0" lang="ja-JP" altLang="en-US" sz="1000" b="0" dirty="0">
              <a:sym typeface="+mn-lt"/>
            </a:endParaRPr>
          </a:p>
        </p:txBody>
      </p:sp>
      <p:sp>
        <p:nvSpPr>
          <p:cNvPr id="482" name="Text Placeholder 12">
            <a:extLst>
              <a:ext uri="{FF2B5EF4-FFF2-40B4-BE49-F238E27FC236}">
                <a16:creationId xmlns:a16="http://schemas.microsoft.com/office/drawing/2014/main" id="{EEE34539-60AC-D06A-C2E0-20089BE0C67A}"/>
              </a:ext>
            </a:extLst>
          </p:cNvPr>
          <p:cNvSpPr>
            <a:spLocks/>
          </p:cNvSpPr>
          <p:nvPr>
            <p:custDataLst>
              <p:tags r:id="rId221"/>
            </p:custDataLst>
          </p:nvPr>
        </p:nvSpPr>
        <p:spPr bwMode="gray">
          <a:xfrm>
            <a:off x="6289675"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627FCB-F78B-4659-921E-0FCC9F41FA5C}"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4" name="テキスト プレースホルダ 9">
            <a:extLst>
              <a:ext uri="{FF2B5EF4-FFF2-40B4-BE49-F238E27FC236}">
                <a16:creationId xmlns:a16="http://schemas.microsoft.com/office/drawing/2014/main" id="{6D2C7391-69DF-97A1-D025-C630D1975AD1}"/>
              </a:ext>
            </a:extLst>
          </p:cNvPr>
          <p:cNvSpPr>
            <a:spLocks/>
          </p:cNvSpPr>
          <p:nvPr>
            <p:custDataLst>
              <p:tags r:id="rId222"/>
            </p:custDataLst>
          </p:nvPr>
        </p:nvSpPr>
        <p:spPr bwMode="auto">
          <a:xfrm>
            <a:off x="63531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8D7D5-BA51-44B8-9D4C-A72C0A50EAE8}" type="datetime'''''1''''''''''''''''''''''''''''''''''''''9'''''''''''''''''">
              <a:rPr lang="ja-JP" altLang="en-US" sz="1000" smtClean="0"/>
              <a:pPr/>
              <a:t>19</a:t>
            </a:fld>
            <a:endParaRPr kumimoji="1" lang="ja-JP" altLang="en-US" sz="1000" dirty="0">
              <a:sym typeface="+mn-lt"/>
            </a:endParaRPr>
          </a:p>
        </p:txBody>
      </p:sp>
      <p:sp>
        <p:nvSpPr>
          <p:cNvPr id="711" name="テキスト プレースホルダ 9">
            <a:extLst>
              <a:ext uri="{FF2B5EF4-FFF2-40B4-BE49-F238E27FC236}">
                <a16:creationId xmlns:a16="http://schemas.microsoft.com/office/drawing/2014/main" id="{A1D101F4-3298-3E7C-4582-43BFEFE37F15}"/>
              </a:ext>
            </a:extLst>
          </p:cNvPr>
          <p:cNvSpPr>
            <a:spLocks/>
          </p:cNvSpPr>
          <p:nvPr>
            <p:custDataLst>
              <p:tags r:id="rId223"/>
            </p:custDataLst>
          </p:nvPr>
        </p:nvSpPr>
        <p:spPr bwMode="gray">
          <a:xfrm>
            <a:off x="6588125"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8146E-316A-46B0-B7B2-FCFB53D8866C}"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481" name="Text Placeholder 12">
            <a:extLst>
              <a:ext uri="{FF2B5EF4-FFF2-40B4-BE49-F238E27FC236}">
                <a16:creationId xmlns:a16="http://schemas.microsoft.com/office/drawing/2014/main" id="{F236C9F3-533B-D911-4FB3-58D89ACDE638}"/>
              </a:ext>
            </a:extLst>
          </p:cNvPr>
          <p:cNvSpPr>
            <a:spLocks/>
          </p:cNvSpPr>
          <p:nvPr>
            <p:custDataLst>
              <p:tags r:id="rId224"/>
            </p:custDataLst>
          </p:nvPr>
        </p:nvSpPr>
        <p:spPr bwMode="gray">
          <a:xfrm>
            <a:off x="6588125" y="5418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BA9392-1C91-4C87-BCD9-FA61C02297AF}" type="datetime'7''''6''''''.''2'''''''''''''''''''''''''''''''''''''''''">
              <a:rPr lang="ja-JP" altLang="en-US" sz="1000" b="0" smtClean="0">
                <a:effectLst/>
              </a:rPr>
              <a:pPr/>
              <a:t>76.2</a:t>
            </a:fld>
            <a:endParaRPr kumimoji="0" lang="ja-JP" altLang="en-US" sz="1000" b="0" dirty="0">
              <a:sym typeface="+mn-lt"/>
            </a:endParaRPr>
          </a:p>
        </p:txBody>
      </p:sp>
      <p:sp>
        <p:nvSpPr>
          <p:cNvPr id="480" name="Text Placeholder 12">
            <a:extLst>
              <a:ext uri="{FF2B5EF4-FFF2-40B4-BE49-F238E27FC236}">
                <a16:creationId xmlns:a16="http://schemas.microsoft.com/office/drawing/2014/main" id="{A1D40FF5-D0EC-D8F3-9746-857C44D43A18}"/>
              </a:ext>
            </a:extLst>
          </p:cNvPr>
          <p:cNvSpPr>
            <a:spLocks/>
          </p:cNvSpPr>
          <p:nvPr>
            <p:custDataLst>
              <p:tags r:id="rId225"/>
            </p:custDataLst>
          </p:nvPr>
        </p:nvSpPr>
        <p:spPr bwMode="gray">
          <a:xfrm>
            <a:off x="6588125"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141350-EF40-4115-8952-01C1EB39B7B1}"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5" name="テキスト プレースホルダ 9">
            <a:extLst>
              <a:ext uri="{FF2B5EF4-FFF2-40B4-BE49-F238E27FC236}">
                <a16:creationId xmlns:a16="http://schemas.microsoft.com/office/drawing/2014/main" id="{7738C70D-7A9F-1F0B-F956-0BB8632932FF}"/>
              </a:ext>
            </a:extLst>
          </p:cNvPr>
          <p:cNvSpPr>
            <a:spLocks/>
          </p:cNvSpPr>
          <p:nvPr>
            <p:custDataLst>
              <p:tags r:id="rId226"/>
            </p:custDataLst>
          </p:nvPr>
        </p:nvSpPr>
        <p:spPr bwMode="auto">
          <a:xfrm>
            <a:off x="66516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F10B35-2239-41F1-ACAB-2C398AC8F10E}" type="datetime'''''''''20'''''''''''''''''''''">
              <a:rPr lang="ja-JP" altLang="en-US" sz="1000" smtClean="0"/>
              <a:pPr/>
              <a:t>20</a:t>
            </a:fld>
            <a:endParaRPr kumimoji="1" lang="ja-JP" altLang="en-US" sz="1000" dirty="0">
              <a:sym typeface="+mn-lt"/>
            </a:endParaRPr>
          </a:p>
        </p:txBody>
      </p:sp>
      <p:sp>
        <p:nvSpPr>
          <p:cNvPr id="712" name="テキスト プレースホルダ 9">
            <a:extLst>
              <a:ext uri="{FF2B5EF4-FFF2-40B4-BE49-F238E27FC236}">
                <a16:creationId xmlns:a16="http://schemas.microsoft.com/office/drawing/2014/main" id="{D667343E-235D-AF38-5F78-32DB6CC81905}"/>
              </a:ext>
            </a:extLst>
          </p:cNvPr>
          <p:cNvSpPr>
            <a:spLocks/>
          </p:cNvSpPr>
          <p:nvPr>
            <p:custDataLst>
              <p:tags r:id="rId227"/>
            </p:custDataLst>
          </p:nvPr>
        </p:nvSpPr>
        <p:spPr bwMode="gray">
          <a:xfrm>
            <a:off x="6884988" y="4806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24CD0-81F1-4B0C-9E3D-AF2D29B5A30D}"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479" name="Text Placeholder 12">
            <a:extLst>
              <a:ext uri="{FF2B5EF4-FFF2-40B4-BE49-F238E27FC236}">
                <a16:creationId xmlns:a16="http://schemas.microsoft.com/office/drawing/2014/main" id="{14C30F7B-1733-C4CC-96FF-F81F23C0F8ED}"/>
              </a:ext>
            </a:extLst>
          </p:cNvPr>
          <p:cNvSpPr>
            <a:spLocks/>
          </p:cNvSpPr>
          <p:nvPr>
            <p:custDataLst>
              <p:tags r:id="rId228"/>
            </p:custDataLst>
          </p:nvPr>
        </p:nvSpPr>
        <p:spPr bwMode="gray">
          <a:xfrm>
            <a:off x="6884988" y="5422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4E22C45-8E7F-4143-ADF4-60CB347699F8}" type="datetime'7''''''''''''5''''''''''.''''''''''''''''''6'''''''''">
              <a:rPr lang="ja-JP" altLang="en-US" sz="1000" b="0" smtClean="0">
                <a:effectLst/>
              </a:rPr>
              <a:pPr/>
              <a:t>75.6</a:t>
            </a:fld>
            <a:endParaRPr kumimoji="0" lang="ja-JP" altLang="en-US" sz="1000" b="0" dirty="0">
              <a:sym typeface="+mn-lt"/>
            </a:endParaRPr>
          </a:p>
        </p:txBody>
      </p:sp>
      <p:sp>
        <p:nvSpPr>
          <p:cNvPr id="478" name="Text Placeholder 12">
            <a:extLst>
              <a:ext uri="{FF2B5EF4-FFF2-40B4-BE49-F238E27FC236}">
                <a16:creationId xmlns:a16="http://schemas.microsoft.com/office/drawing/2014/main" id="{23CBCBA1-3EA5-113E-BE47-45D5AB5B41B6}"/>
              </a:ext>
            </a:extLst>
          </p:cNvPr>
          <p:cNvSpPr>
            <a:spLocks/>
          </p:cNvSpPr>
          <p:nvPr>
            <p:custDataLst>
              <p:tags r:id="rId229"/>
            </p:custDataLst>
          </p:nvPr>
        </p:nvSpPr>
        <p:spPr bwMode="gray">
          <a:xfrm>
            <a:off x="6884988"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32F75C4-DBC7-41E3-8BEA-A279458D8A8B}"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6" name="テキスト プレースホルダ 9">
            <a:extLst>
              <a:ext uri="{FF2B5EF4-FFF2-40B4-BE49-F238E27FC236}">
                <a16:creationId xmlns:a16="http://schemas.microsoft.com/office/drawing/2014/main" id="{D013A23F-40C9-B5AE-C80D-E4DDE28DE405}"/>
              </a:ext>
            </a:extLst>
          </p:cNvPr>
          <p:cNvSpPr>
            <a:spLocks/>
          </p:cNvSpPr>
          <p:nvPr>
            <p:custDataLst>
              <p:tags r:id="rId230"/>
            </p:custDataLst>
          </p:nvPr>
        </p:nvSpPr>
        <p:spPr bwMode="auto">
          <a:xfrm>
            <a:off x="6948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5FDDE-FB84-4E48-921C-F01FAA5D1703}" type="datetime'2''''''''''''''''''''''''''''''''''''''''''1'''''''''''''''">
              <a:rPr lang="ja-JP" altLang="en-US" sz="1000" smtClean="0"/>
              <a:pPr/>
              <a:t>21</a:t>
            </a:fld>
            <a:endParaRPr kumimoji="1" lang="ja-JP" altLang="en-US" sz="1000" dirty="0">
              <a:sym typeface="+mn-lt"/>
            </a:endParaRPr>
          </a:p>
        </p:txBody>
      </p:sp>
      <p:sp>
        <p:nvSpPr>
          <p:cNvPr id="713" name="テキスト プレースホルダ 9">
            <a:extLst>
              <a:ext uri="{FF2B5EF4-FFF2-40B4-BE49-F238E27FC236}">
                <a16:creationId xmlns:a16="http://schemas.microsoft.com/office/drawing/2014/main" id="{409BC007-9D90-2EEF-F128-4CC0B1D3DB15}"/>
              </a:ext>
            </a:extLst>
          </p:cNvPr>
          <p:cNvSpPr>
            <a:spLocks/>
          </p:cNvSpPr>
          <p:nvPr>
            <p:custDataLst>
              <p:tags r:id="rId231"/>
            </p:custDataLst>
          </p:nvPr>
        </p:nvSpPr>
        <p:spPr bwMode="gray">
          <a:xfrm>
            <a:off x="7181850" y="4810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7D5FC-D505-4AB5-BE2C-804AD54A1BFC}"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517" name="Text Placeholder 12">
            <a:extLst>
              <a:ext uri="{FF2B5EF4-FFF2-40B4-BE49-F238E27FC236}">
                <a16:creationId xmlns:a16="http://schemas.microsoft.com/office/drawing/2014/main" id="{3D671198-1C6A-AAB1-326B-7C91A0875C3F}"/>
              </a:ext>
            </a:extLst>
          </p:cNvPr>
          <p:cNvSpPr>
            <a:spLocks/>
          </p:cNvSpPr>
          <p:nvPr>
            <p:custDataLst>
              <p:tags r:id="rId232"/>
            </p:custDataLst>
          </p:nvPr>
        </p:nvSpPr>
        <p:spPr bwMode="gray">
          <a:xfrm>
            <a:off x="7181850" y="5427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0FE532-F84F-4699-9A05-FE189B3C3A98}" type="datetime'7''''5''''''.''''''''''''''''''''''3'''''''''''''''''">
              <a:rPr lang="ja-JP" altLang="en-US" sz="1000" b="0" smtClean="0">
                <a:effectLst/>
              </a:rPr>
              <a:pPr/>
              <a:t>75.3</a:t>
            </a:fld>
            <a:endParaRPr lang="ja-JP" altLang="en-US" sz="1000" b="0" dirty="0">
              <a:sym typeface="+mn-lt"/>
            </a:endParaRPr>
          </a:p>
        </p:txBody>
      </p:sp>
      <p:sp>
        <p:nvSpPr>
          <p:cNvPr id="516" name="Text Placeholder 12">
            <a:extLst>
              <a:ext uri="{FF2B5EF4-FFF2-40B4-BE49-F238E27FC236}">
                <a16:creationId xmlns:a16="http://schemas.microsoft.com/office/drawing/2014/main" id="{B94EC800-546D-AEC7-795F-A75AE9260955}"/>
              </a:ext>
            </a:extLst>
          </p:cNvPr>
          <p:cNvSpPr>
            <a:spLocks/>
          </p:cNvSpPr>
          <p:nvPr>
            <p:custDataLst>
              <p:tags r:id="rId233"/>
            </p:custDataLst>
          </p:nvPr>
        </p:nvSpPr>
        <p:spPr bwMode="gray">
          <a:xfrm>
            <a:off x="7181850" y="6040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1FC1C8-0AA6-4440-8CC0-32F4F4477216}" type="datetime'''12''''''''''.''''''''0'''''''''''''''''''''''''''''''''">
              <a:rPr lang="ja-JP" altLang="en-US" sz="1000" b="0" smtClean="0">
                <a:solidFill>
                  <a:schemeClr val="bg1"/>
                </a:solidFill>
                <a:effectLst/>
              </a:rPr>
              <a:pPr/>
              <a:t>12.0</a:t>
            </a:fld>
            <a:endParaRPr lang="ja-JP" altLang="en-US" sz="1000" b="0" dirty="0">
              <a:solidFill>
                <a:schemeClr val="bg1"/>
              </a:solidFill>
              <a:sym typeface="+mn-lt"/>
            </a:endParaRPr>
          </a:p>
        </p:txBody>
      </p:sp>
      <p:sp>
        <p:nvSpPr>
          <p:cNvPr id="547" name="テキスト プレースホルダ 9">
            <a:extLst>
              <a:ext uri="{FF2B5EF4-FFF2-40B4-BE49-F238E27FC236}">
                <a16:creationId xmlns:a16="http://schemas.microsoft.com/office/drawing/2014/main" id="{988F2BFA-412B-F20E-31AB-AE233667EB63}"/>
              </a:ext>
            </a:extLst>
          </p:cNvPr>
          <p:cNvSpPr>
            <a:spLocks/>
          </p:cNvSpPr>
          <p:nvPr>
            <p:custDataLst>
              <p:tags r:id="rId234"/>
            </p:custDataLst>
          </p:nvPr>
        </p:nvSpPr>
        <p:spPr bwMode="auto">
          <a:xfrm>
            <a:off x="7245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FA814A-72A7-4044-96F3-C64CB68EC3CD}" type="datetime'''''''''''''''''''''2''''2'''''''''''''''''''''''''''''">
              <a:rPr lang="ja-JP" altLang="en-US" sz="1000" smtClean="0"/>
              <a:pPr/>
              <a:t>22</a:t>
            </a:fld>
            <a:endParaRPr kumimoji="1" lang="ja-JP" altLang="en-US" sz="1000" dirty="0">
              <a:sym typeface="+mn-lt"/>
            </a:endParaRPr>
          </a:p>
        </p:txBody>
      </p:sp>
      <p:sp>
        <p:nvSpPr>
          <p:cNvPr id="714" name="テキスト プレースホルダ 9">
            <a:extLst>
              <a:ext uri="{FF2B5EF4-FFF2-40B4-BE49-F238E27FC236}">
                <a16:creationId xmlns:a16="http://schemas.microsoft.com/office/drawing/2014/main" id="{15F6AD86-5683-AF9A-0E51-60DB2377B70C}"/>
              </a:ext>
            </a:extLst>
          </p:cNvPr>
          <p:cNvSpPr>
            <a:spLocks/>
          </p:cNvSpPr>
          <p:nvPr>
            <p:custDataLst>
              <p:tags r:id="rId235"/>
            </p:custDataLst>
          </p:nvPr>
        </p:nvSpPr>
        <p:spPr bwMode="gray">
          <a:xfrm>
            <a:off x="7478713" y="4813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64419-6C7D-49C1-B9E7-A50CF8A23E36}"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267001EF-A549-136F-8F6B-10B504471454}"/>
              </a:ext>
            </a:extLst>
          </p:cNvPr>
          <p:cNvSpPr>
            <a:spLocks/>
          </p:cNvSpPr>
          <p:nvPr>
            <p:custDataLst>
              <p:tags r:id="rId236"/>
            </p:custDataLst>
          </p:nvPr>
        </p:nvSpPr>
        <p:spPr bwMode="gray">
          <a:xfrm>
            <a:off x="7478713" y="543242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E650EB-843F-4F9B-937A-553008E51748}" type="datetime'''''''''''''''7''''''''''''5''''.''1'''''''''''''''''">
              <a:rPr lang="ja-JP" altLang="en-US" sz="1000" smtClean="0">
                <a:effectLst/>
              </a:rPr>
              <a:pPr/>
              <a:t>75.1</a:t>
            </a:fld>
            <a:endParaRPr lang="ja-JP" altLang="en-US" sz="1000" dirty="0">
              <a:sym typeface="+mn-lt"/>
            </a:endParaRPr>
          </a:p>
        </p:txBody>
      </p:sp>
      <p:sp>
        <p:nvSpPr>
          <p:cNvPr id="518" name="テキスト プレースホルダ 9">
            <a:extLst>
              <a:ext uri="{FF2B5EF4-FFF2-40B4-BE49-F238E27FC236}">
                <a16:creationId xmlns:a16="http://schemas.microsoft.com/office/drawing/2014/main" id="{676532BB-8C6E-54DC-ED94-95C0CFDD4259}"/>
              </a:ext>
            </a:extLst>
          </p:cNvPr>
          <p:cNvSpPr>
            <a:spLocks/>
          </p:cNvSpPr>
          <p:nvPr>
            <p:custDataLst>
              <p:tags r:id="rId237"/>
            </p:custDataLst>
          </p:nvPr>
        </p:nvSpPr>
        <p:spPr bwMode="gray">
          <a:xfrm>
            <a:off x="7478713"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37B08AC-BA75-4D2B-80C0-AFCD08D76BB2}" type="datetime'''''''''''''''1''''''''''1''''''''''''''''.8'''''''''''">
              <a:rPr lang="ja-JP" altLang="en-US" sz="1000" smtClean="0">
                <a:solidFill>
                  <a:schemeClr val="bg1"/>
                </a:solidFill>
                <a:effectLst/>
              </a:rPr>
              <a:pPr/>
              <a:t>11.8</a:t>
            </a:fld>
            <a:endParaRPr lang="ja-JP" altLang="en-US" sz="1000" dirty="0">
              <a:solidFill>
                <a:schemeClr val="bg1"/>
              </a:solidFill>
              <a:sym typeface="+mn-lt"/>
            </a:endParaRPr>
          </a:p>
        </p:txBody>
      </p:sp>
      <p:sp>
        <p:nvSpPr>
          <p:cNvPr id="548" name="テキスト プレースホルダ 9">
            <a:extLst>
              <a:ext uri="{FF2B5EF4-FFF2-40B4-BE49-F238E27FC236}">
                <a16:creationId xmlns:a16="http://schemas.microsoft.com/office/drawing/2014/main" id="{635B36C0-B7F3-1DCC-7BC0-3C531E1CEF62}"/>
              </a:ext>
            </a:extLst>
          </p:cNvPr>
          <p:cNvSpPr>
            <a:spLocks/>
          </p:cNvSpPr>
          <p:nvPr>
            <p:custDataLst>
              <p:tags r:id="rId238"/>
            </p:custDataLst>
          </p:nvPr>
        </p:nvSpPr>
        <p:spPr bwMode="auto">
          <a:xfrm>
            <a:off x="75422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4E722-5B3A-405A-851C-4E913949637E}" type="datetime'''''2''''''''''''''3'''''''''''''''''''''''''''''">
              <a:rPr lang="ja-JP" altLang="en-US" sz="1000" smtClean="0"/>
              <a:pPr/>
              <a:t>23</a:t>
            </a:fld>
            <a:endParaRPr kumimoji="1" lang="ja-JP" altLang="en-US" sz="1000" dirty="0">
              <a:sym typeface="+mn-lt"/>
            </a:endParaRPr>
          </a:p>
        </p:txBody>
      </p:sp>
      <p:sp>
        <p:nvSpPr>
          <p:cNvPr id="707" name="テキスト プレースホルダ 9">
            <a:extLst>
              <a:ext uri="{FF2B5EF4-FFF2-40B4-BE49-F238E27FC236}">
                <a16:creationId xmlns:a16="http://schemas.microsoft.com/office/drawing/2014/main" id="{338F6E1F-ECE2-4543-A324-7482940BF4E5}"/>
              </a:ext>
            </a:extLst>
          </p:cNvPr>
          <p:cNvSpPr>
            <a:spLocks/>
          </p:cNvSpPr>
          <p:nvPr>
            <p:custDataLst>
              <p:tags r:id="rId239"/>
            </p:custDataLst>
          </p:nvPr>
        </p:nvSpPr>
        <p:spPr bwMode="gray">
          <a:xfrm>
            <a:off x="7777163" y="54371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CE5D6F-8A8D-47C0-8612-BAAFA344503A}" type="datetime'''''''''''''''''''''''74''.''7'''''''''''''''''''''''''''">
              <a:rPr lang="ja-JP" altLang="en-US" sz="1000" smtClean="0">
                <a:effectLst/>
                <a:sym typeface="+mn-lt"/>
              </a:rPr>
              <a:pPr/>
              <a:t>74.7</a:t>
            </a:fld>
            <a:endParaRPr lang="ja-JP" altLang="en-US" sz="1000" dirty="0">
              <a:sym typeface="+mn-lt"/>
            </a:endParaRPr>
          </a:p>
        </p:txBody>
      </p:sp>
      <p:sp>
        <p:nvSpPr>
          <p:cNvPr id="706" name="テキスト プレースホルダ 9">
            <a:extLst>
              <a:ext uri="{FF2B5EF4-FFF2-40B4-BE49-F238E27FC236}">
                <a16:creationId xmlns:a16="http://schemas.microsoft.com/office/drawing/2014/main" id="{D2037D2B-8966-71FE-9F6D-C2BB173CFF46}"/>
              </a:ext>
            </a:extLst>
          </p:cNvPr>
          <p:cNvSpPr>
            <a:spLocks/>
          </p:cNvSpPr>
          <p:nvPr>
            <p:custDataLst>
              <p:tags r:id="rId240"/>
            </p:custDataLst>
          </p:nvPr>
        </p:nvSpPr>
        <p:spPr bwMode="gray">
          <a:xfrm>
            <a:off x="7777163"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14B49B-AC93-4E6E-9B25-EDC03FA847AE}" type="datetime'1''''''''''1''''''''''''''.''''''7'''''">
              <a:rPr lang="ja-JP" altLang="en-US" sz="1000" smtClean="0">
                <a:solidFill>
                  <a:schemeClr val="bg1"/>
                </a:solidFill>
                <a:effectLst/>
                <a:sym typeface="+mn-lt"/>
              </a:rPr>
              <a:pPr/>
              <a:t>11.7</a:t>
            </a:fld>
            <a:endParaRPr lang="ja-JP" altLang="en-US" sz="1000" dirty="0">
              <a:solidFill>
                <a:schemeClr val="bg1"/>
              </a:solidFill>
              <a:sym typeface="+mn-lt"/>
            </a:endParaRPr>
          </a:p>
        </p:txBody>
      </p:sp>
      <p:sp>
        <p:nvSpPr>
          <p:cNvPr id="700" name="テキスト プレースホルダ 9">
            <a:extLst>
              <a:ext uri="{FF2B5EF4-FFF2-40B4-BE49-F238E27FC236}">
                <a16:creationId xmlns:a16="http://schemas.microsoft.com/office/drawing/2014/main" id="{95D49AEC-E032-C80C-327B-FD4F80B2832D}"/>
              </a:ext>
            </a:extLst>
          </p:cNvPr>
          <p:cNvSpPr>
            <a:spLocks/>
          </p:cNvSpPr>
          <p:nvPr>
            <p:custDataLst>
              <p:tags r:id="rId241"/>
            </p:custDataLst>
          </p:nvPr>
        </p:nvSpPr>
        <p:spPr bwMode="auto">
          <a:xfrm>
            <a:off x="78406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DB096-B4A2-4A02-A70A-3AB07853FF66}" type="datetime'''''''''''''''''''''''''''''''''''''''''2''''4'''''''''''''''">
              <a:rPr lang="ja-JP" altLang="en-US" sz="1000" smtClean="0"/>
              <a:pPr/>
              <a:t>24</a:t>
            </a:fld>
            <a:endParaRPr kumimoji="1" lang="ja-JP" altLang="en-US" sz="1000" dirty="0">
              <a:sym typeface="+mn-lt"/>
            </a:endParaRPr>
          </a:p>
        </p:txBody>
      </p:sp>
      <p:sp>
        <p:nvSpPr>
          <p:cNvPr id="716" name="テキスト プレースホルダ 9">
            <a:extLst>
              <a:ext uri="{FF2B5EF4-FFF2-40B4-BE49-F238E27FC236}">
                <a16:creationId xmlns:a16="http://schemas.microsoft.com/office/drawing/2014/main" id="{19A62871-C2A6-077C-7CA2-6524481384DC}"/>
              </a:ext>
            </a:extLst>
          </p:cNvPr>
          <p:cNvSpPr>
            <a:spLocks/>
          </p:cNvSpPr>
          <p:nvPr>
            <p:custDataLst>
              <p:tags r:id="rId242"/>
            </p:custDataLst>
          </p:nvPr>
        </p:nvSpPr>
        <p:spPr bwMode="gray">
          <a:xfrm>
            <a:off x="8074025" y="4819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7B9F32-8FCE-4A53-B235-A748AB52B510}"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709" name="テキスト プレースホルダ 9">
            <a:extLst>
              <a:ext uri="{FF2B5EF4-FFF2-40B4-BE49-F238E27FC236}">
                <a16:creationId xmlns:a16="http://schemas.microsoft.com/office/drawing/2014/main" id="{281066E2-30FC-E8A5-2A33-448EB5B67828}"/>
              </a:ext>
            </a:extLst>
          </p:cNvPr>
          <p:cNvSpPr>
            <a:spLocks/>
          </p:cNvSpPr>
          <p:nvPr>
            <p:custDataLst>
              <p:tags r:id="rId243"/>
            </p:custDataLst>
          </p:nvPr>
        </p:nvSpPr>
        <p:spPr bwMode="gray">
          <a:xfrm>
            <a:off x="8074025" y="5440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4E2CD7-0097-4D8A-AA0C-E1514850BCCD}" type="datetime'''''''''''''''''''''''''7''''''''4''''''''''.''''''''''1'''''">
              <a:rPr lang="ja-JP" altLang="en-US" sz="1000" smtClean="0">
                <a:effectLst/>
                <a:sym typeface="+mn-lt"/>
              </a:rPr>
              <a:pPr/>
              <a:t>74.1</a:t>
            </a:fld>
            <a:endParaRPr lang="ja-JP" altLang="en-US" sz="1000" dirty="0">
              <a:sym typeface="+mn-lt"/>
            </a:endParaRPr>
          </a:p>
        </p:txBody>
      </p:sp>
      <p:sp>
        <p:nvSpPr>
          <p:cNvPr id="708" name="テキスト プレースホルダ 9">
            <a:extLst>
              <a:ext uri="{FF2B5EF4-FFF2-40B4-BE49-F238E27FC236}">
                <a16:creationId xmlns:a16="http://schemas.microsoft.com/office/drawing/2014/main" id="{D6BD5F9C-5C79-DD8D-3ACF-CB5867804385}"/>
              </a:ext>
            </a:extLst>
          </p:cNvPr>
          <p:cNvSpPr>
            <a:spLocks/>
          </p:cNvSpPr>
          <p:nvPr>
            <p:custDataLst>
              <p:tags r:id="rId244"/>
            </p:custDataLst>
          </p:nvPr>
        </p:nvSpPr>
        <p:spPr bwMode="gray">
          <a:xfrm>
            <a:off x="8074025"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493D66A-9091-44D4-86BA-BC13B0791DCF}" type="datetime'''''''''''''''''''''''1''''1''''''''.''''''''''''7'''''''''''">
              <a:rPr lang="ja-JP" altLang="en-US" sz="1000" smtClean="0">
                <a:solidFill>
                  <a:schemeClr val="bg1"/>
                </a:solidFill>
                <a:effectLst/>
                <a:sym typeface="+mn-lt"/>
              </a:rPr>
              <a:pPr/>
              <a:t>11.7</a:t>
            </a:fld>
            <a:endParaRPr lang="ja-JP" altLang="en-US" sz="1000" dirty="0">
              <a:solidFill>
                <a:schemeClr val="bg1"/>
              </a:solidFill>
              <a:sym typeface="+mn-lt"/>
            </a:endParaRPr>
          </a:p>
        </p:txBody>
      </p:sp>
      <p:sp>
        <p:nvSpPr>
          <p:cNvPr id="703" name="テキスト プレースホルダ 9">
            <a:extLst>
              <a:ext uri="{FF2B5EF4-FFF2-40B4-BE49-F238E27FC236}">
                <a16:creationId xmlns:a16="http://schemas.microsoft.com/office/drawing/2014/main" id="{30DEB334-771B-B01B-3B65-D4B9129C1AFF}"/>
              </a:ext>
            </a:extLst>
          </p:cNvPr>
          <p:cNvSpPr>
            <a:spLocks/>
          </p:cNvSpPr>
          <p:nvPr>
            <p:custDataLst>
              <p:tags r:id="rId245"/>
            </p:custDataLst>
          </p:nvPr>
        </p:nvSpPr>
        <p:spPr bwMode="auto">
          <a:xfrm>
            <a:off x="81375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B135D1-1D61-40A5-ABC7-5FD242861CE8}" type="datetime'2''''''''''5'''''''''''''''''''''''''''''''''''">
              <a:rPr lang="ja-JP" altLang="en-US" sz="1000" smtClean="0"/>
              <a:pPr/>
              <a:t>25</a:t>
            </a:fld>
            <a:endParaRPr kumimoji="1" lang="ja-JP" altLang="en-US" sz="1000" dirty="0">
              <a:sym typeface="+mn-lt"/>
            </a:endParaRPr>
          </a:p>
        </p:txBody>
      </p:sp>
      <p:sp>
        <p:nvSpPr>
          <p:cNvPr id="717" name="テキスト プレースホルダ 9">
            <a:extLst>
              <a:ext uri="{FF2B5EF4-FFF2-40B4-BE49-F238E27FC236}">
                <a16:creationId xmlns:a16="http://schemas.microsoft.com/office/drawing/2014/main" id="{542C8134-86A7-5363-DB0C-4DF82CA19CD2}"/>
              </a:ext>
            </a:extLst>
          </p:cNvPr>
          <p:cNvSpPr>
            <a:spLocks/>
          </p:cNvSpPr>
          <p:nvPr>
            <p:custDataLst>
              <p:tags r:id="rId246"/>
            </p:custDataLst>
          </p:nvPr>
        </p:nvSpPr>
        <p:spPr bwMode="gray">
          <a:xfrm>
            <a:off x="8370888" y="48387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A4381-B2EA-4F7C-AA08-01186E478333}" type="datetime'''1''''''6''.''''''''''''''''''''''''''''''''''9'''''''''''''">
              <a:rPr lang="ja-JP" altLang="en-US" sz="1000" smtClean="0">
                <a:effectLst/>
                <a:sym typeface="+mn-lt"/>
              </a:rPr>
              <a:pPr marL="0" lvl="0" indent="0" algn="ctr">
                <a:spcBef>
                  <a:spcPct val="0"/>
                </a:spcBef>
                <a:buNone/>
              </a:pPr>
              <a:t>16.9</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B5DD8390-9395-BBE8-264E-CAC8BB83CD50}"/>
              </a:ext>
            </a:extLst>
          </p:cNvPr>
          <p:cNvSpPr>
            <a:spLocks/>
          </p:cNvSpPr>
          <p:nvPr>
            <p:custDataLst>
              <p:tags r:id="rId247"/>
            </p:custDataLst>
          </p:nvPr>
        </p:nvSpPr>
        <p:spPr bwMode="gray">
          <a:xfrm>
            <a:off x="8370888" y="54562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A5600E9-536A-414A-835D-D38BD96245B2}" type="datetime'''''''''''7''''''''1''''''''''''''''.''''''''''''1'''">
              <a:rPr lang="ja-JP" altLang="en-US" sz="1000" smtClean="0">
                <a:effectLst/>
              </a:rPr>
              <a:pPr/>
              <a:t>71.1</a:t>
            </a:fld>
            <a:endParaRPr lang="ja-JP" altLang="en-US" sz="1000" dirty="0">
              <a:sym typeface="+mn-lt"/>
            </a:endParaRPr>
          </a:p>
        </p:txBody>
      </p:sp>
      <p:sp>
        <p:nvSpPr>
          <p:cNvPr id="476" name="テキスト プレースホルダ 9">
            <a:extLst>
              <a:ext uri="{FF2B5EF4-FFF2-40B4-BE49-F238E27FC236}">
                <a16:creationId xmlns:a16="http://schemas.microsoft.com/office/drawing/2014/main" id="{6F82323D-5C94-DD90-D809-B463047DAC57}"/>
              </a:ext>
            </a:extLst>
          </p:cNvPr>
          <p:cNvSpPr>
            <a:spLocks/>
          </p:cNvSpPr>
          <p:nvPr>
            <p:custDataLst>
              <p:tags r:id="rId248"/>
            </p:custDataLst>
          </p:nvPr>
        </p:nvSpPr>
        <p:spPr bwMode="gray">
          <a:xfrm>
            <a:off x="8370888" y="60404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1FBF35-5615-4A35-BDDA-A20881FBE73A}" type="datetime'''''''12.''''0'''''''''''''''''''''''">
              <a:rPr lang="ja-JP" altLang="en-US" sz="1000" smtClean="0">
                <a:solidFill>
                  <a:schemeClr val="bg1"/>
                </a:solidFill>
                <a:effectLst/>
              </a:rPr>
              <a:pPr/>
              <a:t>12.0</a:t>
            </a:fld>
            <a:endParaRPr lang="ja-JP" altLang="en-US" sz="1000" dirty="0">
              <a:solidFill>
                <a:schemeClr val="bg1"/>
              </a:solidFill>
              <a:sym typeface="+mn-lt"/>
            </a:endParaRPr>
          </a:p>
        </p:txBody>
      </p:sp>
      <p:sp>
        <p:nvSpPr>
          <p:cNvPr id="549" name="テキスト プレースホルダ 9">
            <a:extLst>
              <a:ext uri="{FF2B5EF4-FFF2-40B4-BE49-F238E27FC236}">
                <a16:creationId xmlns:a16="http://schemas.microsoft.com/office/drawing/2014/main" id="{8C20681D-E9B3-5A4B-8E61-7DA2903B0A25}"/>
              </a:ext>
            </a:extLst>
          </p:cNvPr>
          <p:cNvSpPr>
            <a:spLocks/>
          </p:cNvSpPr>
          <p:nvPr>
            <p:custDataLst>
              <p:tags r:id="rId249"/>
            </p:custDataLst>
          </p:nvPr>
        </p:nvSpPr>
        <p:spPr bwMode="auto">
          <a:xfrm>
            <a:off x="8434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453856-F588-41F1-AF69-816001B69CEA}" type="datetime'''''''''''''''3''''''''''''''''''''''''''''0'''''''">
              <a:rPr lang="ja-JP" altLang="en-US" sz="1000" smtClean="0"/>
              <a:pPr/>
              <a:t>30</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925929FB-F4BF-1D80-C9A6-A96058C9CF6E}"/>
              </a:ext>
            </a:extLst>
          </p:cNvPr>
          <p:cNvSpPr>
            <a:spLocks/>
          </p:cNvSpPr>
          <p:nvPr>
            <p:custDataLst>
              <p:tags r:id="rId250"/>
            </p:custDataLst>
          </p:nvPr>
        </p:nvSpPr>
        <p:spPr bwMode="gray">
          <a:xfrm>
            <a:off x="8669338" y="48704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3FE523-3F8B-40B6-9F51-19D9E8407184}" type="datetime'''''''''2''1''''''''.''''''''4'''''''''''''''">
              <a:rPr lang="ja-JP" altLang="en-US" sz="1000" smtClean="0">
                <a:effectLst/>
              </a:rPr>
              <a:pPr/>
              <a:t>21.4</a:t>
            </a:fld>
            <a:endParaRPr lang="ja-JP" altLang="en-US" sz="1000" dirty="0">
              <a:sym typeface="+mn-lt"/>
            </a:endParaRPr>
          </a:p>
        </p:txBody>
      </p:sp>
      <p:sp>
        <p:nvSpPr>
          <p:cNvPr id="474" name="テキスト プレースホルダ 9">
            <a:extLst>
              <a:ext uri="{FF2B5EF4-FFF2-40B4-BE49-F238E27FC236}">
                <a16:creationId xmlns:a16="http://schemas.microsoft.com/office/drawing/2014/main" id="{5CDE0512-B6B2-1D6A-798E-134BB5A448B4}"/>
              </a:ext>
            </a:extLst>
          </p:cNvPr>
          <p:cNvSpPr>
            <a:spLocks/>
          </p:cNvSpPr>
          <p:nvPr>
            <p:custDataLst>
              <p:tags r:id="rId251"/>
            </p:custDataLst>
          </p:nvPr>
        </p:nvSpPr>
        <p:spPr bwMode="gray">
          <a:xfrm>
            <a:off x="8669338" y="54911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9DFF5C-628C-4994-867A-29DB8937A7A6}" type="datetime'6''''''''6''''''''''''''''.''''''''''''''''''9'''">
              <a:rPr lang="ja-JP" altLang="en-US" sz="1000" smtClean="0">
                <a:effectLst/>
              </a:rPr>
              <a:pPr/>
              <a:t>66.9</a:t>
            </a:fld>
            <a:endParaRPr lang="ja-JP" altLang="en-US" sz="1000" dirty="0">
              <a:sym typeface="+mn-lt"/>
            </a:endParaRPr>
          </a:p>
        </p:txBody>
      </p:sp>
      <p:sp>
        <p:nvSpPr>
          <p:cNvPr id="529" name="Text Placeholder 12">
            <a:extLst>
              <a:ext uri="{FF2B5EF4-FFF2-40B4-BE49-F238E27FC236}">
                <a16:creationId xmlns:a16="http://schemas.microsoft.com/office/drawing/2014/main" id="{7F2F4362-3120-73C5-1284-8D9827C9D52F}"/>
              </a:ext>
            </a:extLst>
          </p:cNvPr>
          <p:cNvSpPr>
            <a:spLocks/>
          </p:cNvSpPr>
          <p:nvPr>
            <p:custDataLst>
              <p:tags r:id="rId252"/>
            </p:custDataLst>
          </p:nvPr>
        </p:nvSpPr>
        <p:spPr bwMode="auto">
          <a:xfrm>
            <a:off x="188914" y="44973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550" name="テキスト プレースホルダ 9">
            <a:extLst>
              <a:ext uri="{FF2B5EF4-FFF2-40B4-BE49-F238E27FC236}">
                <a16:creationId xmlns:a16="http://schemas.microsoft.com/office/drawing/2014/main" id="{447B7FE5-7288-91BD-64DC-A3E49FB52F6F}"/>
              </a:ext>
            </a:extLst>
          </p:cNvPr>
          <p:cNvSpPr>
            <a:spLocks/>
          </p:cNvSpPr>
          <p:nvPr>
            <p:custDataLst>
              <p:tags r:id="rId253"/>
            </p:custDataLst>
          </p:nvPr>
        </p:nvSpPr>
        <p:spPr bwMode="auto">
          <a:xfrm>
            <a:off x="8732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1DE6E2-820B-4F43-BE24-E62B8245465F}" type="datetime'''''''''''''''''''''''''4''''''''''0'''''''''''''''''''">
              <a:rPr lang="ja-JP" altLang="en-US" sz="1000" smtClean="0"/>
              <a:pPr/>
              <a:t>40</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D94F518E-F041-50F5-85CF-3893F25500DD}"/>
              </a:ext>
            </a:extLst>
          </p:cNvPr>
          <p:cNvSpPr>
            <a:spLocks/>
          </p:cNvSpPr>
          <p:nvPr>
            <p:custDataLst>
              <p:tags r:id="rId254"/>
            </p:custDataLst>
          </p:nvPr>
        </p:nvSpPr>
        <p:spPr bwMode="gray">
          <a:xfrm>
            <a:off x="8966200" y="49085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CDE5DC0-7568-44F4-9D13-E9EA7D15E28B}" type="datetime'''''2''''6''''.''''''8'''''''''''''">
              <a:rPr lang="ja-JP" altLang="en-US" sz="1000" smtClean="0">
                <a:effectLst/>
              </a:rPr>
              <a:pPr/>
              <a:t>26.8</a:t>
            </a:fld>
            <a:endParaRPr lang="ja-JP" altLang="en-US" sz="1000" dirty="0">
              <a:sym typeface="+mn-lt"/>
            </a:endParaRPr>
          </a:p>
        </p:txBody>
      </p:sp>
      <p:sp>
        <p:nvSpPr>
          <p:cNvPr id="472" name="テキスト プレースホルダ 9">
            <a:extLst>
              <a:ext uri="{FF2B5EF4-FFF2-40B4-BE49-F238E27FC236}">
                <a16:creationId xmlns:a16="http://schemas.microsoft.com/office/drawing/2014/main" id="{E613DA28-8392-5F43-F05B-21F549D41A2E}"/>
              </a:ext>
            </a:extLst>
          </p:cNvPr>
          <p:cNvSpPr>
            <a:spLocks/>
          </p:cNvSpPr>
          <p:nvPr>
            <p:custDataLst>
              <p:tags r:id="rId255"/>
            </p:custDataLst>
          </p:nvPr>
        </p:nvSpPr>
        <p:spPr bwMode="gray">
          <a:xfrm>
            <a:off x="8966200" y="55451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ACD276E-5F67-4BCD-8AB3-DFA73F3A98C1}" type="datetime'''6''''''''''4''.''''''''''''''1'''''''''''''''''''''">
              <a:rPr lang="ja-JP" altLang="en-US" sz="1000" smtClean="0">
                <a:effectLst/>
              </a:rPr>
              <a:pPr/>
              <a:t>64.1</a:t>
            </a:fld>
            <a:endParaRPr lang="ja-JP" altLang="en-US" sz="1000" dirty="0">
              <a:sym typeface="+mn-lt"/>
            </a:endParaRPr>
          </a:p>
        </p:txBody>
      </p:sp>
      <p:sp>
        <p:nvSpPr>
          <p:cNvPr id="551" name="テキスト プレースホルダ 9">
            <a:extLst>
              <a:ext uri="{FF2B5EF4-FFF2-40B4-BE49-F238E27FC236}">
                <a16:creationId xmlns:a16="http://schemas.microsoft.com/office/drawing/2014/main" id="{97970FBC-ECC0-2E84-5C10-F3CB37B608D6}"/>
              </a:ext>
            </a:extLst>
          </p:cNvPr>
          <p:cNvSpPr>
            <a:spLocks/>
          </p:cNvSpPr>
          <p:nvPr>
            <p:custDataLst>
              <p:tags r:id="rId256"/>
            </p:custDataLst>
          </p:nvPr>
        </p:nvSpPr>
        <p:spPr bwMode="auto">
          <a:xfrm>
            <a:off x="90297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41D3E1-DAE1-4453-8ACB-ADED71842FEB}" type="datetime'''''''5''''''''''''''''''0'''''''''''''''''''''''''''''''''''">
              <a:rPr lang="ja-JP" altLang="en-US" sz="1000" smtClean="0"/>
              <a:pPr/>
              <a:t>50</a:t>
            </a:fld>
            <a:endParaRPr kumimoji="1" lang="ja-JP" altLang="en-US" sz="1000" dirty="0">
              <a:sym typeface="+mn-lt"/>
            </a:endParaRPr>
          </a:p>
        </p:txBody>
      </p:sp>
      <p:sp>
        <p:nvSpPr>
          <p:cNvPr id="470" name="Text Placeholder 12">
            <a:extLst>
              <a:ext uri="{FF2B5EF4-FFF2-40B4-BE49-F238E27FC236}">
                <a16:creationId xmlns:a16="http://schemas.microsoft.com/office/drawing/2014/main" id="{256A78B4-E2CB-1FAB-5971-CAF0389E3345}"/>
              </a:ext>
            </a:extLst>
          </p:cNvPr>
          <p:cNvSpPr>
            <a:spLocks/>
          </p:cNvSpPr>
          <p:nvPr>
            <p:custDataLst>
              <p:tags r:id="rId257"/>
            </p:custDataLst>
          </p:nvPr>
        </p:nvSpPr>
        <p:spPr bwMode="auto">
          <a:xfrm>
            <a:off x="9301163" y="49085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AA39B10-C126-401F-B674-301FD3D39E22}" type="datetime'''''''''''6''''''''5''歳以''''''''''''''''''上'">
              <a:rPr lang="ja-JP" altLang="en-US" sz="1000" b="0" smtClean="0"/>
              <a:pPr/>
              <a:t>65歳以上</a:t>
            </a:fld>
            <a:endParaRPr kumimoji="0" lang="ja-JP" altLang="en-US" sz="1000" b="0" dirty="0">
              <a:sym typeface="+mn-lt"/>
            </a:endParaRPr>
          </a:p>
        </p:txBody>
      </p:sp>
      <p:sp>
        <p:nvSpPr>
          <p:cNvPr id="469" name="Text Placeholder 12">
            <a:extLst>
              <a:ext uri="{FF2B5EF4-FFF2-40B4-BE49-F238E27FC236}">
                <a16:creationId xmlns:a16="http://schemas.microsoft.com/office/drawing/2014/main" id="{85A2F069-56DF-80C5-8FFB-D4D222A10C2F}"/>
              </a:ext>
            </a:extLst>
          </p:cNvPr>
          <p:cNvSpPr>
            <a:spLocks/>
          </p:cNvSpPr>
          <p:nvPr>
            <p:custDataLst>
              <p:tags r:id="rId258"/>
            </p:custDataLst>
          </p:nvPr>
        </p:nvSpPr>
        <p:spPr bwMode="auto">
          <a:xfrm>
            <a:off x="9301163" y="55451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2EA0E19-8046-40B8-A9BB-78FBFA2BF75C}" type="datetime'''''''1''''''''5''''''''''''～''''''''''6''''''''''''4歳'''''">
              <a:rPr lang="ja-JP" altLang="en-US" sz="1000" b="0" smtClean="0"/>
              <a:pPr/>
              <a:t>15～64歳</a:t>
            </a:fld>
            <a:endParaRPr kumimoji="0" lang="ja-JP" altLang="en-US" sz="1000" b="0" dirty="0">
              <a:sym typeface="+mn-lt"/>
            </a:endParaRPr>
          </a:p>
        </p:txBody>
      </p:sp>
      <p:sp>
        <p:nvSpPr>
          <p:cNvPr id="468" name="Text Placeholder 12">
            <a:extLst>
              <a:ext uri="{FF2B5EF4-FFF2-40B4-BE49-F238E27FC236}">
                <a16:creationId xmlns:a16="http://schemas.microsoft.com/office/drawing/2014/main" id="{CAFBB66D-E39E-5CCC-C7B6-1BD7634A4B5E}"/>
              </a:ext>
            </a:extLst>
          </p:cNvPr>
          <p:cNvSpPr>
            <a:spLocks/>
          </p:cNvSpPr>
          <p:nvPr>
            <p:custDataLst>
              <p:tags r:id="rId259"/>
            </p:custDataLst>
          </p:nvPr>
        </p:nvSpPr>
        <p:spPr bwMode="auto">
          <a:xfrm>
            <a:off x="9301163"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673457-6C01-4429-8967-3DB73BF7D820}" type="datetime'''''''''''''1''''''''''5''''''''歳''''''未''満'''''''''''''''''''">
              <a:rPr lang="ja-JP" altLang="en-US" sz="1000" b="0" smtClean="0"/>
              <a:pPr/>
              <a:t>15歳未満</a:t>
            </a:fld>
            <a:endParaRPr kumimoji="0" lang="ja-JP" altLang="en-US" sz="1000" b="0" dirty="0">
              <a:sym typeface="+mn-lt"/>
            </a:endParaRPr>
          </a:p>
        </p:txBody>
      </p:sp>
      <p:sp>
        <p:nvSpPr>
          <p:cNvPr id="715" name="テキスト プレースホルダ 9">
            <a:extLst>
              <a:ext uri="{FF2B5EF4-FFF2-40B4-BE49-F238E27FC236}">
                <a16:creationId xmlns:a16="http://schemas.microsoft.com/office/drawing/2014/main" id="{3E6F0D62-D3B4-4C77-5C34-7E12F918EEDD}"/>
              </a:ext>
            </a:extLst>
          </p:cNvPr>
          <p:cNvSpPr>
            <a:spLocks/>
          </p:cNvSpPr>
          <p:nvPr>
            <p:custDataLst>
              <p:tags r:id="rId260"/>
            </p:custDataLst>
          </p:nvPr>
        </p:nvSpPr>
        <p:spPr bwMode="gray">
          <a:xfrm>
            <a:off x="7777163"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2DA8E8-C748-45DD-8152-8B34432CE8AB}"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510" name="Text Placeholder 12">
            <a:extLst>
              <a:ext uri="{FF2B5EF4-FFF2-40B4-BE49-F238E27FC236}">
                <a16:creationId xmlns:a16="http://schemas.microsoft.com/office/drawing/2014/main" id="{D1A5D931-4940-10EE-1E9F-FE84DC93D4C7}"/>
              </a:ext>
            </a:extLst>
          </p:cNvPr>
          <p:cNvSpPr>
            <a:spLocks/>
          </p:cNvSpPr>
          <p:nvPr>
            <p:custDataLst>
              <p:tags r:id="rId261"/>
            </p:custDataLst>
          </p:nvPr>
        </p:nvSpPr>
        <p:spPr bwMode="gray">
          <a:xfrm>
            <a:off x="3019425"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E2E8BA-A116-4DD3-BB13-FF369A3A7EC9}" type="datetime'7''''7''''''''''''''''''''''.''''''''''''7'''''''''''''''''''">
              <a:rPr lang="ja-JP" altLang="en-US" sz="1000" b="0" smtClean="0">
                <a:effectLst/>
              </a:rPr>
              <a:pPr/>
              <a:t>77.7</a:t>
            </a:fld>
            <a:endParaRPr kumimoji="0" lang="ja-JP" altLang="en-US" sz="1000" b="0" dirty="0">
              <a:sym typeface="+mn-lt"/>
            </a:endParaRPr>
          </a:p>
        </p:txBody>
      </p:sp>
      <p:sp>
        <p:nvSpPr>
          <p:cNvPr id="736" name="テキスト プレースホルダ 9">
            <a:extLst>
              <a:ext uri="{FF2B5EF4-FFF2-40B4-BE49-F238E27FC236}">
                <a16:creationId xmlns:a16="http://schemas.microsoft.com/office/drawing/2014/main" id="{D78AC3E7-41EA-8C0D-68AF-8528DFC6BA07}"/>
              </a:ext>
            </a:extLst>
          </p:cNvPr>
          <p:cNvSpPr>
            <a:spLocks/>
          </p:cNvSpPr>
          <p:nvPr>
            <p:custDataLst>
              <p:tags r:id="rId262"/>
            </p:custDataLst>
          </p:nvPr>
        </p:nvSpPr>
        <p:spPr bwMode="gray">
          <a:xfrm>
            <a:off x="674688"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903CC-3013-4133-AD15-2F5C62BF6E71}" type="datetime'''''''6''''''''''''.''''''2'''''''''''''">
              <a:rPr kumimoji="0" lang="ja-JP" altLang="en-US" sz="1000" smtClean="0">
                <a:effectLst/>
                <a:sym typeface="+mn-lt"/>
              </a:rPr>
              <a:pPr marL="0" lvl="0" indent="0" algn="ctr">
                <a:spcBef>
                  <a:spcPct val="0"/>
                </a:spcBef>
                <a:buNone/>
              </a:pPr>
              <a:t>6.2</a:t>
            </a:fld>
            <a:endParaRPr kumimoji="0" lang="ja-JP" altLang="en-US" sz="1000" dirty="0">
              <a:sym typeface="+mn-lt"/>
            </a:endParaRPr>
          </a:p>
        </p:txBody>
      </p:sp>
      <p:sp>
        <p:nvSpPr>
          <p:cNvPr id="737" name="テキスト プレースホルダ 9">
            <a:extLst>
              <a:ext uri="{FF2B5EF4-FFF2-40B4-BE49-F238E27FC236}">
                <a16:creationId xmlns:a16="http://schemas.microsoft.com/office/drawing/2014/main" id="{59F8E23C-130E-FF70-B176-4ABD318112BA}"/>
              </a:ext>
            </a:extLst>
          </p:cNvPr>
          <p:cNvSpPr>
            <a:spLocks/>
          </p:cNvSpPr>
          <p:nvPr>
            <p:custDataLst>
              <p:tags r:id="rId263"/>
            </p:custDataLst>
          </p:nvPr>
        </p:nvSpPr>
        <p:spPr bwMode="gray">
          <a:xfrm>
            <a:off x="973138"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C9FD5-4A61-4923-AD7B-90948C7BD642}" type="datetime'''''''''''''''6''.''''''''''''''''''''''''4'''''''''">
              <a:rPr kumimoji="0" lang="ja-JP" altLang="en-US" sz="1000" smtClean="0">
                <a:effectLst/>
                <a:sym typeface="+mn-lt"/>
              </a:rPr>
              <a:pPr marL="0" lvl="0" indent="0" algn="ctr">
                <a:spcBef>
                  <a:spcPct val="0"/>
                </a:spcBef>
                <a:buNone/>
              </a:pPr>
              <a:t>6.4</a:t>
            </a:fld>
            <a:endParaRPr kumimoji="0" lang="ja-JP" altLang="en-US" sz="1000" dirty="0">
              <a:sym typeface="+mn-lt"/>
            </a:endParaRPr>
          </a:p>
        </p:txBody>
      </p:sp>
      <p:sp>
        <p:nvSpPr>
          <p:cNvPr id="738" name="テキスト プレースホルダ 9">
            <a:extLst>
              <a:ext uri="{FF2B5EF4-FFF2-40B4-BE49-F238E27FC236}">
                <a16:creationId xmlns:a16="http://schemas.microsoft.com/office/drawing/2014/main" id="{9A4A1DAB-2847-212B-0D8B-0B2949174334}"/>
              </a:ext>
            </a:extLst>
          </p:cNvPr>
          <p:cNvSpPr>
            <a:spLocks/>
          </p:cNvSpPr>
          <p:nvPr>
            <p:custDataLst>
              <p:tags r:id="rId264"/>
            </p:custDataLst>
          </p:nvPr>
        </p:nvSpPr>
        <p:spPr bwMode="gray">
          <a:xfrm>
            <a:off x="1270000"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3F6BD6-FDED-4C95-A78B-EE61FAEC2DFA}" type="datetime'''''''''''''''''''6''.''4'">
              <a:rPr kumimoji="0" lang="ja-JP" altLang="en-US" sz="1000" smtClean="0">
                <a:effectLst/>
                <a:sym typeface="+mn-lt"/>
              </a:rPr>
              <a:pPr marL="0" lvl="0" indent="0" algn="ctr">
                <a:spcBef>
                  <a:spcPct val="0"/>
                </a:spcBef>
                <a:buNone/>
              </a:pPr>
              <a:t>6.4</a:t>
            </a:fld>
            <a:endParaRPr kumimoji="0" lang="ja-JP" altLang="en-US" sz="1000" dirty="0">
              <a:sym typeface="+mn-lt"/>
            </a:endParaRPr>
          </a:p>
        </p:txBody>
      </p:sp>
      <p:sp>
        <p:nvSpPr>
          <p:cNvPr id="739" name="テキスト プレースホルダ 9">
            <a:extLst>
              <a:ext uri="{FF2B5EF4-FFF2-40B4-BE49-F238E27FC236}">
                <a16:creationId xmlns:a16="http://schemas.microsoft.com/office/drawing/2014/main" id="{3DCF37C1-9612-493E-6169-BCBEF2CF4EA5}"/>
              </a:ext>
            </a:extLst>
          </p:cNvPr>
          <p:cNvSpPr>
            <a:spLocks/>
          </p:cNvSpPr>
          <p:nvPr>
            <p:custDataLst>
              <p:tags r:id="rId265"/>
            </p:custDataLst>
          </p:nvPr>
        </p:nvSpPr>
        <p:spPr bwMode="gray">
          <a:xfrm>
            <a:off x="1566863" y="476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58459D-5CDF-44F1-AABD-4B63DB9610A9}" type="datetime'6''''''''''''''''''''.''''''''''''''''''''''''''''''''''6'''''">
              <a:rPr kumimoji="0" lang="ja-JP" altLang="en-US" sz="1000" smtClean="0">
                <a:effectLst/>
                <a:sym typeface="+mn-lt"/>
              </a:rPr>
              <a:pPr marL="0" lvl="0" indent="0" algn="ctr">
                <a:spcBef>
                  <a:spcPct val="0"/>
                </a:spcBef>
                <a:buNone/>
              </a:pPr>
              <a:t>6.6</a:t>
            </a:fld>
            <a:endParaRPr kumimoji="0" lang="ja-JP" altLang="en-US" sz="1000" dirty="0">
              <a:sym typeface="+mn-lt"/>
            </a:endParaRPr>
          </a:p>
        </p:txBody>
      </p:sp>
      <p:sp>
        <p:nvSpPr>
          <p:cNvPr id="740" name="テキスト プレースホルダ 9">
            <a:extLst>
              <a:ext uri="{FF2B5EF4-FFF2-40B4-BE49-F238E27FC236}">
                <a16:creationId xmlns:a16="http://schemas.microsoft.com/office/drawing/2014/main" id="{62C9CE16-6214-6185-2B83-93CCC4FFB70D}"/>
              </a:ext>
            </a:extLst>
          </p:cNvPr>
          <p:cNvSpPr>
            <a:spLocks/>
          </p:cNvSpPr>
          <p:nvPr>
            <p:custDataLst>
              <p:tags r:id="rId266"/>
            </p:custDataLst>
          </p:nvPr>
        </p:nvSpPr>
        <p:spPr bwMode="gray">
          <a:xfrm>
            <a:off x="1865313" y="47688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52EE98-2C3F-4ABD-A868-78200B6C37DB}" type="datetime'''''''''''''''''''''''6''''''''''.''''''''''''''''''8'">
              <a:rPr kumimoji="0" lang="ja-JP" altLang="en-US" sz="1000" smtClean="0">
                <a:effectLst/>
                <a:sym typeface="+mn-lt"/>
              </a:rPr>
              <a:pPr marL="0" lvl="0" indent="0" algn="ctr">
                <a:spcBef>
                  <a:spcPct val="0"/>
                </a:spcBef>
                <a:buNone/>
              </a:pPr>
              <a:t>6.8</a:t>
            </a:fld>
            <a:endParaRPr kumimoji="0" lang="ja-JP" altLang="en-US" sz="1000" dirty="0">
              <a:sym typeface="+mn-lt"/>
            </a:endParaRPr>
          </a:p>
        </p:txBody>
      </p:sp>
      <p:sp>
        <p:nvSpPr>
          <p:cNvPr id="486" name="テキスト プレースホルダ 9">
            <a:extLst>
              <a:ext uri="{FF2B5EF4-FFF2-40B4-BE49-F238E27FC236}">
                <a16:creationId xmlns:a16="http://schemas.microsoft.com/office/drawing/2014/main" id="{E04ECD76-14CB-FA67-F73E-9BFF1FDC2BB5}"/>
              </a:ext>
            </a:extLst>
          </p:cNvPr>
          <p:cNvSpPr>
            <a:spLocks/>
          </p:cNvSpPr>
          <p:nvPr>
            <p:custDataLst>
              <p:tags r:id="rId267"/>
            </p:custDataLst>
          </p:nvPr>
        </p:nvSpPr>
        <p:spPr bwMode="gray">
          <a:xfrm>
            <a:off x="8669338"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0749FB-A742-4F46-9409-3AEA53F7EB2F}" type="datetime'1''''1''''''''''''''''''''''''''.''''7'''">
              <a:rPr lang="ja-JP" altLang="en-US" sz="1000" smtClean="0">
                <a:solidFill>
                  <a:schemeClr val="bg1"/>
                </a:solidFill>
                <a:effectLst/>
              </a:rPr>
              <a:pPr/>
              <a:t>11.7</a:t>
            </a:fld>
            <a:endParaRPr lang="ja-JP" altLang="en-US" sz="1000" dirty="0">
              <a:solidFill>
                <a:schemeClr val="bg1"/>
              </a:solidFill>
              <a:sym typeface="+mn-lt"/>
            </a:endParaRPr>
          </a:p>
        </p:txBody>
      </p:sp>
      <p:sp>
        <p:nvSpPr>
          <p:cNvPr id="742" name="テキスト プレースホルダ 9">
            <a:extLst>
              <a:ext uri="{FF2B5EF4-FFF2-40B4-BE49-F238E27FC236}">
                <a16:creationId xmlns:a16="http://schemas.microsoft.com/office/drawing/2014/main" id="{41266BF7-B018-EDE0-2E5C-5047EDF72EB5}"/>
              </a:ext>
            </a:extLst>
          </p:cNvPr>
          <p:cNvSpPr>
            <a:spLocks/>
          </p:cNvSpPr>
          <p:nvPr>
            <p:custDataLst>
              <p:tags r:id="rId268"/>
            </p:custDataLst>
          </p:nvPr>
        </p:nvSpPr>
        <p:spPr bwMode="gray">
          <a:xfrm>
            <a:off x="2459038"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71809-64E2-4ACE-92CE-AB2B63088F2A}"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3" name="テキスト プレースホルダ 9">
            <a:extLst>
              <a:ext uri="{FF2B5EF4-FFF2-40B4-BE49-F238E27FC236}">
                <a16:creationId xmlns:a16="http://schemas.microsoft.com/office/drawing/2014/main" id="{0355ADBD-6E19-9716-6F5B-3CE5A8B4AF6F}"/>
              </a:ext>
            </a:extLst>
          </p:cNvPr>
          <p:cNvSpPr>
            <a:spLocks/>
          </p:cNvSpPr>
          <p:nvPr>
            <p:custDataLst>
              <p:tags r:id="rId269"/>
            </p:custDataLst>
          </p:nvPr>
        </p:nvSpPr>
        <p:spPr bwMode="gray">
          <a:xfrm>
            <a:off x="2755900"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1F407-3FFE-4E17-BFDB-C7B6ABD3B178}"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4" name="テキスト プレースホルダ 9">
            <a:extLst>
              <a:ext uri="{FF2B5EF4-FFF2-40B4-BE49-F238E27FC236}">
                <a16:creationId xmlns:a16="http://schemas.microsoft.com/office/drawing/2014/main" id="{DB58E2F8-0D36-5CEC-9BF1-644BB4078EB5}"/>
              </a:ext>
            </a:extLst>
          </p:cNvPr>
          <p:cNvSpPr>
            <a:spLocks/>
          </p:cNvSpPr>
          <p:nvPr>
            <p:custDataLst>
              <p:tags r:id="rId270"/>
            </p:custDataLst>
          </p:nvPr>
        </p:nvSpPr>
        <p:spPr bwMode="gray">
          <a:xfrm>
            <a:off x="3054350"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574790-D93F-47A2-8DA7-03113AC12ED9}"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5" name="テキスト プレースホルダ 9">
            <a:extLst>
              <a:ext uri="{FF2B5EF4-FFF2-40B4-BE49-F238E27FC236}">
                <a16:creationId xmlns:a16="http://schemas.microsoft.com/office/drawing/2014/main" id="{72968461-67F7-5002-C267-BE7DCE16A1E7}"/>
              </a:ext>
            </a:extLst>
          </p:cNvPr>
          <p:cNvSpPr>
            <a:spLocks/>
          </p:cNvSpPr>
          <p:nvPr>
            <p:custDataLst>
              <p:tags r:id="rId271"/>
            </p:custDataLst>
          </p:nvPr>
        </p:nvSpPr>
        <p:spPr bwMode="gray">
          <a:xfrm>
            <a:off x="3351213"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B7F83-CA6A-4947-A357-2FBBF3E81A48}"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6" name="テキスト プレースホルダ 9">
            <a:extLst>
              <a:ext uri="{FF2B5EF4-FFF2-40B4-BE49-F238E27FC236}">
                <a16:creationId xmlns:a16="http://schemas.microsoft.com/office/drawing/2014/main" id="{FA941F58-A610-E154-70B2-2EAC04BD267E}"/>
              </a:ext>
            </a:extLst>
          </p:cNvPr>
          <p:cNvSpPr>
            <a:spLocks/>
          </p:cNvSpPr>
          <p:nvPr>
            <p:custDataLst>
              <p:tags r:id="rId272"/>
            </p:custDataLst>
          </p:nvPr>
        </p:nvSpPr>
        <p:spPr bwMode="gray">
          <a:xfrm>
            <a:off x="3648075"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EC93A0-DAD6-4E13-BEA9-A977C9C9C2FA}" type="datetime'''''''''''''''''''7.3'''''''''''''''''''''''''''''''">
              <a:rPr kumimoji="0" lang="ja-JP" altLang="en-US" sz="1000" smtClean="0">
                <a:effectLst/>
                <a:sym typeface="+mn-lt"/>
              </a:rPr>
              <a:pPr marL="0" lvl="0" indent="0" algn="ctr">
                <a:spcBef>
                  <a:spcPct val="0"/>
                </a:spcBef>
                <a:buNone/>
              </a:pPr>
              <a:t>7.3</a:t>
            </a:fld>
            <a:endParaRPr kumimoji="0" lang="ja-JP" altLang="en-US" sz="1000" dirty="0">
              <a:sym typeface="+mn-lt"/>
            </a:endParaRPr>
          </a:p>
        </p:txBody>
      </p:sp>
      <p:sp>
        <p:nvSpPr>
          <p:cNvPr id="747" name="テキスト プレースホルダ 9">
            <a:extLst>
              <a:ext uri="{FF2B5EF4-FFF2-40B4-BE49-F238E27FC236}">
                <a16:creationId xmlns:a16="http://schemas.microsoft.com/office/drawing/2014/main" id="{D5910349-AF7F-A8E6-B95E-E07627A771C0}"/>
              </a:ext>
            </a:extLst>
          </p:cNvPr>
          <p:cNvSpPr>
            <a:spLocks/>
          </p:cNvSpPr>
          <p:nvPr>
            <p:custDataLst>
              <p:tags r:id="rId273"/>
            </p:custDataLst>
          </p:nvPr>
        </p:nvSpPr>
        <p:spPr bwMode="gray">
          <a:xfrm>
            <a:off x="3946525" y="4773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49F29-6246-44BD-829F-3066CA4372C3}" type="datetime'''''''''''''''''''''7''''''''''''''''''''.''5'''">
              <a:rPr kumimoji="0" lang="ja-JP" altLang="en-US" sz="1000" smtClean="0">
                <a:effectLst/>
                <a:sym typeface="+mn-lt"/>
              </a:rPr>
              <a:pPr marL="0" lvl="0" indent="0" algn="ctr">
                <a:spcBef>
                  <a:spcPct val="0"/>
                </a:spcBef>
                <a:buNone/>
              </a:pPr>
              <a:t>7.5</a:t>
            </a:fld>
            <a:endParaRPr kumimoji="0" lang="ja-JP" altLang="en-US" sz="1000" dirty="0">
              <a:sym typeface="+mn-lt"/>
            </a:endParaRPr>
          </a:p>
        </p:txBody>
      </p:sp>
      <p:sp>
        <p:nvSpPr>
          <p:cNvPr id="748" name="テキスト プレースホルダ 9">
            <a:extLst>
              <a:ext uri="{FF2B5EF4-FFF2-40B4-BE49-F238E27FC236}">
                <a16:creationId xmlns:a16="http://schemas.microsoft.com/office/drawing/2014/main" id="{59EBEEF6-A925-1FB5-B1AC-9A8928CC1978}"/>
              </a:ext>
            </a:extLst>
          </p:cNvPr>
          <p:cNvSpPr>
            <a:spLocks/>
          </p:cNvSpPr>
          <p:nvPr>
            <p:custDataLst>
              <p:tags r:id="rId274"/>
            </p:custDataLst>
          </p:nvPr>
        </p:nvSpPr>
        <p:spPr bwMode="gray">
          <a:xfrm>
            <a:off x="4243388" y="4775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A2D8-4159-4772-B2EE-4CA004ED01F6}" type="datetime'''''7''''''''''''''''''''''''''''''''''.''8'''''''''''''''''''">
              <a:rPr kumimoji="0" lang="ja-JP" altLang="en-US" sz="1000" smtClean="0">
                <a:effectLst/>
                <a:sym typeface="+mn-lt"/>
              </a:rPr>
              <a:pPr marL="0" lvl="0" indent="0" algn="ctr">
                <a:spcBef>
                  <a:spcPct val="0"/>
                </a:spcBef>
                <a:buNone/>
              </a:pPr>
              <a:t>7.8</a:t>
            </a:fld>
            <a:endParaRPr kumimoji="0" lang="ja-JP" altLang="en-US" sz="1000" dirty="0">
              <a:sym typeface="+mn-lt"/>
            </a:endParaRPr>
          </a:p>
        </p:txBody>
      </p:sp>
      <p:sp>
        <p:nvSpPr>
          <p:cNvPr id="749" name="テキスト プレースホルダ 9">
            <a:extLst>
              <a:ext uri="{FF2B5EF4-FFF2-40B4-BE49-F238E27FC236}">
                <a16:creationId xmlns:a16="http://schemas.microsoft.com/office/drawing/2014/main" id="{0174EEDB-A332-BEB7-DBDA-D1DB962FDDA5}"/>
              </a:ext>
            </a:extLst>
          </p:cNvPr>
          <p:cNvSpPr>
            <a:spLocks/>
          </p:cNvSpPr>
          <p:nvPr>
            <p:custDataLst>
              <p:tags r:id="rId275"/>
            </p:custDataLst>
          </p:nvPr>
        </p:nvSpPr>
        <p:spPr bwMode="gray">
          <a:xfrm>
            <a:off x="4540250" y="4778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D47843-0FD8-4E1F-991F-A13CBAF22093}" type="datetime'''''''''''''''''''''8''.''2'''''''''''''''">
              <a:rPr kumimoji="0" lang="ja-JP" altLang="en-US" sz="1000" smtClean="0">
                <a:effectLst/>
                <a:sym typeface="+mn-lt"/>
              </a:rPr>
              <a:pPr marL="0" lvl="0" indent="0" algn="ctr">
                <a:spcBef>
                  <a:spcPct val="0"/>
                </a:spcBef>
                <a:buNone/>
              </a:pPr>
              <a:t>8.2</a:t>
            </a:fld>
            <a:endParaRPr kumimoji="0" lang="ja-JP" altLang="en-US" sz="1000" dirty="0">
              <a:sym typeface="+mn-lt"/>
            </a:endParaRPr>
          </a:p>
        </p:txBody>
      </p:sp>
      <p:sp>
        <p:nvSpPr>
          <p:cNvPr id="750" name="テキスト プレースホルダ 9">
            <a:extLst>
              <a:ext uri="{FF2B5EF4-FFF2-40B4-BE49-F238E27FC236}">
                <a16:creationId xmlns:a16="http://schemas.microsoft.com/office/drawing/2014/main" id="{CCD6A74E-B48D-9770-C328-0975C021C3A9}"/>
              </a:ext>
            </a:extLst>
          </p:cNvPr>
          <p:cNvSpPr>
            <a:spLocks/>
          </p:cNvSpPr>
          <p:nvPr>
            <p:custDataLst>
              <p:tags r:id="rId276"/>
            </p:custDataLst>
          </p:nvPr>
        </p:nvSpPr>
        <p:spPr bwMode="gray">
          <a:xfrm>
            <a:off x="4838700" y="4781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53B38-17CE-4DE1-8660-6A2B0C26C1A1}" type="datetime'''''''''''''''''''''''''''''''''''8''''''''''''''''.''6'''''">
              <a:rPr kumimoji="0" lang="ja-JP" altLang="en-US" sz="1000" smtClean="0">
                <a:effectLst/>
                <a:sym typeface="+mn-lt"/>
              </a:rPr>
              <a:pPr marL="0" lvl="0" indent="0" algn="ctr">
                <a:spcBef>
                  <a:spcPct val="0"/>
                </a:spcBef>
                <a:buNone/>
              </a:pPr>
              <a:t>8.6</a:t>
            </a:fld>
            <a:endParaRPr kumimoji="0" lang="ja-JP" altLang="en-US" sz="1000" dirty="0">
              <a:sym typeface="+mn-lt"/>
            </a:endParaRPr>
          </a:p>
        </p:txBody>
      </p:sp>
      <p:sp>
        <p:nvSpPr>
          <p:cNvPr id="751" name="テキスト プレースホルダ 9">
            <a:extLst>
              <a:ext uri="{FF2B5EF4-FFF2-40B4-BE49-F238E27FC236}">
                <a16:creationId xmlns:a16="http://schemas.microsoft.com/office/drawing/2014/main" id="{C5372C79-D2D5-D111-7A52-D5822A898C0F}"/>
              </a:ext>
            </a:extLst>
          </p:cNvPr>
          <p:cNvSpPr>
            <a:spLocks/>
          </p:cNvSpPr>
          <p:nvPr>
            <p:custDataLst>
              <p:tags r:id="rId277"/>
            </p:custDataLst>
          </p:nvPr>
        </p:nvSpPr>
        <p:spPr bwMode="gray">
          <a:xfrm>
            <a:off x="5135563" y="4783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E9122-6104-49FD-9657-5F964FD127C2}" type="datetime'''9''''.''''''''''''''''''''''''''''''0'''''">
              <a:rPr lang="ja-JP" altLang="en-US" sz="1000" smtClean="0">
                <a:effectLst/>
                <a:sym typeface="+mn-lt"/>
              </a:rPr>
              <a:pPr marL="0" lvl="0" indent="0" algn="ctr">
                <a:spcBef>
                  <a:spcPct val="0"/>
                </a:spcBef>
                <a:buNone/>
              </a:pPr>
              <a:t>9.0</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1F676CB7-A9F9-4952-ACAB-34676904C9E2}"/>
              </a:ext>
            </a:extLst>
          </p:cNvPr>
          <p:cNvSpPr>
            <a:spLocks/>
          </p:cNvSpPr>
          <p:nvPr>
            <p:custDataLst>
              <p:tags r:id="rId278"/>
            </p:custDataLst>
          </p:nvPr>
        </p:nvSpPr>
        <p:spPr bwMode="gray">
          <a:xfrm>
            <a:off x="5695950" y="4791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7DA6A9-D553-4355-9C92-547EAF3B22D6}"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753" name="テキスト プレースホルダ 9">
            <a:extLst>
              <a:ext uri="{FF2B5EF4-FFF2-40B4-BE49-F238E27FC236}">
                <a16:creationId xmlns:a16="http://schemas.microsoft.com/office/drawing/2014/main" id="{857D0CF6-3C46-DD6C-9D5B-95498403DD88}"/>
              </a:ext>
            </a:extLst>
          </p:cNvPr>
          <p:cNvSpPr>
            <a:spLocks/>
          </p:cNvSpPr>
          <p:nvPr>
            <p:custDataLst>
              <p:tags r:id="rId279"/>
            </p:custDataLst>
          </p:nvPr>
        </p:nvSpPr>
        <p:spPr bwMode="gray">
          <a:xfrm>
            <a:off x="5992813" y="47942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83259F-CDBF-4A2C-90A5-861D66DEBCD3}"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360CBE46-5ABF-40A0-BF41-A0040FF9E128}"/>
              </a:ext>
            </a:extLst>
          </p:cNvPr>
          <p:cNvSpPr>
            <a:spLocks/>
          </p:cNvSpPr>
          <p:nvPr>
            <p:custDataLst>
              <p:tags r:id="rId280"/>
            </p:custDataLst>
          </p:nvPr>
        </p:nvSpPr>
        <p:spPr bwMode="gray">
          <a:xfrm>
            <a:off x="6289675" y="4797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F3554-A915-47B4-8348-553F27801435}" type="datetime'''''''1''''''''''''''''''''''''''''''''''''1.''''''0'">
              <a:rPr lang="ja-JP" altLang="en-US" sz="1000" smtClean="0">
                <a:effectLst/>
                <a:sym typeface="+mn-lt"/>
              </a:rPr>
              <a:pPr marL="0" lvl="0" indent="0" algn="ctr">
                <a:spcBef>
                  <a:spcPct val="0"/>
                </a:spcBef>
                <a:buNone/>
              </a:pPr>
              <a:t>11.0</a:t>
            </a:fld>
            <a:endParaRPr kumimoji="1" lang="ja-JP" altLang="en-US" sz="1000" dirty="0">
              <a:sym typeface="+mn-lt"/>
            </a:endParaRPr>
          </a:p>
        </p:txBody>
      </p:sp>
      <p:sp>
        <p:nvSpPr>
          <p:cNvPr id="762" name="テキスト プレースホルダ 9">
            <a:extLst>
              <a:ext uri="{FF2B5EF4-FFF2-40B4-BE49-F238E27FC236}">
                <a16:creationId xmlns:a16="http://schemas.microsoft.com/office/drawing/2014/main" id="{68562C9B-954B-16E1-1F25-377C75B3B122}"/>
              </a:ext>
            </a:extLst>
          </p:cNvPr>
          <p:cNvSpPr>
            <a:spLocks/>
          </p:cNvSpPr>
          <p:nvPr>
            <p:custDataLst>
              <p:tags r:id="rId281"/>
            </p:custDataLst>
          </p:nvPr>
        </p:nvSpPr>
        <p:spPr bwMode="gray">
          <a:xfrm>
            <a:off x="9001125" y="605948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B17F73-F190-4A1C-8DE7-556546D207A3}" type="datetime'''''''''''9''''''.''''''''''''''''1'''''''''''''''''''''''''">
              <a:rPr lang="ja-JP" altLang="en-US" sz="1000" smtClean="0">
                <a:solidFill>
                  <a:schemeClr val="bg1"/>
                </a:solidFill>
                <a:effectLst/>
                <a:sym typeface="+mn-lt"/>
              </a:rPr>
              <a:pPr marL="0" lvl="0" indent="0" algn="ctr">
                <a:spcBef>
                  <a:spcPct val="0"/>
                </a:spcBef>
                <a:buNone/>
              </a:pPr>
              <a:t>9.1</a:t>
            </a:fld>
            <a:endParaRPr kumimoji="1" lang="ja-JP" altLang="en-US" sz="1000" dirty="0">
              <a:solidFill>
                <a:schemeClr val="bg1"/>
              </a:solidFill>
              <a:sym typeface="+mn-lt"/>
            </a:endParaRPr>
          </a:p>
        </p:txBody>
      </p:sp>
      <p:sp>
        <p:nvSpPr>
          <p:cNvPr id="741" name="テキスト プレースホルダ 9">
            <a:extLst>
              <a:ext uri="{FF2B5EF4-FFF2-40B4-BE49-F238E27FC236}">
                <a16:creationId xmlns:a16="http://schemas.microsoft.com/office/drawing/2014/main" id="{3672A9CE-119C-82F4-816F-169287CD5969}"/>
              </a:ext>
            </a:extLst>
          </p:cNvPr>
          <p:cNvSpPr>
            <a:spLocks/>
          </p:cNvSpPr>
          <p:nvPr>
            <p:custDataLst>
              <p:tags r:id="rId282"/>
            </p:custDataLst>
          </p:nvPr>
        </p:nvSpPr>
        <p:spPr bwMode="gray">
          <a:xfrm>
            <a:off x="2162175"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08F2A7-8120-4250-9548-13E63D562DB1}" type="datetime'''''''''''''7''''''''''.''''''''''''0'''''''''''">
              <a:rPr kumimoji="0" lang="ja-JP" altLang="en-US" sz="1000" smtClean="0">
                <a:effectLst/>
                <a:sym typeface="+mn-lt"/>
              </a:rPr>
              <a:pPr marL="0" lvl="0" indent="0" algn="ctr">
                <a:spcBef>
                  <a:spcPct val="0"/>
                </a:spcBef>
                <a:buNone/>
              </a:pPr>
              <a:t>7.0</a:t>
            </a:fld>
            <a:endParaRPr kumimoji="0" lang="ja-JP" altLang="en-US" sz="1000" dirty="0">
              <a:sym typeface="+mn-lt"/>
            </a:endParaRPr>
          </a:p>
        </p:txBody>
      </p:sp>
      <p:grpSp>
        <p:nvGrpSpPr>
          <p:cNvPr id="561" name="グループ化 61">
            <a:extLst>
              <a:ext uri="{FF2B5EF4-FFF2-40B4-BE49-F238E27FC236}">
                <a16:creationId xmlns:a16="http://schemas.microsoft.com/office/drawing/2014/main" id="{F1F96AEE-2F07-0F56-5371-320FCA4CE216}"/>
              </a:ext>
            </a:extLst>
          </p:cNvPr>
          <p:cNvGrpSpPr/>
          <p:nvPr/>
        </p:nvGrpSpPr>
        <p:grpSpPr>
          <a:xfrm>
            <a:off x="8265369" y="2330519"/>
            <a:ext cx="1321546" cy="1907114"/>
            <a:chOff x="6142352" y="2016373"/>
            <a:chExt cx="1471256" cy="1907114"/>
          </a:xfrm>
        </p:grpSpPr>
        <p:sp>
          <p:nvSpPr>
            <p:cNvPr id="562" name="フリーフォーム 62">
              <a:extLst>
                <a:ext uri="{FF2B5EF4-FFF2-40B4-BE49-F238E27FC236}">
                  <a16:creationId xmlns:a16="http://schemas.microsoft.com/office/drawing/2014/main" id="{61AF106B-1CCA-FDD9-E2F3-B886437A13C6}"/>
                </a:ext>
              </a:extLst>
            </p:cNvPr>
            <p:cNvSpPr/>
            <p:nvPr/>
          </p:nvSpPr>
          <p:spPr>
            <a:xfrm>
              <a:off x="6548973" y="2016373"/>
              <a:ext cx="1064635"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563" name="角丸四角形 63">
              <a:extLst>
                <a:ext uri="{FF2B5EF4-FFF2-40B4-BE49-F238E27FC236}">
                  <a16:creationId xmlns:a16="http://schemas.microsoft.com/office/drawing/2014/main" id="{D61339F3-3C8C-5590-B00E-88EF18804E75}"/>
                </a:ext>
              </a:extLst>
            </p:cNvPr>
            <p:cNvSpPr/>
            <p:nvPr/>
          </p:nvSpPr>
          <p:spPr>
            <a:xfrm>
              <a:off x="6142352" y="3747175"/>
              <a:ext cx="12459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4" name="グループ化 65">
            <a:extLst>
              <a:ext uri="{FF2B5EF4-FFF2-40B4-BE49-F238E27FC236}">
                <a16:creationId xmlns:a16="http://schemas.microsoft.com/office/drawing/2014/main" id="{987A2766-157E-47C4-4A96-C4172E8D1BDE}"/>
              </a:ext>
            </a:extLst>
          </p:cNvPr>
          <p:cNvGrpSpPr/>
          <p:nvPr/>
        </p:nvGrpSpPr>
        <p:grpSpPr>
          <a:xfrm>
            <a:off x="8358292" y="4497425"/>
            <a:ext cx="1390798" cy="2160240"/>
            <a:chOff x="6586875" y="2016372"/>
            <a:chExt cx="1390798" cy="1944217"/>
          </a:xfrm>
        </p:grpSpPr>
        <p:sp>
          <p:nvSpPr>
            <p:cNvPr id="565" name="フリーフォーム 66">
              <a:extLst>
                <a:ext uri="{FF2B5EF4-FFF2-40B4-BE49-F238E27FC236}">
                  <a16:creationId xmlns:a16="http://schemas.microsoft.com/office/drawing/2014/main" id="{5C982B90-C1AC-19B4-40BD-B98840F99A9F}"/>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566" name="角丸四角形 67">
              <a:extLst>
                <a:ext uri="{FF2B5EF4-FFF2-40B4-BE49-F238E27FC236}">
                  <a16:creationId xmlns:a16="http://schemas.microsoft.com/office/drawing/2014/main" id="{319B650C-046F-EB3C-0FB7-011EA1414706}"/>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1728954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業界構造 </a:t>
            </a:r>
            <a:r>
              <a:rPr lang="en-US" altLang="ja-JP" dirty="0"/>
              <a:t>- </a:t>
            </a:r>
            <a:r>
              <a:rPr lang="ja-JP" altLang="en-US" dirty="0"/>
              <a:t>主要メーカー （ローカル企業）</a:t>
            </a:r>
            <a:endParaRPr lang="ja-JP" altLang="en-US" noProof="1"/>
          </a:p>
        </p:txBody>
      </p:sp>
      <p:graphicFrame>
        <p:nvGraphicFramePr>
          <p:cNvPr id="5" name="表 4"/>
          <p:cNvGraphicFramePr>
            <a:graphicFrameLocks noGrp="1"/>
          </p:cNvGraphicFramePr>
          <p:nvPr>
            <p:extLst>
              <p:ext uri="{D42A27DB-BD31-4B8C-83A1-F6EECF244321}">
                <p14:modId xmlns:p14="http://schemas.microsoft.com/office/powerpoint/2010/main" val="794446366"/>
              </p:ext>
            </p:extLst>
          </p:nvPr>
        </p:nvGraphicFramePr>
        <p:xfrm>
          <a:off x="185734" y="2348881"/>
          <a:ext cx="9505055" cy="4296309"/>
        </p:xfrm>
        <a:graphic>
          <a:graphicData uri="http://schemas.openxmlformats.org/drawingml/2006/table">
            <a:tbl>
              <a:tblPr firstRow="1" bandRow="1">
                <a:tableStyleId>{5C22544A-7EE6-4342-B048-85BDC9FD1C3A}</a:tableStyleId>
              </a:tblPr>
              <a:tblGrid>
                <a:gridCol w="159891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864096">
                  <a:extLst>
                    <a:ext uri="{9D8B030D-6E8A-4147-A177-3AD203B41FA5}">
                      <a16:colId xmlns:a16="http://schemas.microsoft.com/office/drawing/2014/main" val="3386509722"/>
                    </a:ext>
                  </a:extLst>
                </a:gridCol>
                <a:gridCol w="3008189">
                  <a:extLst>
                    <a:ext uri="{9D8B030D-6E8A-4147-A177-3AD203B41FA5}">
                      <a16:colId xmlns:a16="http://schemas.microsoft.com/office/drawing/2014/main" val="20003"/>
                    </a:ext>
                  </a:extLst>
                </a:gridCol>
                <a:gridCol w="2089640">
                  <a:extLst>
                    <a:ext uri="{9D8B030D-6E8A-4147-A177-3AD203B41FA5}">
                      <a16:colId xmlns:a16="http://schemas.microsoft.com/office/drawing/2014/main" val="3524783470"/>
                    </a:ext>
                  </a:extLst>
                </a:gridCol>
              </a:tblGrid>
              <a:tr h="235598">
                <a:tc>
                  <a:txBody>
                    <a:bodyPr/>
                    <a:lstStyle/>
                    <a:p>
                      <a:pPr algn="ctr" fontAlgn="ctr" hangingPunct="0"/>
                      <a:r>
                        <a:rPr kumimoji="1" lang="ja-JP" altLang="en-US" sz="11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要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会社のURL</a:t>
                      </a:r>
                      <a:endParaRPr kumimoji="1" lang="ja-JP" altLang="en-US" sz="11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81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aw Par </a:t>
                      </a: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Coporation</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では局所鎮痛薬の「タイガーバーム」ブランドを持っている。</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69</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消費者向けのヘルスケア製品の他、レジャー事業にも従事し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hawpar.com/</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2646974"/>
                  </a:ext>
                </a:extLst>
              </a:tr>
              <a:tr h="6870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ICM Pharma</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薬局のみ</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処方薬、防腐・消毒剤等</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gt;1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1980</a:t>
                      </a:r>
                      <a:r>
                        <a:rPr kumimoji="1" lang="en-US" sz="1100" b="0" i="0" kern="1200" noProof="1">
                          <a:solidFill>
                            <a:schemeClr val="dk1"/>
                          </a:solidFill>
                          <a:effectLst/>
                          <a:latin typeface="+mn-ea"/>
                          <a:ea typeface="+mn-ea"/>
                          <a:cs typeface="Arial" panose="020B0604020202020204" pitchFamily="34" charset="0"/>
                        </a:rPr>
                        <a:t>年代に、ヒト用医薬品の製造について保健省 （シンガポール） から</a:t>
                      </a:r>
                      <a:r>
                        <a:rPr kumimoji="1" lang="en-US" sz="1100" b="0" i="0" kern="1200" noProof="1">
                          <a:solidFill>
                            <a:schemeClr val="dk1"/>
                          </a:solidFill>
                          <a:effectLst/>
                          <a:latin typeface="+mn-lt"/>
                          <a:ea typeface="+mn-ea"/>
                          <a:cs typeface="Arial" panose="020B0604020202020204" pitchFamily="34" charset="0"/>
                        </a:rPr>
                        <a:t>GMP</a:t>
                      </a:r>
                      <a:r>
                        <a:rPr kumimoji="1" lang="en-US" sz="1100" b="0" i="0" kern="1200" noProof="1">
                          <a:solidFill>
                            <a:schemeClr val="dk1"/>
                          </a:solidFill>
                          <a:effectLst/>
                          <a:latin typeface="+mn-ea"/>
                          <a:ea typeface="+mn-ea"/>
                          <a:cs typeface="Arial" panose="020B0604020202020204" pitchFamily="34" charset="0"/>
                        </a:rPr>
                        <a:t>認証を取得し</a:t>
                      </a:r>
                      <a:r>
                        <a:rPr kumimoji="1" lang="ja-JP" altLang="en-US" sz="1100" b="0" i="0" kern="1200" noProof="1">
                          <a:solidFill>
                            <a:schemeClr val="dk1"/>
                          </a:solidFill>
                          <a:effectLst/>
                          <a:latin typeface="+mn-ea"/>
                          <a:ea typeface="+mn-ea"/>
                          <a:cs typeface="Arial" panose="020B0604020202020204" pitchFamily="34" charset="0"/>
                        </a:rPr>
                        <a:t>た</a:t>
                      </a:r>
                      <a:r>
                        <a:rPr kumimoji="1" lang="en-US" sz="1100" b="0" i="0" kern="1200" noProof="1">
                          <a:solidFill>
                            <a:schemeClr val="dk1"/>
                          </a:solidFill>
                          <a:effectLst/>
                          <a:latin typeface="+mn-ea"/>
                          <a:ea typeface="+mn-ea"/>
                          <a:cs typeface="Arial" panose="020B0604020202020204" pitchFamily="34" charset="0"/>
                        </a:rPr>
                        <a:t>。</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icmpharma.com</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10353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rLion</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 Pharmaceuticals </a:t>
                      </a:r>
                      <a:b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b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te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0" i="0" kern="1200" noProof="1">
                          <a:solidFill>
                            <a:schemeClr val="dk1"/>
                          </a:solidFill>
                          <a:effectLst/>
                          <a:latin typeface="+mn-ea"/>
                          <a:ea typeface="+mn-ea"/>
                          <a:cs typeface="Arial" panose="020B0604020202020204" pitchFamily="34" charset="0"/>
                        </a:rPr>
                        <a:t>抗菌薬フィナフロキサシン</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n-ea"/>
                          <a:ea typeface="+mn-ea"/>
                          <a:cs typeface="Arial" panose="020B0604020202020204" pitchFamily="34" charset="0"/>
                        </a:rPr>
                        <a:t>同社は</a:t>
                      </a:r>
                      <a:r>
                        <a:rPr kumimoji="1" lang="en-US" sz="1100" b="0" i="0" kern="1200" noProof="1">
                          <a:solidFill>
                            <a:schemeClr val="dk1"/>
                          </a:solidFill>
                          <a:effectLst/>
                          <a:latin typeface="+mj-lt"/>
                          <a:ea typeface="+mn-ea"/>
                          <a:cs typeface="Arial" panose="020B0604020202020204" pitchFamily="34" charset="0"/>
                        </a:rPr>
                        <a:t>2002</a:t>
                      </a:r>
                      <a:r>
                        <a:rPr kumimoji="1" lang="en-US" sz="1100" b="0" i="0" kern="1200" noProof="1">
                          <a:solidFill>
                            <a:schemeClr val="dk1"/>
                          </a:solidFill>
                          <a:effectLst/>
                          <a:latin typeface="+mn-ea"/>
                          <a:ea typeface="+mn-ea"/>
                          <a:cs typeface="Arial" panose="020B0604020202020204" pitchFamily="34" charset="0"/>
                        </a:rPr>
                        <a:t>年、シンガポールの分子細胞生物学研究所</a:t>
                      </a:r>
                      <a:r>
                        <a:rPr kumimoji="1" lang="ja-JP" altLang="en-US" sz="1100" b="0" i="0" kern="1200" noProof="1">
                          <a:solidFill>
                            <a:schemeClr val="dk1"/>
                          </a:solidFill>
                          <a:effectLst/>
                          <a:latin typeface="+mn-ea"/>
                          <a:ea typeface="+mn-ea"/>
                          <a:cs typeface="Arial" panose="020B0604020202020204" pitchFamily="34" charset="0"/>
                        </a:rPr>
                        <a:t> </a:t>
                      </a:r>
                      <a:r>
                        <a:rPr kumimoji="1" lang="ja-JP" altLang="en-US" sz="1100" b="0" i="0" kern="1200" noProof="1">
                          <a:solidFill>
                            <a:schemeClr val="dk1"/>
                          </a:solidFill>
                          <a:effectLst/>
                          <a:latin typeface="+mj-lt"/>
                          <a:ea typeface="+mn-ea"/>
                          <a:cs typeface="Arial" panose="020B0604020202020204" pitchFamily="34" charset="0"/>
                        </a:rPr>
                        <a:t>（</a:t>
                      </a:r>
                      <a:r>
                        <a:rPr kumimoji="1" lang="en-US" altLang="ja-JP" sz="1100" b="0" i="0" kern="1200" noProof="1">
                          <a:solidFill>
                            <a:schemeClr val="dk1"/>
                          </a:solidFill>
                          <a:effectLst/>
                          <a:latin typeface="+mj-lt"/>
                          <a:ea typeface="+mn-ea"/>
                          <a:cs typeface="Arial" panose="020B0604020202020204" pitchFamily="34" charset="0"/>
                        </a:rPr>
                        <a:t>Singapore’s Institute of Molecular and Cell Biology</a:t>
                      </a:r>
                      <a:r>
                        <a:rPr kumimoji="1" lang="ja-JP" altLang="en-US" sz="1100" b="0" i="0" kern="1200" noProof="1">
                          <a:solidFill>
                            <a:schemeClr val="dk1"/>
                          </a:solidFill>
                          <a:effectLst/>
                          <a:latin typeface="+mj-lt"/>
                          <a:ea typeface="+mn-ea"/>
                          <a:cs typeface="Arial" panose="020B0604020202020204" pitchFamily="34" charset="0"/>
                        </a:rPr>
                        <a:t>）</a:t>
                      </a:r>
                      <a:r>
                        <a:rPr kumimoji="1" lang="en-US" sz="1100" b="0" i="0" kern="1200" noProof="1">
                          <a:solidFill>
                            <a:schemeClr val="dk1"/>
                          </a:solidFill>
                          <a:effectLst/>
                          <a:latin typeface="+mj-lt"/>
                          <a:ea typeface="+mn-ea"/>
                          <a:cs typeface="Arial" panose="020B0604020202020204" pitchFamily="34" charset="0"/>
                        </a:rPr>
                        <a:t>の一部門であった天然物研究センター</a:t>
                      </a:r>
                      <a:r>
                        <a:rPr kumimoji="1" lang="en-US" altLang="ja-JP" sz="1100" b="0" i="0" kern="1200" noProof="1">
                          <a:solidFill>
                            <a:schemeClr val="dk1"/>
                          </a:solidFill>
                          <a:effectLst/>
                          <a:latin typeface="+mj-lt"/>
                          <a:ea typeface="+mn-ea"/>
                          <a:cs typeface="Arial" panose="020B0604020202020204" pitchFamily="34" charset="0"/>
                        </a:rPr>
                        <a:t> </a:t>
                      </a:r>
                      <a:r>
                        <a:rPr kumimoji="1" lang="ja-JP" altLang="en-US" sz="1100" b="0" i="0" kern="1200" noProof="1">
                          <a:solidFill>
                            <a:schemeClr val="dk1"/>
                          </a:solidFill>
                          <a:effectLst/>
                          <a:latin typeface="+mj-lt"/>
                          <a:ea typeface="+mn-ea"/>
                          <a:cs typeface="Arial" panose="020B0604020202020204" pitchFamily="34" charset="0"/>
                        </a:rPr>
                        <a:t>（</a:t>
                      </a:r>
                      <a:r>
                        <a:rPr kumimoji="1" lang="en-US" altLang="ja-JP" sz="1100" b="0" i="0" kern="1200" noProof="1">
                          <a:solidFill>
                            <a:schemeClr val="dk1"/>
                          </a:solidFill>
                          <a:effectLst/>
                          <a:latin typeface="+mj-lt"/>
                          <a:ea typeface="+mn-ea"/>
                          <a:cs typeface="Arial" panose="020B0604020202020204" pitchFamily="34" charset="0"/>
                        </a:rPr>
                        <a:t>CNPR: Centre for Natural Product Research</a:t>
                      </a:r>
                      <a:r>
                        <a:rPr kumimoji="1" lang="ja-JP" altLang="en-US" sz="1100" b="0" i="0" kern="1200" noProof="1">
                          <a:solidFill>
                            <a:schemeClr val="dk1"/>
                          </a:solidFill>
                          <a:effectLst/>
                          <a:latin typeface="+mj-lt"/>
                          <a:ea typeface="+mn-ea"/>
                          <a:cs typeface="Arial" panose="020B0604020202020204" pitchFamily="34" charset="0"/>
                        </a:rPr>
                        <a:t>）</a:t>
                      </a:r>
                      <a:r>
                        <a:rPr kumimoji="1" lang="en-US" sz="1100" b="0" i="0" kern="1200" noProof="1">
                          <a:solidFill>
                            <a:schemeClr val="dk1"/>
                          </a:solidFill>
                          <a:effectLst/>
                          <a:latin typeface="+mn-ea"/>
                          <a:ea typeface="+mn-ea"/>
                          <a:cs typeface="Arial" panose="020B0604020202020204" pitchFamily="34" charset="0"/>
                        </a:rPr>
                        <a:t>を民営化して設立された。</a:t>
                      </a:r>
                    </a:p>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MerLion Pharma</a:t>
                      </a:r>
                      <a:r>
                        <a:rPr kumimoji="1" lang="en-US" sz="1100" b="0" i="0" kern="1200" noProof="1">
                          <a:solidFill>
                            <a:schemeClr val="dk1"/>
                          </a:solidFill>
                          <a:effectLst/>
                          <a:latin typeface="+mn-ea"/>
                          <a:ea typeface="+mn-ea"/>
                          <a:cs typeface="Arial" panose="020B0604020202020204" pitchFamily="34" charset="0"/>
                        </a:rPr>
                        <a:t>は、天然物サンプルのユニークなコレクションを含む</a:t>
                      </a:r>
                      <a:r>
                        <a:rPr kumimoji="1" lang="en-US" sz="1100" b="0" i="0" kern="1200" noProof="1">
                          <a:solidFill>
                            <a:schemeClr val="dk1"/>
                          </a:solidFill>
                          <a:effectLst/>
                          <a:latin typeface="+mj-lt"/>
                          <a:ea typeface="+mn-ea"/>
                          <a:cs typeface="Arial" panose="020B0604020202020204" pitchFamily="34" charset="0"/>
                        </a:rPr>
                        <a:t>CNPR</a:t>
                      </a:r>
                      <a:r>
                        <a:rPr kumimoji="1" lang="en-US" sz="1100" b="0" i="0" kern="1200" noProof="1">
                          <a:solidFill>
                            <a:schemeClr val="dk1"/>
                          </a:solidFill>
                          <a:effectLst/>
                          <a:latin typeface="+mn-ea"/>
                          <a:ea typeface="+mn-ea"/>
                          <a:cs typeface="Arial" panose="020B0604020202020204" pitchFamily="34" charset="0"/>
                        </a:rPr>
                        <a:t>の全資産を買収した。</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pharmaboardroom.com/directory/merlion-pharma/page/5/</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9613368"/>
                  </a:ext>
                </a:extLst>
              </a:tr>
              <a:tr h="6870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SciGen</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 Pte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内分泌・がん領域をカバーする先発品・後発品</a:t>
                      </a:r>
                      <a:r>
                        <a:rPr kumimoji="1" lang="ja-JP" altLang="en-US" sz="1100" kern="1200" noProof="1">
                          <a:solidFill>
                            <a:schemeClr val="dk1"/>
                          </a:solidFill>
                          <a:latin typeface="+mn-ea"/>
                          <a:ea typeface="+mn-ea"/>
                          <a:cs typeface="Arial" panose="020B0604020202020204" pitchFamily="34" charset="0"/>
                        </a:rPr>
                        <a:t>医薬品</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49</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1988</a:t>
                      </a:r>
                      <a:r>
                        <a:rPr kumimoji="1" lang="en-US" sz="1100" b="0" i="0" kern="1200" noProof="1">
                          <a:solidFill>
                            <a:schemeClr val="dk1"/>
                          </a:solidFill>
                          <a:effectLst/>
                          <a:latin typeface="+mn-ea"/>
                          <a:ea typeface="+mn-ea"/>
                          <a:cs typeface="Arial" panose="020B0604020202020204" pitchFamily="34" charset="0"/>
                        </a:rPr>
                        <a:t>年に設立さ</a:t>
                      </a:r>
                      <a:r>
                        <a:rPr kumimoji="1" lang="ja-JP" altLang="en-US" sz="1100" b="0" i="0" kern="1200" noProof="1">
                          <a:solidFill>
                            <a:schemeClr val="dk1"/>
                          </a:solidFill>
                          <a:effectLst/>
                          <a:latin typeface="+mn-ea"/>
                          <a:ea typeface="+mn-ea"/>
                          <a:cs typeface="Arial" panose="020B0604020202020204" pitchFamily="34" charset="0"/>
                        </a:rPr>
                        <a:t>れ</a:t>
                      </a:r>
                      <a:r>
                        <a:rPr kumimoji="1" lang="en-US" sz="1100" b="0" i="0" kern="1200" noProof="1">
                          <a:solidFill>
                            <a:schemeClr val="dk1"/>
                          </a:solidFill>
                          <a:effectLst/>
                          <a:latin typeface="+mn-ea"/>
                          <a:ea typeface="+mn-ea"/>
                          <a:cs typeface="Arial" panose="020B0604020202020204" pitchFamily="34" charset="0"/>
                        </a:rPr>
                        <a:t>、ブランド医薬品や医療機器を販売してい</a:t>
                      </a:r>
                      <a:r>
                        <a:rPr kumimoji="1" lang="ja-JP" altLang="en-US" sz="1100" b="0" i="0" kern="1200" noProof="1">
                          <a:solidFill>
                            <a:schemeClr val="dk1"/>
                          </a:solidFill>
                          <a:effectLst/>
                          <a:latin typeface="+mn-ea"/>
                          <a:ea typeface="+mn-ea"/>
                          <a:cs typeface="Arial" panose="020B0604020202020204" pitchFamily="34" charset="0"/>
                        </a:rPr>
                        <a:t>る</a:t>
                      </a:r>
                      <a:r>
                        <a:rPr kumimoji="1" lang="en-US" sz="1100" b="0" i="0" kern="1200" noProof="1">
                          <a:solidFill>
                            <a:schemeClr val="dk1"/>
                          </a:solidFill>
                          <a:effectLst/>
                          <a:latin typeface="+mn-ea"/>
                          <a:ea typeface="+mn-ea"/>
                          <a:cs typeface="Arial" panose="020B0604020202020204" pitchFamily="34" charset="0"/>
                        </a:rPr>
                        <a:t>。</a:t>
                      </a: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ja-JP" altLang="en-US" sz="1100" kern="1200" noProof="1">
                          <a:solidFill>
                            <a:schemeClr val="dk1"/>
                          </a:solidFill>
                          <a:latin typeface="+mj-lt"/>
                          <a:ea typeface="+mn-ea"/>
                          <a:cs typeface="Arial" panose="020B0604020202020204" pitchFamily="34" charset="0"/>
                        </a:rPr>
                        <a:t>同社は</a:t>
                      </a:r>
                      <a:r>
                        <a:rPr kumimoji="1" lang="en-US" altLang="ja-JP" sz="1100" kern="1200" noProof="1">
                          <a:solidFill>
                            <a:schemeClr val="dk1"/>
                          </a:solidFill>
                          <a:latin typeface="+mj-lt"/>
                          <a:ea typeface="+mn-ea"/>
                          <a:cs typeface="Arial" panose="020B0604020202020204" pitchFamily="34" charset="0"/>
                        </a:rPr>
                        <a:t>DKSH</a:t>
                      </a:r>
                      <a:r>
                        <a:rPr kumimoji="1" lang="en-US" altLang="ja-JP" sz="1100" kern="1200" noProof="1">
                          <a:solidFill>
                            <a:schemeClr val="dk1"/>
                          </a:solidFill>
                          <a:latin typeface="+mn-ea"/>
                          <a:ea typeface="+mn-ea"/>
                          <a:cs typeface="Arial" panose="020B0604020202020204" pitchFamily="34" charset="0"/>
                        </a:rPr>
                        <a:t>と提携し、ベトナムに抗がん剤</a:t>
                      </a:r>
                      <a:r>
                        <a:rPr kumimoji="1" lang="en-US" altLang="ja-JP" sz="1100" kern="1200" noProof="1">
                          <a:solidFill>
                            <a:schemeClr val="dk1"/>
                          </a:solidFill>
                          <a:latin typeface="+mj-lt"/>
                          <a:ea typeface="+mn-ea"/>
                          <a:cs typeface="Arial" panose="020B0604020202020204" pitchFamily="34" charset="0"/>
                        </a:rPr>
                        <a:t>「Zometa」</a:t>
                      </a:r>
                      <a:r>
                        <a:rPr kumimoji="1" lang="en-US" altLang="ja-JP" sz="1100" kern="1200" noProof="1">
                          <a:solidFill>
                            <a:schemeClr val="dk1"/>
                          </a:solidFill>
                          <a:latin typeface="+mn-ea"/>
                          <a:ea typeface="+mn-ea"/>
                          <a:cs typeface="Arial" panose="020B0604020202020204" pitchFamily="34" charset="0"/>
                        </a:rPr>
                        <a:t>を供給</a:t>
                      </a:r>
                      <a:r>
                        <a:rPr kumimoji="1" lang="ja-JP" altLang="en-US" sz="1100" kern="1200" noProof="1">
                          <a:solidFill>
                            <a:schemeClr val="dk1"/>
                          </a:solidFill>
                          <a:latin typeface="+mn-ea"/>
                          <a:ea typeface="+mn-ea"/>
                          <a:cs typeface="Arial" panose="020B0604020202020204" pitchFamily="34" charset="0"/>
                        </a:rPr>
                        <a:t>している。</a:t>
                      </a:r>
                      <a:endParaRPr kumimoji="1" lang="en-US" altLang="ja-JP"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scigen.com/about-us/</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71221635"/>
                  </a:ext>
                </a:extLst>
              </a:tr>
              <a:tr h="81915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yphens pharma international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眼科領域、呼吸器領域、リウマチ領域、メディカルエステ領域</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ja-JP" altLang="en-US" sz="1100" kern="1200" noProof="1">
                          <a:solidFill>
                            <a:schemeClr val="dk1"/>
                          </a:solidFill>
                          <a:latin typeface="+mn-ea"/>
                          <a:ea typeface="+mn-ea"/>
                          <a:cs typeface="Arial" panose="020B0604020202020204" pitchFamily="34" charset="0"/>
                        </a:rPr>
                        <a:t>同社は</a:t>
                      </a:r>
                      <a:r>
                        <a:rPr kumimoji="1" lang="en-US" altLang="ja-JP" sz="1100" kern="1200" noProof="1">
                          <a:solidFill>
                            <a:schemeClr val="dk1"/>
                          </a:solidFill>
                          <a:latin typeface="+mj-lt"/>
                          <a:ea typeface="+mn-ea"/>
                          <a:cs typeface="Arial" panose="020B0604020202020204" pitchFamily="34" charset="0"/>
                        </a:rPr>
                        <a:t>7-Eleven</a:t>
                      </a:r>
                      <a:r>
                        <a:rPr kumimoji="1" lang="en-US" altLang="ja-JP" sz="1100" kern="1200" noProof="1">
                          <a:solidFill>
                            <a:schemeClr val="dk1"/>
                          </a:solidFill>
                          <a:latin typeface="+mn-ea"/>
                          <a:ea typeface="+mn-ea"/>
                          <a:cs typeface="Arial" panose="020B0604020202020204" pitchFamily="34" charset="0"/>
                        </a:rPr>
                        <a:t>と提携し、シンガポールの一部のコンビニエンスストアで海洋健康サプリメントを販売</a:t>
                      </a:r>
                      <a:r>
                        <a:rPr kumimoji="1" lang="ja-JP" altLang="en-US" sz="1100" kern="1200" noProof="1">
                          <a:solidFill>
                            <a:schemeClr val="dk1"/>
                          </a:solidFill>
                          <a:latin typeface="+mn-ea"/>
                          <a:ea typeface="+mn-ea"/>
                          <a:cs typeface="Arial" panose="020B0604020202020204" pitchFamily="34" charset="0"/>
                        </a:rPr>
                        <a:t>している。</a:t>
                      </a:r>
                      <a:endParaRPr kumimoji="1" lang="en-US" altLang="ja-JP"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www.hyphens.com.sg/</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5223052"/>
                  </a:ext>
                </a:extLst>
              </a:tr>
            </a:tbl>
          </a:graphicData>
        </a:graphic>
      </p:graphicFrame>
      <p:sp>
        <p:nvSpPr>
          <p:cNvPr id="16" name="テキスト ボックス 3">
            <a:extLst>
              <a:ext uri="{FF2B5EF4-FFF2-40B4-BE49-F238E27FC236}">
                <a16:creationId xmlns:a16="http://schemas.microsoft.com/office/drawing/2014/main" id="{031D6A05-2B06-4856-B0DB-69B33390F323}"/>
              </a:ext>
            </a:extLst>
          </p:cNvPr>
          <p:cNvSpPr txBox="1"/>
          <p:nvPr/>
        </p:nvSpPr>
        <p:spPr>
          <a:xfrm>
            <a:off x="200025" y="1018510"/>
            <a:ext cx="9577066" cy="97033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メーカーが市場の多くを占める中、地場メーカーの医薬品メーカーで大手と言えるところは少ない。</a:t>
            </a:r>
            <a:endParaRPr lang="en-US" sz="1400" b="0" i="0" noProof="1">
              <a:solidFill>
                <a:srgbClr val="212529"/>
              </a:solidFill>
              <a:effectLs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sz="1400" b="0" i="0" noProof="1">
                <a:solidFill>
                  <a:srgbClr val="212529"/>
                </a:solidFill>
                <a:effectLst/>
                <a:latin typeface="+mn-ea"/>
                <a:cs typeface="Arial" panose="020B0604020202020204" pitchFamily="34" charset="0"/>
              </a:rPr>
              <a:t>シンガポールの医薬品市場では、主要なグローバル企業が同国の地域市場の約</a:t>
            </a:r>
            <a:r>
              <a:rPr lang="en-US" sz="1400" b="0" i="0" noProof="1">
                <a:solidFill>
                  <a:srgbClr val="212529"/>
                </a:solidFill>
                <a:effectLst/>
                <a:latin typeface="+mj-lt"/>
                <a:cs typeface="Arial" panose="020B0604020202020204" pitchFamily="34" charset="0"/>
              </a:rPr>
              <a:t>40%</a:t>
            </a:r>
            <a:r>
              <a:rPr lang="en-US" sz="1400" b="0" i="0" noProof="1">
                <a:solidFill>
                  <a:srgbClr val="212529"/>
                </a:solidFill>
                <a:effectLst/>
                <a:latin typeface="+mn-ea"/>
                <a:cs typeface="Arial" panose="020B0604020202020204" pitchFamily="34" charset="0"/>
              </a:rPr>
              <a:t>のシェアを占めており</a:t>
            </a:r>
            <a:r>
              <a:rPr lang="ja-JP" altLang="en-US" sz="1400" b="0" i="0" noProof="1">
                <a:solidFill>
                  <a:srgbClr val="212529"/>
                </a:solidFill>
                <a:effectLst/>
                <a:latin typeface="+mn-ea"/>
                <a:cs typeface="Arial" panose="020B0604020202020204" pitchFamily="34" charset="0"/>
              </a:rPr>
              <a:t>、</a:t>
            </a:r>
            <a:r>
              <a:rPr lang="en-US" sz="1400" b="0" i="0" noProof="1">
                <a:solidFill>
                  <a:srgbClr val="212529"/>
                </a:solidFill>
                <a:effectLst/>
                <a:latin typeface="+mn-ea"/>
                <a:cs typeface="Arial" panose="020B0604020202020204" pitchFamily="34" charset="0"/>
              </a:rPr>
              <a:t>残りの</a:t>
            </a:r>
            <a:r>
              <a:rPr lang="en-US" sz="1400" b="0" i="0" noProof="1">
                <a:solidFill>
                  <a:srgbClr val="212529"/>
                </a:solidFill>
                <a:effectLst/>
                <a:latin typeface="+mj-lt"/>
                <a:cs typeface="Arial" panose="020B0604020202020204" pitchFamily="34" charset="0"/>
              </a:rPr>
              <a:t>60%</a:t>
            </a:r>
            <a:r>
              <a:rPr lang="en-US" sz="1400" b="0" i="0" noProof="1">
                <a:solidFill>
                  <a:srgbClr val="212529"/>
                </a:solidFill>
                <a:effectLst/>
                <a:latin typeface="+mn-ea"/>
                <a:cs typeface="Arial" panose="020B0604020202020204" pitchFamily="34" charset="0"/>
              </a:rPr>
              <a:t>のシェアは</a:t>
            </a:r>
            <a:r>
              <a:rPr lang="ja-JP" altLang="en-US" sz="1400" noProof="1">
                <a:solidFill>
                  <a:srgbClr val="212529"/>
                </a:solidFill>
                <a:latin typeface="+mn-ea"/>
                <a:cs typeface="Arial" panose="020B0604020202020204" pitchFamily="34" charset="0"/>
              </a:rPr>
              <a:t>地場</a:t>
            </a:r>
            <a:r>
              <a:rPr lang="en-US" sz="1400" b="0" i="0" noProof="1">
                <a:solidFill>
                  <a:srgbClr val="212529"/>
                </a:solidFill>
                <a:effectLst/>
                <a:latin typeface="+mn-ea"/>
                <a:cs typeface="Arial" panose="020B0604020202020204" pitchFamily="34" charset="0"/>
              </a:rPr>
              <a:t>メーカーが</a:t>
            </a:r>
            <a:r>
              <a:rPr lang="ja-JP" altLang="en-US" sz="1400" b="0" i="0" noProof="1">
                <a:solidFill>
                  <a:srgbClr val="212529"/>
                </a:solidFill>
                <a:effectLst/>
                <a:latin typeface="+mn-ea"/>
                <a:cs typeface="Arial" panose="020B0604020202020204" pitchFamily="34" charset="0"/>
              </a:rPr>
              <a:t>占めている。</a:t>
            </a:r>
            <a:endParaRPr lang="en-US" sz="1400" dirty="0">
              <a:solidFill>
                <a:srgbClr val="212529"/>
              </a:solidFill>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sz="1400" b="0" i="0" noProof="1">
                <a:solidFill>
                  <a:srgbClr val="212529"/>
                </a:solidFill>
                <a:effectLst/>
                <a:latin typeface="+mn-ea"/>
                <a:cs typeface="Arial" panose="020B0604020202020204" pitchFamily="34" charset="0"/>
              </a:rPr>
              <a:t>医療の革新と生産におけるシンガポールの製薬業界の地位は、政府</a:t>
            </a:r>
            <a:r>
              <a:rPr lang="ja-JP" altLang="en-US" sz="1400" b="0" i="0" noProof="1">
                <a:solidFill>
                  <a:srgbClr val="212529"/>
                </a:solidFill>
                <a:effectLst/>
                <a:latin typeface="+mn-ea"/>
                <a:cs typeface="Arial" panose="020B0604020202020204" pitchFamily="34" charset="0"/>
              </a:rPr>
              <a:t>の</a:t>
            </a:r>
            <a:r>
              <a:rPr lang="en-US" sz="1400" b="0" i="0" noProof="1">
                <a:solidFill>
                  <a:srgbClr val="212529"/>
                </a:solidFill>
                <a:effectLst/>
                <a:latin typeface="+mn-ea"/>
                <a:cs typeface="Arial" panose="020B0604020202020204" pitchFamily="34" charset="0"/>
              </a:rPr>
              <a:t>投資</a:t>
            </a:r>
            <a:r>
              <a:rPr lang="ja-JP" altLang="en-US" sz="1400" b="0" i="0" noProof="1">
                <a:solidFill>
                  <a:srgbClr val="212529"/>
                </a:solidFill>
                <a:effectLst/>
                <a:latin typeface="+mn-ea"/>
                <a:cs typeface="Arial" panose="020B0604020202020204" pitchFamily="34" charset="0"/>
              </a:rPr>
              <a:t>が</a:t>
            </a:r>
            <a:r>
              <a:rPr lang="en-US" sz="1400" b="0" i="0" noProof="1">
                <a:solidFill>
                  <a:srgbClr val="212529"/>
                </a:solidFill>
                <a:effectLst/>
                <a:latin typeface="+mn-ea"/>
                <a:cs typeface="Arial" panose="020B0604020202020204" pitchFamily="34" charset="0"/>
              </a:rPr>
              <a:t>貢献</a:t>
            </a:r>
            <a:r>
              <a:rPr lang="ja-JP" altLang="en-US" sz="1400" b="0" i="0" noProof="1">
                <a:solidFill>
                  <a:srgbClr val="212529"/>
                </a:solidFill>
                <a:effectLst/>
                <a:latin typeface="+mn-ea"/>
                <a:cs typeface="Arial" panose="020B0604020202020204" pitchFamily="34" charset="0"/>
              </a:rPr>
              <a:t>して</a:t>
            </a:r>
            <a:r>
              <a:rPr lang="en-US" sz="1400" b="0" i="0" noProof="1">
                <a:solidFill>
                  <a:srgbClr val="212529"/>
                </a:solidFill>
                <a:effectLst/>
                <a:latin typeface="+mn-ea"/>
                <a:cs typeface="Arial" panose="020B0604020202020204" pitchFamily="34" charset="0"/>
              </a:rPr>
              <a:t>いる。</a:t>
            </a:r>
            <a:r>
              <a:rPr lang="en-US" sz="1400" dirty="0">
                <a:solidFill>
                  <a:srgbClr val="212529"/>
                </a:solidFill>
                <a:latin typeface="+mn-ea"/>
                <a:cs typeface="Arial" panose="020B0604020202020204" pitchFamily="34" charset="0"/>
              </a:rPr>
              <a:t> </a:t>
            </a:r>
            <a:endParaRPr lang="ja-JP" altLang="en-US" sz="1400" noProof="1">
              <a:latin typeface="+mn-ea"/>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a:extLst>
              <a:ext uri="{FF2B5EF4-FFF2-40B4-BE49-F238E27FC236}">
                <a16:creationId xmlns:a16="http://schemas.microsoft.com/office/drawing/2014/main" id="{60F5FEAC-C633-2AAC-CF46-B3090A4AF22F}"/>
              </a:ext>
            </a:extLst>
          </p:cNvPr>
          <p:cNvSpPr>
            <a:spLocks noChangeArrowheads="1"/>
          </p:cNvSpPr>
          <p:nvPr/>
        </p:nvSpPr>
        <p:spPr bwMode="auto">
          <a:xfrm>
            <a:off x="207685"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現況</a:t>
            </a:r>
          </a:p>
        </p:txBody>
      </p:sp>
      <p:sp>
        <p:nvSpPr>
          <p:cNvPr id="9" name="テキスト ボックス 8">
            <a:extLst>
              <a:ext uri="{FF2B5EF4-FFF2-40B4-BE49-F238E27FC236}">
                <a16:creationId xmlns:a16="http://schemas.microsoft.com/office/drawing/2014/main" id="{55409DCE-7AC6-098D-036C-EE2D4F43344C}"/>
              </a:ext>
            </a:extLst>
          </p:cNvPr>
          <p:cNvSpPr txBox="1"/>
          <p:nvPr/>
        </p:nvSpPr>
        <p:spPr>
          <a:xfrm>
            <a:off x="187719"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62448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40238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205224756"/>
              </p:ext>
            </p:extLst>
          </p:nvPr>
        </p:nvGraphicFramePr>
        <p:xfrm>
          <a:off x="200025" y="2187192"/>
          <a:ext cx="9505502" cy="4211416"/>
        </p:xfrm>
        <a:graphic>
          <a:graphicData uri="http://schemas.openxmlformats.org/drawingml/2006/table">
            <a:tbl>
              <a:tblPr firstRow="1" bandRow="1">
                <a:tableStyleId>{5C22544A-7EE6-4342-B048-85BDC9FD1C3A}</a:tableStyleId>
              </a:tblPr>
              <a:tblGrid>
                <a:gridCol w="402776">
                  <a:extLst>
                    <a:ext uri="{9D8B030D-6E8A-4147-A177-3AD203B41FA5}">
                      <a16:colId xmlns:a16="http://schemas.microsoft.com/office/drawing/2014/main" val="20000"/>
                    </a:ext>
                  </a:extLst>
                </a:gridCol>
                <a:gridCol w="3463869">
                  <a:extLst>
                    <a:ext uri="{9D8B030D-6E8A-4147-A177-3AD203B41FA5}">
                      <a16:colId xmlns:a16="http://schemas.microsoft.com/office/drawing/2014/main" val="20001"/>
                    </a:ext>
                  </a:extLst>
                </a:gridCol>
                <a:gridCol w="1852767">
                  <a:extLst>
                    <a:ext uri="{9D8B030D-6E8A-4147-A177-3AD203B41FA5}">
                      <a16:colId xmlns:a16="http://schemas.microsoft.com/office/drawing/2014/main" val="20002"/>
                    </a:ext>
                  </a:extLst>
                </a:gridCol>
                <a:gridCol w="3786090">
                  <a:extLst>
                    <a:ext uri="{9D8B030D-6E8A-4147-A177-3AD203B41FA5}">
                      <a16:colId xmlns:a16="http://schemas.microsoft.com/office/drawing/2014/main" val="20003"/>
                    </a:ext>
                  </a:extLst>
                </a:gridCol>
              </a:tblGrid>
              <a:tr h="30613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Pharmaceuticals</a:t>
                      </a:r>
                      <a:r>
                        <a:rPr kumimoji="1" lang="ja-JP" altLang="en-US" sz="1200" b="0" i="0" u="none" strike="noStrike" kern="1200" dirty="0">
                          <a:solidFill>
                            <a:srgbClr val="000000"/>
                          </a:solidFill>
                          <a:effectLst/>
                          <a:latin typeface="+mn-lt"/>
                          <a:ea typeface="+mj-ea"/>
                          <a:cs typeface="+mn-cs"/>
                        </a:rPr>
                        <a:t> （</a:t>
                      </a:r>
                      <a:r>
                        <a:rPr kumimoji="1" lang="en-US" altLang="ja-JP" sz="1200" b="0" i="0" u="none" strike="noStrike" kern="1200" dirty="0">
                          <a:solidFill>
                            <a:srgbClr val="000000"/>
                          </a:solidFill>
                          <a:effectLst/>
                          <a:latin typeface="+mn-lt"/>
                          <a:ea typeface="+mj-ea"/>
                          <a:cs typeface="+mn-cs"/>
                        </a:rPr>
                        <a:t>Asia Pacific</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 </a:t>
                      </a:r>
                      <a:r>
                        <a:rPr kumimoji="1" lang="en-US" altLang="ja-JP" sz="1200" b="0" i="0" u="none" strike="noStrike" kern="1200" dirty="0" err="1">
                          <a:solidFill>
                            <a:srgbClr val="000000"/>
                          </a:solidFill>
                          <a:effectLst/>
                          <a:latin typeface="+mn-lt"/>
                          <a:ea typeface="+mj-ea"/>
                          <a:cs typeface="+mn-cs"/>
                        </a:rPr>
                        <a:t>Ptd</a:t>
                      </a:r>
                      <a:r>
                        <a:rPr kumimoji="1" lang="en-US" altLang="ja-JP" sz="1200" b="0" i="0" u="none" strike="noStrike" kern="1200" dirty="0">
                          <a:solidFill>
                            <a:srgbClr val="000000"/>
                          </a:solidFill>
                          <a:effectLst/>
                          <a:latin typeface="+mn-lt"/>
                          <a:ea typeface="+mj-ea"/>
                          <a:cs typeface="+mn-cs"/>
                        </a:rPr>
                        <a:t>. Ltd.</a:t>
                      </a:r>
                      <a:endParaRPr kumimoji="1" lang="ja-JP" altLang="en-US" sz="1200" b="0" i="0" u="none" strike="noStrike" kern="1200" dirty="0">
                        <a:solidFill>
                          <a:srgbClr val="000000"/>
                        </a:solidFill>
                        <a:effectLst/>
                        <a:latin typeface="+mn-lt"/>
                        <a:ea typeface="+mj-ea"/>
                        <a:cs typeface="+mn-cs"/>
                      </a:endParaRPr>
                    </a:p>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Development Center Asia, </a:t>
                      </a:r>
                      <a:r>
                        <a:rPr kumimoji="1" lang="en-US" altLang="zh-TW" sz="1200" b="0" i="0" u="none" strike="noStrike" kern="1200" dirty="0" err="1">
                          <a:solidFill>
                            <a:srgbClr val="000000"/>
                          </a:solidFill>
                          <a:effectLst/>
                          <a:latin typeface="+mn-lt"/>
                          <a:ea typeface="+mj-ea"/>
                          <a:cs typeface="+mn-cs"/>
                        </a:rPr>
                        <a:t>Ptd</a:t>
                      </a:r>
                      <a:r>
                        <a:rPr kumimoji="1" lang="en-US" altLang="zh-TW" sz="1200" b="0" i="0" u="none" strike="noStrike" kern="1200" dirty="0">
                          <a:solidFill>
                            <a:srgbClr val="000000"/>
                          </a:solidFill>
                          <a:effectLst/>
                          <a:latin typeface="+mn-lt"/>
                          <a:ea typeface="+mj-ea"/>
                          <a:cs typeface="+mn-cs"/>
                        </a:rPr>
                        <a:t>. Ltd.</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武田薬品工業</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アジア太平洋地域の地域統括会社。</a:t>
                      </a:r>
                    </a:p>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TDC Asia</a:t>
                      </a:r>
                      <a:r>
                        <a:rPr kumimoji="1" lang="ja-JP" altLang="en-US" sz="1050" b="0" i="0" u="none" strike="noStrike" kern="1200" dirty="0">
                          <a:solidFill>
                            <a:srgbClr val="000000"/>
                          </a:solidFill>
                          <a:effectLst/>
                          <a:latin typeface="+mn-lt"/>
                          <a:ea typeface="+mj-ea"/>
                          <a:cs typeface="+mn-cs"/>
                        </a:rPr>
                        <a:t>は地域のハブとして、がん分野以外の研究開発を担当。</a:t>
                      </a:r>
                      <a:endParaRPr kumimoji="1" lang="en-US" altLang="ja-JP" sz="105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Eisai </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Singapore</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 Pte. Ltd.</a:t>
                      </a:r>
                    </a:p>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Eisai Clinical Research Singapore </a:t>
                      </a:r>
                      <a:r>
                        <a:rPr kumimoji="1" lang="en-US" altLang="zh-TW" sz="1200" b="0" i="0" u="none" strike="noStrike" kern="1200" dirty="0" err="1">
                          <a:solidFill>
                            <a:srgbClr val="000000"/>
                          </a:solidFill>
                          <a:effectLst/>
                          <a:latin typeface="+mn-lt"/>
                          <a:ea typeface="+mj-ea"/>
                          <a:cs typeface="+mn-cs"/>
                        </a:rPr>
                        <a:t>Ptd</a:t>
                      </a:r>
                      <a:r>
                        <a:rPr kumimoji="1" lang="en-US" altLang="zh-TW" sz="1200" b="0" i="0" u="none" strike="noStrike" kern="1200" dirty="0">
                          <a:solidFill>
                            <a:srgbClr val="000000"/>
                          </a:solidFill>
                          <a:effectLst/>
                          <a:latin typeface="+mn-lt"/>
                          <a:ea typeface="+mj-ea"/>
                          <a:cs typeface="+mn-cs"/>
                        </a:rPr>
                        <a:t>. Ltd.</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エーザイ</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販売。</a:t>
                      </a:r>
                    </a:p>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Otsuka Pharmaceutical </a:t>
                      </a:r>
                      <a:r>
                        <a:rPr lang="ja-JP" altLang="en-US" sz="1200" dirty="0"/>
                        <a:t>（</a:t>
                      </a:r>
                      <a:r>
                        <a:rPr lang="en-US" altLang="ja-JP" sz="1200" dirty="0"/>
                        <a:t>Singapore</a:t>
                      </a:r>
                      <a:r>
                        <a:rPr lang="ja-JP" altLang="en-US" sz="1200" dirty="0"/>
                        <a:t>）</a:t>
                      </a:r>
                      <a:endParaRPr lang="en-US" altLang="ja-JP"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大塚ホールディングス</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8</a:t>
                      </a:r>
                      <a:r>
                        <a:rPr kumimoji="1" lang="ja-JP" altLang="en-US" sz="1050" b="0" i="0" u="none" strike="noStrike" kern="1200" dirty="0">
                          <a:solidFill>
                            <a:srgbClr val="000000"/>
                          </a:solidFill>
                          <a:effectLst/>
                          <a:latin typeface="+mn-lt"/>
                          <a:ea typeface="+mj-ea"/>
                          <a:cs typeface="+mn-cs"/>
                        </a:rPr>
                        <a:t>年設立。販売代理店のサポートが中心。</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it-IT" altLang="ja-JP" sz="1200" dirty="0"/>
                        <a:t>DAIICHI SANKYO Singapore Pte. Ltd.</a:t>
                      </a:r>
                      <a:endParaRPr lang="en-US" altLang="ja-JP"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第一三共</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開発及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0537855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Astellas Pharma Singapore Pt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アステラス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386657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dirty="0">
                          <a:solidFill>
                            <a:srgbClr val="000000"/>
                          </a:solidFill>
                          <a:effectLst/>
                          <a:latin typeface="Arial" panose="020B0604020202020204" pitchFamily="34" charset="0"/>
                          <a:ea typeface="+mn-ea"/>
                          <a:cs typeface="Arial" panose="020B0604020202020204" pitchFamily="34" charset="0"/>
                        </a:rPr>
                        <a:t>Sumitomo Pharma Asia Pacific Pte Ltd</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chemeClr val="dk1"/>
                          </a:solidFill>
                          <a:effectLst/>
                          <a:latin typeface="Arial" panose="020B0604020202020204" pitchFamily="34" charset="0"/>
                          <a:ea typeface="+mn-ea"/>
                          <a:cs typeface="Arial" panose="020B0604020202020204" pitchFamily="34" charset="0"/>
                        </a:rPr>
                        <a:t>住友</a:t>
                      </a:r>
                      <a:r>
                        <a:rPr kumimoji="1" lang="ja-JP" altLang="en-US" sz="1200" b="0" i="0" u="none" strike="noStrike" kern="1200" noProof="1">
                          <a:solidFill>
                            <a:schemeClr val="dk1"/>
                          </a:solidFill>
                          <a:effectLst/>
                          <a:latin typeface="Arial" panose="020B0604020202020204" pitchFamily="34" charset="0"/>
                          <a:ea typeface="+mn-ea"/>
                          <a:cs typeface="Arial" panose="020B0604020202020204" pitchFamily="34" charset="0"/>
                        </a:rPr>
                        <a:t>ファーマ</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腫瘍学、精神医学、神経学、女性の健康問題、泌尿器疾患などの分野に焦点を当てた製薬会社</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en-US" altLang="ja-JP"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3564555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dirty="0">
                          <a:solidFill>
                            <a:srgbClr val="000000"/>
                          </a:solidFill>
                          <a:effectLst/>
                          <a:latin typeface="Arial" panose="020B0604020202020204" pitchFamily="34" charset="0"/>
                          <a:ea typeface="+mn-ea"/>
                          <a:cs typeface="Arial" panose="020B0604020202020204" pitchFamily="34" charset="0"/>
                        </a:rPr>
                        <a:t>Shionogi Singapore Pte Ltd</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chemeClr val="dk1"/>
                          </a:solidFill>
                          <a:effectLst/>
                          <a:latin typeface="Arial" panose="020B0604020202020204" pitchFamily="34" charset="0"/>
                          <a:ea typeface="+mn-ea"/>
                          <a:cs typeface="Arial" panose="020B0604020202020204" pitchFamily="34" charset="0"/>
                        </a:rPr>
                        <a:t>塩野義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クレストールの開発で知られる製薬会社</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である</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a:t>
                      </a:r>
                      <a:r>
                        <a:rPr kumimoji="1" lang="en-US" altLang="ja-JP" sz="1050" b="0" i="0" u="none" strike="noStrike" kern="1200" dirty="0">
                          <a:solidFill>
                            <a:schemeClr val="dk1"/>
                          </a:solidFill>
                          <a:effectLst/>
                          <a:latin typeface="Arial" panose="020B0604020202020204" pitchFamily="34" charset="0"/>
                          <a:ea typeface="+mn-ea"/>
                          <a:cs typeface="Arial" panose="020B0604020202020204" pitchFamily="34" charset="0"/>
                        </a:rPr>
                        <a:t> </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抗菌薬や抗生物質の生産を行っている</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2520422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cs typeface="Arial" panose="020B0604020202020204" pitchFamily="34" charset="0"/>
                        </a:rPr>
                        <a:t>Kyowa Kirin Asia Pacific Pt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協和キリン</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kern="1200" noProof="1">
                          <a:solidFill>
                            <a:schemeClr val="dk1"/>
                          </a:solidFill>
                          <a:effectLst/>
                          <a:latin typeface="Arial" panose="020B0604020202020204" pitchFamily="34" charset="0"/>
                          <a:ea typeface="+mn-ea"/>
                          <a:cs typeface="Arial" panose="020B0604020202020204" pitchFamily="34" charset="0"/>
                        </a:rPr>
                        <a:t>腎臓、がん、免疫・アレルギー、中枢神経系の4つの領域でテクノロジーを活用する製薬会社</a:t>
                      </a:r>
                      <a:r>
                        <a:rPr kumimoji="1" lang="ja-JP" altLang="en-US" sz="1050" b="0" i="0" kern="1200" noProof="1">
                          <a:solidFill>
                            <a:schemeClr val="dk1"/>
                          </a:solidFill>
                          <a:effectLst/>
                          <a:latin typeface="Arial" panose="020B0604020202020204" pitchFamily="34" charset="0"/>
                          <a:ea typeface="+mn-ea"/>
                          <a:cs typeface="Arial" panose="020B0604020202020204" pitchFamily="34" charset="0"/>
                        </a:rPr>
                        <a:t>。</a:t>
                      </a:r>
                      <a:endPar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78614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cs typeface="Arial" panose="020B0604020202020204" pitchFamily="34" charset="0"/>
                        </a:rPr>
                        <a:t>Chugai Pharmaceutical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chemeClr val="dk1"/>
                          </a:solidFill>
                          <a:effectLst/>
                          <a:latin typeface="Arial" panose="020B0604020202020204" pitchFamily="34" charset="0"/>
                          <a:ea typeface="+mn-ea"/>
                          <a:cs typeface="Arial" panose="020B0604020202020204" pitchFamily="34" charset="0"/>
                        </a:rPr>
                        <a:t>中外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主な事業内容</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は</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医薬品の研究開発、製造、販売、輸出入</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94715178"/>
                  </a:ext>
                </a:extLst>
              </a:tr>
            </a:tbl>
          </a:graphicData>
        </a:graphic>
      </p:graphicFrame>
      <p:sp>
        <p:nvSpPr>
          <p:cNvPr id="11" name="テキスト ボックス 10"/>
          <p:cNvSpPr txBox="1"/>
          <p:nvPr/>
        </p:nvSpPr>
        <p:spPr>
          <a:xfrm>
            <a:off x="200472" y="1052736"/>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主要な医薬品メーカーの中には、販売拠点のほか研究開発拠点を持っているところ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cs typeface="Arial" panose="020B0604020202020204" pitchFamily="34" charset="0"/>
              </a:rPr>
              <a:t>シンガポール市場はアジア圏の他国の市場と強い繋がりがある。これは細分化されたアジア市場の規制環境を理解するのに役立つため、シンガポール市場は日本の製薬企業にとって魅力がある</a:t>
            </a:r>
            <a:r>
              <a:rPr lang="ja-JP" altLang="en-US" sz="1400" noProof="1">
                <a:solidFill>
                  <a:srgbClr val="282828"/>
                </a:solidFill>
                <a:latin typeface="Arial" panose="020B0604020202020204" pitchFamily="34" charset="0"/>
                <a:cs typeface="Arial" panose="020B0604020202020204" pitchFamily="34" charset="0"/>
              </a:rPr>
              <a:t>。</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9"/>
          <p:cNvSpPr txBox="1"/>
          <p:nvPr/>
        </p:nvSpPr>
        <p:spPr>
          <a:xfrm>
            <a:off x="5529062" y="2058517"/>
            <a:ext cx="4176464" cy="205210"/>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0025" y="659327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1">
            <a:extLst>
              <a:ext uri="{FF2B5EF4-FFF2-40B4-BE49-F238E27FC236}">
                <a16:creationId xmlns:a16="http://schemas.microsoft.com/office/drawing/2014/main" id="{1847FB9C-571D-411F-9DAB-A56D2D68FB8F}"/>
              </a:ext>
            </a:extLst>
          </p:cNvPr>
          <p:cNvSpPr txBox="1"/>
          <p:nvPr/>
        </p:nvSpPr>
        <p:spPr>
          <a:xfrm>
            <a:off x="128464" y="6366520"/>
            <a:ext cx="6537794" cy="2308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sz="900" noProof="1">
                <a:latin typeface="Arial" panose="020B0604020202020204" pitchFamily="34" charset="0"/>
                <a:cs typeface="Arial" panose="020B0604020202020204" pitchFamily="34" charset="0"/>
              </a:rPr>
              <a:t>* 中外製薬はホフマン・ラ・ロシュ</a:t>
            </a:r>
            <a:r>
              <a:rPr lang="ja-JP" altLang="en-US" sz="900" noProof="1">
                <a:latin typeface="Arial" panose="020B0604020202020204" pitchFamily="34" charset="0"/>
                <a:cs typeface="Arial" panose="020B0604020202020204" pitchFamily="34" charset="0"/>
              </a:rPr>
              <a:t>の</a:t>
            </a:r>
            <a:r>
              <a:rPr lang="en-US" sz="900" noProof="1">
                <a:latin typeface="Arial" panose="020B0604020202020204" pitchFamily="34" charset="0"/>
                <a:cs typeface="Arial" panose="020B0604020202020204" pitchFamily="34" charset="0"/>
              </a:rPr>
              <a:t>子会社であり、ホフマン・ラ・ロシュは2014年6月30日現在、中外製薬の株式62%を保有してい</a:t>
            </a:r>
            <a:r>
              <a:rPr lang="ja-JP" altLang="en-US" sz="900" noProof="1">
                <a:latin typeface="Arial" panose="020B0604020202020204" pitchFamily="34" charset="0"/>
                <a:cs typeface="Arial" panose="020B0604020202020204" pitchFamily="34" charset="0"/>
              </a:rPr>
              <a:t>る</a:t>
            </a:r>
            <a:r>
              <a:rPr lang="en-US" sz="900" noProof="1">
                <a:latin typeface="Arial" panose="020B0604020202020204" pitchFamily="34" charset="0"/>
                <a:cs typeface="Arial" panose="020B0604020202020204" pitchFamily="34" charset="0"/>
              </a:rPr>
              <a:t>。</a:t>
            </a:r>
            <a:endParaRPr kumimoji="1" 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53485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シルバーエコノミー」市場 （高齢者医療市場）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72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世界で最も高齢化が進んでいる国の一つ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国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になる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967764"/>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255796"/>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N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nding the “silver economy”: Singapore firms build new products, services for greying popul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3F24FC80-E019-3C48-9467-77D6916B9233}"/>
              </a:ext>
            </a:extLst>
          </p:cNvPr>
          <p:cNvGraphicFramePr/>
          <p:nvPr>
            <p:custDataLst>
              <p:tags r:id="rId3"/>
            </p:custDataLst>
            <p:extLst>
              <p:ext uri="{D42A27DB-BD31-4B8C-83A1-F6EECF244321}">
                <p14:modId xmlns:p14="http://schemas.microsoft.com/office/powerpoint/2010/main" val="2299493572"/>
              </p:ext>
            </p:extLst>
          </p:nvPr>
        </p:nvGraphicFramePr>
        <p:xfrm>
          <a:off x="407988" y="2227263"/>
          <a:ext cx="8636000" cy="4070350"/>
        </p:xfrm>
        <a:graphic>
          <a:graphicData uri="http://schemas.openxmlformats.org/drawingml/2006/chart">
            <c:chart xmlns:c="http://schemas.openxmlformats.org/drawingml/2006/chart" xmlns:r="http://schemas.openxmlformats.org/officeDocument/2006/relationships" r:id="rId11"/>
          </a:graphicData>
        </a:graphic>
      </p:graphicFrame>
      <p:sp>
        <p:nvSpPr>
          <p:cNvPr id="65" name="テキスト プレースホルダ 9"/>
          <p:cNvSpPr>
            <a:spLocks/>
          </p:cNvSpPr>
          <p:nvPr>
            <p:custDataLst>
              <p:tags r:id="rId4"/>
            </p:custDataLst>
          </p:nvPr>
        </p:nvSpPr>
        <p:spPr bwMode="auto">
          <a:xfrm>
            <a:off x="703263" y="615759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E9CDB-CA5B-4E64-AF95-D1E61565B685}" type="datetime'''20''''''''''''''''''18'''''''''''''''''''''''''''">
              <a:rPr lang="en-US" altLang="en-US" sz="1000" smtClean="0"/>
              <a:pPr/>
              <a:t>2018</a:t>
            </a:fld>
            <a:endParaRPr kumimoji="0" lang="ja-JP" altLang="en-US" sz="1000" dirty="0">
              <a:sym typeface="+mn-lt"/>
            </a:endParaRPr>
          </a:p>
        </p:txBody>
      </p:sp>
      <p:sp>
        <p:nvSpPr>
          <p:cNvPr id="62" name="テキスト プレースホルダ 9"/>
          <p:cNvSpPr>
            <a:spLocks/>
          </p:cNvSpPr>
          <p:nvPr>
            <p:custDataLst>
              <p:tags r:id="rId5"/>
            </p:custDataLst>
          </p:nvPr>
        </p:nvSpPr>
        <p:spPr bwMode="auto">
          <a:xfrm>
            <a:off x="3436938"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F92EA-6C0B-4B38-B325-4E4748F16C38}" type="datetime'''''''''''''''''''''''''''''''''''''19'''''''''''''''''''''''">
              <a:rPr lang="en-US" altLang="en-US" sz="1000" smtClean="0"/>
              <a:pPr/>
              <a:t>19</a:t>
            </a:fld>
            <a:endParaRPr kumimoji="0" lang="ja-JP" altLang="en-US" sz="1000" dirty="0">
              <a:sym typeface="+mn-lt"/>
            </a:endParaRPr>
          </a:p>
        </p:txBody>
      </p:sp>
      <p:sp>
        <p:nvSpPr>
          <p:cNvPr id="93" name="テキスト プレースホルダ 9"/>
          <p:cNvSpPr>
            <a:spLocks/>
          </p:cNvSpPr>
          <p:nvPr>
            <p:custDataLst>
              <p:tags r:id="rId6"/>
            </p:custDataLst>
          </p:nvPr>
        </p:nvSpPr>
        <p:spPr bwMode="auto">
          <a:xfrm>
            <a:off x="6100763"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A2F56-6A87-48FF-9DD9-7D800268B8D8}" type="datetime'''''''2''''''0'''''">
              <a:rPr lang="en-US" altLang="en-US" sz="1000" smtClean="0"/>
              <a:pPr/>
              <a:t>20</a:t>
            </a:fld>
            <a:endParaRPr kumimoji="0" lang="ja-JP" altLang="en-US" sz="1000" dirty="0">
              <a:sym typeface="+mn-lt"/>
            </a:endParaRPr>
          </a:p>
        </p:txBody>
      </p:sp>
      <p:sp>
        <p:nvSpPr>
          <p:cNvPr id="95" name="テキスト プレースホルダ 9"/>
          <p:cNvSpPr>
            <a:spLocks/>
          </p:cNvSpPr>
          <p:nvPr>
            <p:custDataLst>
              <p:tags r:id="rId7"/>
            </p:custDataLst>
          </p:nvPr>
        </p:nvSpPr>
        <p:spPr bwMode="auto">
          <a:xfrm>
            <a:off x="8764588"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622972-87EB-466A-9DB8-268B5CAB0181}" type="datetime'''''''''''''''2''''''''''''''''''''''''''1'''''''''''''''">
              <a:rPr lang="en-US" altLang="en-US" sz="1000" smtClean="0"/>
              <a:pPr/>
              <a:t>21</a:t>
            </a:fld>
            <a:endParaRPr kumimoji="0" lang="ja-JP" altLang="en-US" sz="1000" dirty="0">
              <a:sym typeface="+mn-lt"/>
            </a:endParaRPr>
          </a:p>
        </p:txBody>
      </p:sp>
    </p:spTree>
    <p:extLst>
      <p:ext uri="{BB962C8B-B14F-4D97-AF65-F5344CB8AC3E}">
        <p14:creationId xmlns:p14="http://schemas.microsoft.com/office/powerpoint/2010/main" val="3134740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歯科用消耗品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と評価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994528499"/>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100" dirty="0">
                          <a:solidFill>
                            <a:schemeClr val="tx1"/>
                          </a:solidFill>
                        </a:rPr>
                        <a:t>41.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28.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834040623"/>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a:t>
                      </a:r>
                      <a:endParaRPr lang="en-US" altLang="ja-JP" sz="12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B9EA1FC3-0F05-494B-A4BB-FF01F0017B6D}"/>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440656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E0AFD1-A865-4489-91C7-40225E8AE42E}"/>
              </a:ext>
            </a:extLst>
          </p:cNvPr>
          <p:cNvGraphicFramePr>
            <a:graphicFrameLocks/>
          </p:cNvGraphicFramePr>
          <p:nvPr>
            <p:custDataLst>
              <p:tags r:id="rId1"/>
            </p:custDataLst>
            <p:extLst>
              <p:ext uri="{D42A27DB-BD31-4B8C-83A1-F6EECF244321}">
                <p14:modId xmlns:p14="http://schemas.microsoft.com/office/powerpoint/2010/main" val="71114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 name="Object 2" hidden="1">
                        <a:extLst>
                          <a:ext uri="{FF2B5EF4-FFF2-40B4-BE49-F238E27FC236}">
                            <a16:creationId xmlns:a16="http://schemas.microsoft.com/office/drawing/2014/main" id="{01E0AFD1-A865-4489-91C7-40225E8AE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34228983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6E13761-2E5B-492A-BABE-8CB21D68A473}"/>
              </a:ext>
            </a:extLst>
          </p:cNvPr>
          <p:cNvSpPr/>
          <p:nvPr/>
        </p:nvSpPr>
        <p:spPr>
          <a:xfrm>
            <a:off x="4664968" y="3194277"/>
            <a:ext cx="4962820" cy="3592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94C006E6-AD24-497F-868F-1EC6B0F46C24}"/>
              </a:ext>
            </a:extLst>
          </p:cNvPr>
          <p:cNvSpPr/>
          <p:nvPr/>
        </p:nvSpPr>
        <p:spPr>
          <a:xfrm>
            <a:off x="4664968" y="2902389"/>
            <a:ext cx="4962820" cy="227541"/>
          </a:xfrm>
          <a:prstGeom prst="rect">
            <a:avLst/>
          </a:prstGeom>
          <a:solidFill>
            <a:srgbClr val="AFCDE0"/>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A4975F4C-2B4F-40EB-A66A-D2A9CCB85AB0}"/>
              </a:ext>
            </a:extLst>
          </p:cNvPr>
          <p:cNvSpPr/>
          <p:nvPr/>
        </p:nvSpPr>
        <p:spPr>
          <a:xfrm>
            <a:off x="4665074" y="2618451"/>
            <a:ext cx="4960406" cy="199397"/>
          </a:xfrm>
          <a:prstGeom prst="rect">
            <a:avLst/>
          </a:prstGeom>
          <a:solidFill>
            <a:srgbClr val="CADDEB"/>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548628733"/>
              </p:ext>
            </p:extLst>
          </p:nvPr>
        </p:nvGraphicFramePr>
        <p:xfrm>
          <a:off x="226094" y="2337872"/>
          <a:ext cx="9438944" cy="426321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474190">
                  <a:extLst>
                    <a:ext uri="{9D8B030D-6E8A-4147-A177-3AD203B41FA5}">
                      <a16:colId xmlns:a16="http://schemas.microsoft.com/office/drawing/2014/main" val="20001"/>
                    </a:ext>
                  </a:extLst>
                </a:gridCol>
                <a:gridCol w="5000070">
                  <a:extLst>
                    <a:ext uri="{9D8B030D-6E8A-4147-A177-3AD203B41FA5}">
                      <a16:colId xmlns:a16="http://schemas.microsoft.com/office/drawing/2014/main" val="20002"/>
                    </a:ext>
                  </a:extLst>
                </a:gridCol>
              </a:tblGrid>
              <a:tr h="242524">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シンガポー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1489">
                <a:tc rowSpan="2">
                  <a:txBody>
                    <a:bodyPr/>
                    <a:lstStyle/>
                    <a:p>
                      <a:pPr rtl="0"/>
                      <a:r>
                        <a:rPr lang="ja" altLang="ja-JP" sz="1050" b="1" dirty="0"/>
                        <a:t>デジタル</a:t>
                      </a:r>
                      <a:br>
                        <a:rPr lang="en-US" altLang="ja" sz="1050" b="1" dirty="0"/>
                      </a:br>
                      <a:r>
                        <a:rPr lang="ja" altLang="ja-JP" sz="1050" b="1" dirty="0"/>
                        <a:t>インフラ</a:t>
                      </a:r>
                      <a:endParaRPr lang="ja" altLang="en-US" sz="105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携帯電話の契約数 （</a:t>
                      </a:r>
                      <a:r>
                        <a:rPr lang="en-US" altLang="ja-JP" sz="1100" dirty="0"/>
                        <a:t>100</a:t>
                      </a:r>
                      <a:r>
                        <a:rPr lang="ja-JP" altLang="en-US" sz="1100" dirty="0"/>
                        <a:t>人あたり）</a:t>
                      </a:r>
                      <a:endParaRPr kumimoji="1" lang="ja-JP" altLang="en-US" sz="1100" kern="1200" dirty="0">
                        <a:solidFill>
                          <a:srgbClr val="000000"/>
                        </a:solidFill>
                        <a:latin typeface="+mn-lt"/>
                        <a:ea typeface="ＭＳ Ｐゴシック" charset="-128"/>
                        <a:cs typeface="Arial" pitchFamily="34" charset="0"/>
                      </a:endParaRPr>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15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585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固定ブロードバンドの契約数（</a:t>
                      </a:r>
                      <a:r>
                        <a:rPr lang="en-US" altLang="ja-JP" sz="1100" dirty="0"/>
                        <a:t>100</a:t>
                      </a:r>
                      <a:r>
                        <a:rPr lang="ja-JP" altLang="en-US" sz="1100" dirty="0"/>
                        <a:t>人あたり）</a:t>
                      </a:r>
                      <a:endParaRPr lang="en-GB" altLang="ja-JP" sz="1100" dirty="0"/>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37.3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83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ケイパビリティ</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100" dirty="0"/>
                        <a:t>GDP</a:t>
                      </a:r>
                      <a:r>
                        <a:rPr lang="ja-JP" altLang="en-US" sz="1100" dirty="0"/>
                        <a:t>比での研究・開発支出（％）</a:t>
                      </a:r>
                      <a:endParaRPr lang="en-GB" altLang="ja-JP" sz="1100" dirty="0"/>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2.1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802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の</a:t>
                      </a:r>
                      <a:br>
                        <a:rPr lang="en-US" altLang="ja-JP" sz="1050" b="1" dirty="0"/>
                      </a:br>
                      <a:r>
                        <a:rPr lang="ja-JP" altLang="en-US" sz="1050" b="1" dirty="0"/>
                        <a:t>ガバナンス</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に関する政策の有無と予算の投下状況</a:t>
                      </a:r>
                      <a:endParaRPr lang="en-GB" altLang="ja-JP" sz="10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1000" dirty="0"/>
                        <a:t>2014</a:t>
                      </a:r>
                      <a:r>
                        <a:rPr lang="ja-JP" altLang="en-US" sz="1000" dirty="0"/>
                        <a:t>年に発表されたスマート・ネーション構想の重点分野の一つと健康が挙げられ、保健省および</a:t>
                      </a:r>
                      <a:r>
                        <a:rPr kumimoji="1" lang="ja-JP" altLang="en-US" sz="1000" kern="1200" dirty="0">
                          <a:solidFill>
                            <a:schemeClr val="dk1"/>
                          </a:solidFill>
                          <a:latin typeface="+mn-lt"/>
                          <a:ea typeface="+mn-ea"/>
                          <a:cs typeface="+mn-cs"/>
                        </a:rPr>
                        <a:t>統合型医療情報システム（</a:t>
                      </a:r>
                      <a:r>
                        <a:rPr lang="en-US" altLang="ja-JP" sz="1000" dirty="0" err="1"/>
                        <a:t>IHiS</a:t>
                      </a:r>
                      <a:r>
                        <a:rPr kumimoji="1" lang="en-US" altLang="ja-JP" sz="1000" kern="1200" dirty="0">
                          <a:solidFill>
                            <a:schemeClr val="dk1"/>
                          </a:solidFill>
                          <a:latin typeface="+mn-lt"/>
                          <a:ea typeface="+mn-ea"/>
                          <a:cs typeface="+mn-cs"/>
                        </a:rPr>
                        <a:t>: Integrated Health Information Systems</a:t>
                      </a:r>
                      <a:r>
                        <a:rPr kumimoji="1" lang="ja-JP" altLang="en-US" sz="1000" kern="1200" dirty="0">
                          <a:solidFill>
                            <a:schemeClr val="dk1"/>
                          </a:solidFill>
                          <a:latin typeface="+mn-lt"/>
                          <a:ea typeface="+mn-ea"/>
                          <a:cs typeface="+mn-cs"/>
                        </a:rPr>
                        <a:t>）によってヘル</a:t>
                      </a:r>
                      <a:r>
                        <a:rPr lang="ja-JP" altLang="en-US" sz="1000" dirty="0"/>
                        <a:t>ス</a:t>
                      </a:r>
                      <a:r>
                        <a:rPr lang="en-US" altLang="ja-JP" sz="1000" dirty="0"/>
                        <a:t>IT</a:t>
                      </a:r>
                      <a:r>
                        <a:rPr lang="ja-JP" altLang="en-US" sz="1000" dirty="0"/>
                        <a:t>マスタープランが策定・実行されている。デジタルヘルスに関する予算の総額は不明だが、例として次世代</a:t>
                      </a:r>
                      <a:r>
                        <a:rPr lang="en-US" altLang="ja-JP" sz="1000" dirty="0"/>
                        <a:t>EMR</a:t>
                      </a:r>
                      <a:r>
                        <a:rPr lang="ja-JP" altLang="en-US" sz="1000" dirty="0"/>
                        <a:t>や</a:t>
                      </a:r>
                      <a:r>
                        <a:rPr lang="en-US" altLang="ja-JP" sz="1000" dirty="0"/>
                        <a:t>NEHR</a:t>
                      </a:r>
                      <a:r>
                        <a:rPr lang="ja-JP" altLang="en-US" sz="1000" dirty="0"/>
                        <a:t>の導入に向けて</a:t>
                      </a:r>
                      <a:r>
                        <a:rPr lang="en-US" altLang="ja-JP" sz="1000" dirty="0"/>
                        <a:t>600</a:t>
                      </a:r>
                      <a:r>
                        <a:rPr lang="ja-JP" altLang="en-US" sz="1000" dirty="0"/>
                        <a:t>億円以上の予算が見込ま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6009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ポリシー</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データの所有権、アクセス、共有を管理し、個人のプライバシーを保護する法律の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Personal Data Protection Act 2012</a:t>
                      </a:r>
                      <a:r>
                        <a:rPr lang="ja-JP" altLang="en-US" sz="1000" dirty="0"/>
                        <a:t>が</a:t>
                      </a:r>
                      <a:r>
                        <a:rPr lang="en-US" altLang="ja-JP" sz="1000" dirty="0"/>
                        <a:t>2014</a:t>
                      </a:r>
                      <a:r>
                        <a:rPr lang="ja-JP" altLang="en-US" sz="1000" dirty="0"/>
                        <a:t>年に全面施行、</a:t>
                      </a:r>
                      <a:r>
                        <a:rPr lang="en-US" altLang="ja-JP" sz="1000" dirty="0"/>
                        <a:t>2021</a:t>
                      </a:r>
                      <a:r>
                        <a:rPr lang="ja-JP" altLang="en-US" sz="1000" dirty="0"/>
                        <a:t>年に改正・施行されている。</a:t>
                      </a:r>
                      <a:r>
                        <a:rPr lang="en-US" altLang="ja-JP" sz="1000" dirty="0"/>
                        <a:t>NEHR</a:t>
                      </a:r>
                      <a:r>
                        <a:rPr lang="ja-JP" altLang="en-US" sz="1000" dirty="0"/>
                        <a:t>に集められているデジタルヘルスデータに関しては、医療分野の</a:t>
                      </a:r>
                      <a:r>
                        <a:rPr lang="en-US" altLang="ja-JP" sz="1000" dirty="0"/>
                        <a:t>IT</a:t>
                      </a:r>
                      <a:r>
                        <a:rPr lang="ja-JP" altLang="en-US" sz="1000" dirty="0"/>
                        <a:t>化を推進している</a:t>
                      </a:r>
                      <a:r>
                        <a:rPr lang="en-US" altLang="ja-JP" sz="1000" dirty="0" err="1"/>
                        <a:t>IHiS</a:t>
                      </a:r>
                      <a:r>
                        <a:rPr lang="ja-JP" altLang="en-US" sz="1000" dirty="0"/>
                        <a:t>が管理しており、二次利用についての検討も進め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21592">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ケイパビリティ</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研修中医療従事者向けのデジタルヘルス関連のカリキュラム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National</a:t>
                      </a:r>
                      <a:r>
                        <a:rPr lang="ja-JP" altLang="en-US" sz="1000" dirty="0"/>
                        <a:t> </a:t>
                      </a:r>
                      <a:r>
                        <a:rPr lang="en-US" altLang="ja-JP" sz="1000" dirty="0"/>
                        <a:t>University</a:t>
                      </a:r>
                      <a:r>
                        <a:rPr lang="ja-JP" altLang="en-US" sz="1000" dirty="0"/>
                        <a:t> </a:t>
                      </a:r>
                      <a:r>
                        <a:rPr lang="en-US" altLang="ja-JP" sz="1000" dirty="0"/>
                        <a:t>of</a:t>
                      </a:r>
                      <a:r>
                        <a:rPr lang="ja-JP" altLang="en-US" sz="1000" dirty="0"/>
                        <a:t> </a:t>
                      </a:r>
                      <a:r>
                        <a:rPr lang="en-US" altLang="ja-JP" sz="1000" dirty="0"/>
                        <a:t>Singapore</a:t>
                      </a:r>
                      <a:r>
                        <a:rPr lang="ja-JP" altLang="en-US" sz="1000" dirty="0"/>
                        <a:t>では、医師向けの継続教育の一環として</a:t>
                      </a:r>
                      <a:r>
                        <a:rPr lang="en-US" altLang="ja-JP" sz="1000" dirty="0"/>
                        <a:t>Health Information Technology</a:t>
                      </a:r>
                      <a:r>
                        <a:rPr lang="ja-JP" altLang="en-US" sz="1000" dirty="0"/>
                        <a:t>が主要項目に位置付けら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215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a:t>
                      </a:r>
                      <a:r>
                        <a:rPr lang="en-US" altLang="ja-JP" sz="1000" dirty="0"/>
                        <a:t>/</a:t>
                      </a:r>
                      <a:r>
                        <a:rPr lang="ja-JP" altLang="en-US" sz="1000" dirty="0"/>
                        <a:t>健康情報学</a:t>
                      </a:r>
                      <a:r>
                        <a:rPr lang="en-US" altLang="ja-JP" sz="1000" dirty="0"/>
                        <a:t>/</a:t>
                      </a:r>
                      <a:r>
                        <a:rPr lang="ja-JP" altLang="en-US" sz="1000" dirty="0"/>
                        <a:t>健康情報システム</a:t>
                      </a:r>
                      <a:r>
                        <a:rPr lang="en-US" altLang="ja-JP" sz="1000" dirty="0"/>
                        <a:t>/</a:t>
                      </a:r>
                      <a:r>
                        <a:rPr lang="ja-JP" altLang="en-US" sz="1000" dirty="0"/>
                        <a:t>生物医学情報学を扱う学位プログラムの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生物医学情報学の</a:t>
                      </a:r>
                      <a:r>
                        <a:rPr lang="en-US" altLang="ja-JP" sz="1000" dirty="0"/>
                        <a:t>Post-diploma</a:t>
                      </a:r>
                      <a:r>
                        <a:rPr lang="ja-JP" altLang="en-US" sz="1000" dirty="0"/>
                        <a:t>プログラムが複数のポリテクニックで開講されているほか、デジタルヘルスに関連する短期の講座はポリテクニックや医科大学でも開か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42247">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インフラ</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電子カルテ普及率</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000" b="0" kern="1200" dirty="0">
                          <a:solidFill>
                            <a:schemeClr val="tx1"/>
                          </a:solidFill>
                          <a:latin typeface="+mn-lt"/>
                          <a:ea typeface="ＭＳ Ｐゴシック" charset="-128"/>
                          <a:cs typeface="Arial" pitchFamily="34" charset="0"/>
                        </a:rPr>
                        <a:t>病院レベルでは</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近く、クリニックレベルでも</a:t>
                      </a:r>
                      <a:r>
                        <a:rPr kumimoji="1" lang="en-US" altLang="ja-JP" sz="1000" b="0" kern="1200" dirty="0">
                          <a:solidFill>
                            <a:schemeClr val="tx1"/>
                          </a:solidFill>
                          <a:latin typeface="+mn-lt"/>
                          <a:ea typeface="ＭＳ Ｐゴシック" charset="-128"/>
                          <a:cs typeface="Arial" pitchFamily="34" charset="0"/>
                        </a:rPr>
                        <a:t>80%</a:t>
                      </a:r>
                      <a:r>
                        <a:rPr kumimoji="1" lang="ja-JP" altLang="en-US" sz="1000" b="0" kern="1200" dirty="0">
                          <a:solidFill>
                            <a:schemeClr val="tx1"/>
                          </a:solidFill>
                          <a:latin typeface="+mn-lt"/>
                          <a:ea typeface="ＭＳ Ｐゴシック" charset="-128"/>
                          <a:cs typeface="Arial" pitchFamily="34" charset="0"/>
                        </a:rPr>
                        <a:t>程度と推測される。</a:t>
                      </a:r>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215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医療関連目的に使用するためのマスター患者インデックスが存在するか</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NEHR</a:t>
                      </a:r>
                      <a:r>
                        <a:rPr lang="ja-JP" altLang="en-US" sz="1000" dirty="0"/>
                        <a:t>が医療機関間の連携基盤として構築されているが、患者情報の共有についてはまだ進んでいないとさ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extLst>
              <p:ext uri="{D42A27DB-BD31-4B8C-83A1-F6EECF244321}">
                <p14:modId xmlns:p14="http://schemas.microsoft.com/office/powerpoint/2010/main" val="2833534818"/>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シンガポー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1/2</a:t>
            </a:r>
            <a:r>
              <a:rPr lang="ja-JP" altLang="en-US" dirty="0"/>
              <a:t>）</a:t>
            </a:r>
          </a:p>
        </p:txBody>
      </p:sp>
      <p:sp>
        <p:nvSpPr>
          <p:cNvPr id="4" name="テキスト プレースホルダ 1"/>
          <p:cNvSpPr txBox="1">
            <a:spLocks/>
          </p:cNvSpPr>
          <p:nvPr/>
        </p:nvSpPr>
        <p:spPr>
          <a:xfrm>
            <a:off x="290820" y="1096738"/>
            <a:ext cx="9270692"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シンガポールでは、</a:t>
            </a:r>
            <a:r>
              <a:rPr lang="en-US" altLang="ja-JP" dirty="0">
                <a:solidFill>
                  <a:srgbClr val="000000"/>
                </a:solidFill>
              </a:rPr>
              <a:t>2000</a:t>
            </a:r>
            <a:r>
              <a:rPr lang="ja-JP" altLang="en-US" dirty="0">
                <a:solidFill>
                  <a:srgbClr val="000000"/>
                </a:solidFill>
              </a:rPr>
              <a:t>年代初頭から電子医療記録を導入し、医療システムのデジタル化に取り組んでいる。</a:t>
            </a:r>
          </a:p>
          <a:p>
            <a:r>
              <a:rPr lang="en-US" altLang="ja-JP" dirty="0">
                <a:solidFill>
                  <a:srgbClr val="000000"/>
                </a:solidFill>
              </a:rPr>
              <a:t>NEHR</a:t>
            </a:r>
            <a:r>
              <a:rPr lang="ja-JP" altLang="en-US" dirty="0">
                <a:solidFill>
                  <a:srgbClr val="000000"/>
                </a:solidFill>
              </a:rPr>
              <a:t>（</a:t>
            </a:r>
            <a:r>
              <a:rPr lang="en-US" altLang="ja-JP" dirty="0">
                <a:solidFill>
                  <a:srgbClr val="000000"/>
                </a:solidFill>
              </a:rPr>
              <a:t>The National Electronic Health Record</a:t>
            </a:r>
            <a:r>
              <a:rPr lang="ja-JP" altLang="en-US" dirty="0">
                <a:solidFill>
                  <a:srgbClr val="000000"/>
                </a:solidFill>
              </a:rPr>
              <a:t>）によって公的医療機関が保持している患者の健康記録は統合管理されており、国民自身も個人の健康情報・医療記録にアクセスできるようになっ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a:t>
              </a:r>
              <a:endParaRPr lang="zh-TW" altLang="en-US" sz="14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191951" y="6655006"/>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ホームページ</a:t>
            </a:r>
          </a:p>
        </p:txBody>
      </p:sp>
    </p:spTree>
    <p:extLst>
      <p:ext uri="{BB962C8B-B14F-4D97-AF65-F5344CB8AC3E}">
        <p14:creationId xmlns:p14="http://schemas.microsoft.com/office/powerpoint/2010/main" val="845646120"/>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シンガポー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2/2</a:t>
            </a:r>
            <a:r>
              <a:rPr lang="ja-JP" altLang="en-US" dirty="0"/>
              <a:t>）</a:t>
            </a:r>
          </a:p>
        </p:txBody>
      </p:sp>
      <p:sp>
        <p:nvSpPr>
          <p:cNvPr id="4" name="テキスト プレースホルダ 1"/>
          <p:cNvSpPr txBox="1">
            <a:spLocks/>
          </p:cNvSpPr>
          <p:nvPr/>
        </p:nvSpPr>
        <p:spPr>
          <a:xfrm>
            <a:off x="290820" y="1096737"/>
            <a:ext cx="9270692" cy="4831551"/>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b="1" dirty="0">
                <a:solidFill>
                  <a:srgbClr val="000000"/>
                </a:solidFill>
              </a:rPr>
              <a:t>規制、スキーム、ポリシーについて</a:t>
            </a:r>
            <a:endParaRPr lang="en-US" altLang="ja-JP" b="1" dirty="0">
              <a:solidFill>
                <a:srgbClr val="000000"/>
              </a:solidFill>
            </a:endParaRPr>
          </a:p>
          <a:p>
            <a:r>
              <a:rPr lang="ja-JP" altLang="en-US" dirty="0">
                <a:solidFill>
                  <a:srgbClr val="000000"/>
                </a:solidFill>
              </a:rPr>
              <a:t>遠隔医療製品の規制ガイドライン：デジタルヘルス機器のメーカー、開発者、または輸入業者の以下を目的として</a:t>
            </a:r>
            <a:r>
              <a:rPr lang="en-US" altLang="ja-JP" dirty="0">
                <a:solidFill>
                  <a:srgbClr val="000000"/>
                </a:solidFill>
              </a:rPr>
              <a:t>2017</a:t>
            </a:r>
            <a:r>
              <a:rPr lang="ja-JP" altLang="en-US" dirty="0">
                <a:solidFill>
                  <a:srgbClr val="000000"/>
                </a:solidFill>
              </a:rPr>
              <a:t>年に策定された。</a:t>
            </a:r>
            <a:endParaRPr lang="en-US" altLang="ja-JP" dirty="0">
              <a:solidFill>
                <a:srgbClr val="000000"/>
              </a:solidFill>
            </a:endParaRPr>
          </a:p>
          <a:p>
            <a:pPr marL="400050" indent="-219075">
              <a:buFont typeface="+mj-lt"/>
              <a:buAutoNum type="romanLcPeriod"/>
            </a:pPr>
            <a:r>
              <a:rPr lang="ja-JP" altLang="en-US" dirty="0">
                <a:solidFill>
                  <a:srgbClr val="000000"/>
                </a:solidFill>
              </a:rPr>
              <a:t>デバイス、ソフトウェア、またはアプリが </a:t>
            </a:r>
            <a:r>
              <a:rPr lang="en-US" altLang="ja-JP" dirty="0">
                <a:solidFill>
                  <a:srgbClr val="000000"/>
                </a:solidFill>
              </a:rPr>
              <a:t>HSA</a:t>
            </a:r>
            <a:r>
              <a:rPr lang="ja-JP" altLang="en-US" dirty="0">
                <a:solidFill>
                  <a:srgbClr val="000000"/>
                </a:solidFill>
              </a:rPr>
              <a:t>の規制に則っている医療機器であるかどうかを判断</a:t>
            </a:r>
            <a:endParaRPr lang="en-US" altLang="ja-JP" dirty="0">
              <a:solidFill>
                <a:srgbClr val="000000"/>
              </a:solidFill>
            </a:endParaRPr>
          </a:p>
          <a:p>
            <a:pPr marL="400050" indent="-219075">
              <a:buFont typeface="+mj-lt"/>
              <a:buAutoNum type="romanLcPeriod"/>
            </a:pPr>
            <a:r>
              <a:rPr lang="ja-JP" altLang="en-US" dirty="0">
                <a:solidFill>
                  <a:srgbClr val="000000"/>
                </a:solidFill>
              </a:rPr>
              <a:t>関連する規制要件を理解</a:t>
            </a:r>
            <a:endParaRPr lang="en-US" altLang="ja-JP" dirty="0">
              <a:solidFill>
                <a:srgbClr val="000000"/>
              </a:solidFill>
            </a:endParaRPr>
          </a:p>
          <a:p>
            <a:r>
              <a:rPr lang="ja-JP" altLang="en-US" dirty="0">
                <a:solidFill>
                  <a:srgbClr val="000000"/>
                </a:solidFill>
              </a:rPr>
              <a:t>機器開発相談スキーム （</a:t>
            </a:r>
            <a:r>
              <a:rPr lang="en-US" altLang="ja-JP" dirty="0">
                <a:solidFill>
                  <a:srgbClr val="000000"/>
                </a:solidFill>
              </a:rPr>
              <a:t>Device Development Consultation Scheme</a:t>
            </a:r>
            <a:r>
              <a:rPr lang="ja-JP" altLang="en-US" dirty="0"/>
              <a:t>） ：このスキームの下で、デジタルヘルス機器、ソフトウェア、アプリ、</a:t>
            </a:r>
            <a:r>
              <a:rPr lang="en-US" altLang="ja-JP" dirty="0"/>
              <a:t>AI</a:t>
            </a:r>
            <a:r>
              <a:rPr lang="ja-JP" altLang="en-US" dirty="0"/>
              <a:t>ソリューションの研究者、開発者、メーカーは</a:t>
            </a:r>
            <a:r>
              <a:rPr lang="en-US" altLang="ja-JP" dirty="0"/>
              <a:t>HSA</a:t>
            </a:r>
            <a:r>
              <a:rPr lang="ja-JP" altLang="en-US" dirty="0"/>
              <a:t>に助言を求めることができる。</a:t>
            </a:r>
            <a:r>
              <a:rPr lang="en-US" altLang="ja-JP" dirty="0"/>
              <a:t>2024</a:t>
            </a:r>
            <a:r>
              <a:rPr lang="ja-JP" altLang="en-US" dirty="0"/>
              <a:t>年</a:t>
            </a:r>
            <a:r>
              <a:rPr lang="en-US" altLang="ja-JP" dirty="0"/>
              <a:t>11</a:t>
            </a:r>
            <a:r>
              <a:rPr lang="ja-JP" altLang="en-US" dirty="0"/>
              <a:t>月までに、デジタルヘルス製品のうち</a:t>
            </a:r>
            <a:r>
              <a:rPr lang="en-US" altLang="ja-JP" dirty="0"/>
              <a:t>40%</a:t>
            </a:r>
            <a:r>
              <a:rPr lang="ja-JP" altLang="en-US" dirty="0"/>
              <a:t>は</a:t>
            </a:r>
            <a:r>
              <a:rPr lang="en-US" altLang="ja-JP" dirty="0"/>
              <a:t>HSA</a:t>
            </a:r>
            <a:r>
              <a:rPr lang="ja-JP" altLang="en-US" dirty="0"/>
              <a:t>からの助言を受けている。</a:t>
            </a:r>
            <a:endParaRPr lang="en-US" altLang="ja-JP" dirty="0"/>
          </a:p>
          <a:p>
            <a:r>
              <a:rPr lang="ja-JP" altLang="en-US" dirty="0"/>
              <a:t>ソフトウェア医療機器の規制ガイドライン：これらのガイドラインは、サイバーセキュリティやデータ整合性、データセキュリティに関連するデジタル脅威を軽減するために</a:t>
            </a:r>
            <a:r>
              <a:rPr lang="en-US" altLang="ja-JP" dirty="0"/>
              <a:t>2020</a:t>
            </a:r>
            <a:r>
              <a:rPr lang="ja-JP" altLang="en-US" dirty="0"/>
              <a:t>年</a:t>
            </a:r>
            <a:r>
              <a:rPr lang="en-US" altLang="ja-JP" dirty="0"/>
              <a:t>4</a:t>
            </a:r>
            <a:r>
              <a:rPr lang="ja-JP" altLang="en-US" dirty="0"/>
              <a:t>月に発行された。この規制ガイドラインは、医療機器のライフサイクルを通じてソフトウェアを管理するための規制要件に関するワンストップリファレンスとして機能する。</a:t>
            </a:r>
            <a:endParaRPr lang="en-US" altLang="ja-JP" dirty="0"/>
          </a:p>
          <a:p>
            <a:r>
              <a:rPr lang="ja-JP" altLang="en-US" dirty="0"/>
              <a:t>ヘルスケア分野の</a:t>
            </a:r>
            <a:r>
              <a:rPr lang="en-US" altLang="ja-JP" dirty="0"/>
              <a:t>AI</a:t>
            </a:r>
            <a:r>
              <a:rPr lang="ja-JP" altLang="en-US" dirty="0"/>
              <a:t>に関するガイドライン：地域医療における</a:t>
            </a:r>
            <a:r>
              <a:rPr lang="en-US" altLang="ja-JP" dirty="0"/>
              <a:t>AI</a:t>
            </a:r>
            <a:r>
              <a:rPr lang="ja-JP" altLang="en-US" dirty="0"/>
              <a:t>採用の増加に伴い、このガイドラインは</a:t>
            </a:r>
            <a:r>
              <a:rPr lang="en-US" altLang="ja-JP" dirty="0"/>
              <a:t>2021</a:t>
            </a:r>
            <a:r>
              <a:rPr lang="ja-JP" altLang="en-US" dirty="0"/>
              <a:t>年に保健省、</a:t>
            </a:r>
            <a:r>
              <a:rPr lang="en-US" altLang="ja-JP" dirty="0" err="1"/>
              <a:t>IHiS</a:t>
            </a:r>
            <a:r>
              <a:rPr lang="ja-JP" altLang="en-US" dirty="0"/>
              <a:t>、</a:t>
            </a:r>
            <a:r>
              <a:rPr lang="en-US" altLang="ja-JP" dirty="0"/>
              <a:t>HSA</a:t>
            </a:r>
            <a:r>
              <a:rPr lang="ja-JP" altLang="en-US" dirty="0"/>
              <a:t>によって共同開発され、</a:t>
            </a:r>
            <a:r>
              <a:rPr lang="en-US" altLang="ja-JP" dirty="0"/>
              <a:t>AI</a:t>
            </a:r>
            <a:r>
              <a:rPr lang="ja-JP" altLang="en-US" dirty="0"/>
              <a:t>医療機器の安全な開発と実装を促進するための一連の推奨事項を提供している。</a:t>
            </a:r>
            <a:endParaRPr lang="en-US" altLang="ja-JP" dirty="0"/>
          </a:p>
          <a:p>
            <a:pPr marL="361950" lvl="1" indent="-180975">
              <a:buClr>
                <a:schemeClr val="accent1">
                  <a:lumMod val="60000"/>
                  <a:lumOff val="40000"/>
                </a:schemeClr>
              </a:buClr>
              <a:buFont typeface="Wingdings" panose="05000000000000000000" pitchFamily="2" charset="2"/>
              <a:buChar char="Ø"/>
            </a:pPr>
            <a:r>
              <a:rPr lang="ja-JP" altLang="en-US" sz="1400" dirty="0"/>
              <a:t>例：</a:t>
            </a:r>
            <a:r>
              <a:rPr lang="en-US" altLang="ja-JP" sz="1400" dirty="0"/>
              <a:t>2023</a:t>
            </a:r>
            <a:r>
              <a:rPr lang="ja-JP" altLang="en-US" sz="1400" dirty="0"/>
              <a:t>年</a:t>
            </a:r>
            <a:r>
              <a:rPr lang="en-US" altLang="ja-JP" sz="1400" dirty="0"/>
              <a:t>7</a:t>
            </a:r>
            <a:r>
              <a:rPr lang="ja-JP" altLang="en-US" sz="1400" dirty="0"/>
              <a:t>月、シンガポールの主要な研究開発機関である科学技術研究庁 （</a:t>
            </a:r>
            <a:r>
              <a:rPr lang="en-US" altLang="ja-JP" sz="1400" dirty="0"/>
              <a:t>the Agency for Science, Technology and Research</a:t>
            </a:r>
            <a:r>
              <a:rPr lang="ja-JP" altLang="en-US" sz="1400" dirty="0"/>
              <a:t>）は、ヘルステック企業の</a:t>
            </a:r>
            <a:r>
              <a:rPr lang="en-US" altLang="ja-JP" sz="1400" dirty="0"/>
              <a:t>EVYD</a:t>
            </a:r>
            <a:r>
              <a:rPr lang="ja-JP" altLang="en-US" sz="1400" dirty="0"/>
              <a:t>　</a:t>
            </a:r>
            <a:r>
              <a:rPr lang="en-US" altLang="ja-JP" sz="1400" dirty="0"/>
              <a:t>Technology</a:t>
            </a:r>
            <a:r>
              <a:rPr lang="ja-JP" altLang="en-US" sz="1400" dirty="0"/>
              <a:t>との共同</a:t>
            </a:r>
            <a:r>
              <a:rPr lang="en-US" altLang="ja-JP" sz="1400" dirty="0"/>
              <a:t>AI</a:t>
            </a:r>
            <a:r>
              <a:rPr lang="ja-JP" altLang="en-US" sz="1400" dirty="0"/>
              <a:t>ラボを立ち上げた。このラボの目的は、デジタルヘルスにおける多機関、国境を越えたコラボレーションを促進することである。</a:t>
            </a:r>
            <a:endParaRPr lang="en-US" altLang="ja-JP" sz="14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ホームページ、シンガポール保健科学庁の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T 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AR, EVYD announce $8M project to support digital health collab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4468473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241526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 Business Ow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876352210"/>
              </p:ext>
            </p:extLst>
          </p:nvPr>
        </p:nvGraphicFramePr>
        <p:xfrm>
          <a:off x="210973" y="1421876"/>
          <a:ext cx="9505949" cy="5031460"/>
        </p:xfrm>
        <a:graphic>
          <a:graphicData uri="http://schemas.openxmlformats.org/drawingml/2006/table">
            <a:tbl>
              <a:tblPr firstRow="1" bandRow="1">
                <a:tableStyleId>{2D5ABB26-0587-4C30-8999-92F81FD0307C}</a:tableStyleId>
              </a:tblPr>
              <a:tblGrid>
                <a:gridCol w="445701">
                  <a:extLst>
                    <a:ext uri="{9D8B030D-6E8A-4147-A177-3AD203B41FA5}">
                      <a16:colId xmlns:a16="http://schemas.microsoft.com/office/drawing/2014/main" val="20000"/>
                    </a:ext>
                  </a:extLst>
                </a:gridCol>
                <a:gridCol w="1666732">
                  <a:extLst>
                    <a:ext uri="{9D8B030D-6E8A-4147-A177-3AD203B41FA5}">
                      <a16:colId xmlns:a16="http://schemas.microsoft.com/office/drawing/2014/main" val="20001"/>
                    </a:ext>
                  </a:extLst>
                </a:gridCol>
                <a:gridCol w="4048830">
                  <a:extLst>
                    <a:ext uri="{9D8B030D-6E8A-4147-A177-3AD203B41FA5}">
                      <a16:colId xmlns:a16="http://schemas.microsoft.com/office/drawing/2014/main" val="20002"/>
                    </a:ext>
                  </a:extLst>
                </a:gridCol>
                <a:gridCol w="3344686">
                  <a:extLst>
                    <a:ext uri="{9D8B030D-6E8A-4147-A177-3AD203B41FA5}">
                      <a16:colId xmlns:a16="http://schemas.microsoft.com/office/drawing/2014/main" val="3100871719"/>
                    </a:ext>
                  </a:extLst>
                </a:gridCol>
              </a:tblGrid>
              <a:tr h="360108">
                <a:tc>
                  <a:txBody>
                    <a:bodyPr/>
                    <a:lstStyle/>
                    <a:p>
                      <a:pPr algn="ctr" fontAlgn="ctr"/>
                      <a:r>
                        <a:rPr kumimoji="1"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81464">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mage</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30</a:t>
                      </a:r>
                      <a:r>
                        <a:rPr kumimoji="1" lang="ja-JP" altLang="en-US" sz="1200" kern="1200" dirty="0">
                          <a:solidFill>
                            <a:schemeClr val="tx1"/>
                          </a:solidFill>
                          <a:latin typeface="+mn-lt"/>
                          <a:ea typeface="+mn-ea"/>
                          <a:cs typeface="+mn-cs"/>
                        </a:rPr>
                        <a:t>分以内に</a:t>
                      </a:r>
                      <a:r>
                        <a:rPr kumimoji="1" lang="en-US" altLang="ja-JP" sz="1200" kern="1200" dirty="0">
                          <a:solidFill>
                            <a:schemeClr val="tx1"/>
                          </a:solidFill>
                          <a:latin typeface="+mn-lt"/>
                          <a:ea typeface="+mn-ea"/>
                          <a:cs typeface="+mn-cs"/>
                        </a:rPr>
                        <a:t>GP</a:t>
                      </a:r>
                      <a:r>
                        <a:rPr kumimoji="1" lang="ja-JP" altLang="en-US" sz="1200" kern="1200" dirty="0">
                          <a:solidFill>
                            <a:schemeClr val="tx1"/>
                          </a:solidFill>
                          <a:latin typeface="+mn-lt"/>
                          <a:ea typeface="+mn-ea"/>
                          <a:cs typeface="+mn-cs"/>
                        </a:rPr>
                        <a:t>とのオンライン診療を受けることができ、即日で処方薬が届く。</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homage.sg/services/telemedicine-online-doctor/</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edoc</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ビデオ診療並びに訪問診療の予約を受ける。</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時間以内に処方薬を配送。</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speedoc.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hiteCoat</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GP</a:t>
                      </a:r>
                      <a:r>
                        <a:rPr kumimoji="1" lang="ja-JP" altLang="en-US" sz="1200" kern="1200" dirty="0">
                          <a:solidFill>
                            <a:schemeClr val="tx1"/>
                          </a:solidFill>
                          <a:latin typeface="+mn-lt"/>
                          <a:ea typeface="+mn-ea"/>
                          <a:cs typeface="+mn-cs"/>
                        </a:rPr>
                        <a:t>および慢性疾患の専門医のビデオ診療を受けられる。</a:t>
                      </a:r>
                      <a:r>
                        <a:rPr kumimoji="1" lang="en-US" altLang="ja-JP" sz="1200" kern="1200" dirty="0">
                          <a:solidFill>
                            <a:schemeClr val="tx1"/>
                          </a:solidFill>
                          <a:latin typeface="+mn-lt"/>
                          <a:ea typeface="+mn-ea"/>
                          <a:cs typeface="+mn-cs"/>
                        </a:rPr>
                        <a:t>90</a:t>
                      </a:r>
                      <a:r>
                        <a:rPr kumimoji="1" lang="ja-JP" altLang="en-US" sz="1200" kern="1200" dirty="0">
                          <a:solidFill>
                            <a:schemeClr val="tx1"/>
                          </a:solidFill>
                          <a:latin typeface="+mn-lt"/>
                          <a:ea typeface="+mn-ea"/>
                          <a:cs typeface="+mn-cs"/>
                        </a:rPr>
                        <a:t>分以内に処方薬を配送。</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hitecoat.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95110">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ty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Unity</a:t>
                      </a:r>
                      <a:r>
                        <a:rPr kumimoji="1" lang="ja-JP" altLang="en-US" sz="1200" kern="1200" dirty="0">
                          <a:solidFill>
                            <a:schemeClr val="tx1"/>
                          </a:solidFill>
                          <a:latin typeface="+mn-lt"/>
                          <a:ea typeface="+mn-ea"/>
                          <a:cs typeface="+mn-cs"/>
                        </a:rPr>
                        <a:t>の店舗もしくは自分の</a:t>
                      </a:r>
                      <a:r>
                        <a:rPr kumimoji="1" lang="en-US" altLang="ja-JP" sz="1200" kern="1200" dirty="0">
                          <a:solidFill>
                            <a:schemeClr val="tx1"/>
                          </a:solidFill>
                          <a:latin typeface="+mn-lt"/>
                          <a:ea typeface="+mn-ea"/>
                          <a:cs typeface="+mn-cs"/>
                        </a:rPr>
                        <a:t>PC</a:t>
                      </a:r>
                      <a:r>
                        <a:rPr kumimoji="1" lang="ja-JP" altLang="en-US" sz="1200" kern="1200" dirty="0">
                          <a:solidFill>
                            <a:schemeClr val="tx1"/>
                          </a:solidFill>
                          <a:latin typeface="+mn-lt"/>
                          <a:ea typeface="+mn-ea"/>
                          <a:cs typeface="+mn-cs"/>
                        </a:rPr>
                        <a:t>経由などで医師のビデオ診療を受けて処方箋を発行してもらえる。薬の受け取りは</a:t>
                      </a:r>
                      <a:r>
                        <a:rPr kumimoji="1" lang="en-US" altLang="ja-JP" sz="1200" kern="1200" dirty="0">
                          <a:solidFill>
                            <a:schemeClr val="tx1"/>
                          </a:solidFill>
                          <a:latin typeface="+mn-lt"/>
                          <a:ea typeface="+mn-ea"/>
                          <a:cs typeface="+mn-cs"/>
                        </a:rPr>
                        <a:t>Unity</a:t>
                      </a:r>
                      <a:r>
                        <a:rPr kumimoji="1" lang="ja-JP" altLang="en-US" sz="1200" kern="1200" dirty="0">
                          <a:solidFill>
                            <a:schemeClr val="tx1"/>
                          </a:solidFill>
                          <a:latin typeface="+mn-lt"/>
                          <a:ea typeface="+mn-ea"/>
                          <a:cs typeface="+mn-cs"/>
                        </a:rPr>
                        <a:t>の店舗にて行う。</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unity.com.sg/unity-services/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73939341"/>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ullerton health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医師のビデオ診療を受け、処方薬を自宅に届けてもらえる。</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fullertonhealth.com/sg/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8676094"/>
                  </a:ext>
                </a:extLst>
              </a:tr>
              <a:tr h="357171">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iDoc</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専門医とのオンライン診療。</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hidoc.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2903402"/>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医師のビデオ診療を受け、処方薬を</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時間以内に自宅に配送。慢性疾患の管理のサポートも行う。</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doctoranywhere.co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543757903"/>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aDr</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で自身の症状を書き込み、舌の写真を送ると、</a:t>
                      </a: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以内に医師が診断結果をメールで送付。</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askpulsetcm.sg/</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64084134"/>
                  </a:ext>
                </a:extLst>
              </a:tr>
              <a:tr h="357171">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skPULS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中医学専門のオンライン診療。</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askpulsetc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46663602"/>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Worl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ビデオ診療を受け、</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時間以内に処方薬を配送。病欠に必要な証明書や専門医の紹介状なども発行。</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www.getcare.io/</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570300527"/>
                  </a:ext>
                </a:extLst>
              </a:tr>
            </a:tbl>
          </a:graphicData>
        </a:graphic>
      </p:graphicFrame>
      <p:sp>
        <p:nvSpPr>
          <p:cNvPr id="11" name="Rectangle 10">
            <a:extLst>
              <a:ext uri="{FF2B5EF4-FFF2-40B4-BE49-F238E27FC236}">
                <a16:creationId xmlns:a16="http://schemas.microsoft.com/office/drawing/2014/main" id="{DA3A4BAF-7D5D-43E6-8799-7715E1CADD0B}"/>
              </a:ext>
            </a:extLst>
          </p:cNvPr>
          <p:cNvSpPr>
            <a:spLocks noChangeArrowheads="1"/>
          </p:cNvSpPr>
          <p:nvPr/>
        </p:nvSpPr>
        <p:spPr bwMode="auto">
          <a:xfrm>
            <a:off x="209118" y="1105305"/>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医療関係者の組織を以下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デスクトップリサーチ、各組織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1176637849"/>
              </p:ext>
            </p:extLst>
          </p:nvPr>
        </p:nvGraphicFramePr>
        <p:xfrm>
          <a:off x="200025" y="1401181"/>
          <a:ext cx="9505056" cy="4957776"/>
        </p:xfrm>
        <a:graphic>
          <a:graphicData uri="http://schemas.openxmlformats.org/drawingml/2006/table">
            <a:tbl>
              <a:tblPr firstRow="1" bandRow="1">
                <a:tableStyleId>{2D5ABB26-0587-4C30-8999-92F81FD0307C}</a:tableStyleId>
              </a:tblPr>
              <a:tblGrid>
                <a:gridCol w="2973897">
                  <a:extLst>
                    <a:ext uri="{9D8B030D-6E8A-4147-A177-3AD203B41FA5}">
                      <a16:colId xmlns:a16="http://schemas.microsoft.com/office/drawing/2014/main" val="2753323387"/>
                    </a:ext>
                  </a:extLst>
                </a:gridCol>
                <a:gridCol w="842974">
                  <a:extLst>
                    <a:ext uri="{9D8B030D-6E8A-4147-A177-3AD203B41FA5}">
                      <a16:colId xmlns:a16="http://schemas.microsoft.com/office/drawing/2014/main" val="2083171187"/>
                    </a:ext>
                  </a:extLst>
                </a:gridCol>
                <a:gridCol w="3584607">
                  <a:extLst>
                    <a:ext uri="{9D8B030D-6E8A-4147-A177-3AD203B41FA5}">
                      <a16:colId xmlns:a16="http://schemas.microsoft.com/office/drawing/2014/main" val="402676426"/>
                    </a:ext>
                  </a:extLst>
                </a:gridCol>
                <a:gridCol w="2103578">
                  <a:extLst>
                    <a:ext uri="{9D8B030D-6E8A-4147-A177-3AD203B41FA5}">
                      <a16:colId xmlns:a16="http://schemas.microsoft.com/office/drawing/2014/main" val="3935625665"/>
                    </a:ext>
                  </a:extLst>
                </a:gridCol>
              </a:tblGrid>
              <a:tr h="11705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57533">
                <a:tc>
                  <a:txBody>
                    <a:bodyPr/>
                    <a:lstStyle/>
                    <a:p>
                      <a:r>
                        <a:rPr lang="en-US" altLang="ja-JP" sz="1400" b="1" dirty="0"/>
                        <a:t>Singapore Medical Association </a:t>
                      </a:r>
                      <a:r>
                        <a:rPr lang="ja-JP" altLang="en-US" sz="1400" b="1" dirty="0"/>
                        <a:t>シンガポール医師会</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57</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公立・民間医療機関の双方で働くほとんどの医師で組織され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sma.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657533">
                <a:tc>
                  <a:txBody>
                    <a:bodyPr/>
                    <a:lstStyle/>
                    <a:p>
                      <a:r>
                        <a:rPr lang="en-US" altLang="ja-JP" sz="1400" b="1" dirty="0"/>
                        <a:t>PSS</a:t>
                      </a:r>
                      <a:r>
                        <a:rPr lang="ja-JP" altLang="en-US" sz="1400" b="1" dirty="0"/>
                        <a:t>（</a:t>
                      </a:r>
                      <a:r>
                        <a:rPr lang="en-US" altLang="ja-JP" sz="1400" b="1" dirty="0"/>
                        <a:t>The Pharmaceutical Society of Singapore</a:t>
                      </a:r>
                      <a:r>
                        <a:rPr lang="ja-JP" altLang="en-US" sz="1400" b="1" dirty="0"/>
                        <a:t>）</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05</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シンガポールの薬剤師会。国際薬剤師・薬学連合のメンバー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pss.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6575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APMS</a:t>
                      </a:r>
                      <a:r>
                        <a:rPr lang="ja-JP" altLang="en-US" sz="1400" b="1" dirty="0"/>
                        <a:t>（</a:t>
                      </a:r>
                      <a:r>
                        <a:rPr lang="en-US" altLang="ja-JP" sz="1400" b="1" dirty="0"/>
                        <a:t>The Association of Pharmaceutical Medicine Singapore</a:t>
                      </a:r>
                      <a:r>
                        <a:rPr lang="ja-JP" altLang="en-US" sz="1400" b="1" dirty="0"/>
                        <a:t>）</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2006</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製薬会社や関連する団体に所属する医師や研究者による学会。</a:t>
                      </a:r>
                      <a:r>
                        <a:rPr kumimoji="1" lang="en-US" altLang="ja-JP" sz="1200" kern="1200" dirty="0">
                          <a:solidFill>
                            <a:schemeClr val="dk1"/>
                          </a:solidFill>
                          <a:latin typeface="+mn-lt"/>
                          <a:ea typeface="+mn-ea"/>
                          <a:cs typeface="+mn-cs"/>
                        </a:rPr>
                        <a:t>IFAPP</a:t>
                      </a:r>
                      <a:r>
                        <a:rPr kumimoji="1" lang="ja-JP" altLang="en-US" sz="1200" kern="1200" dirty="0">
                          <a:solidFill>
                            <a:schemeClr val="dk1"/>
                          </a:solidFill>
                          <a:latin typeface="+mn-lt"/>
                          <a:ea typeface="+mn-ea"/>
                          <a:cs typeface="+mn-cs"/>
                        </a:rPr>
                        <a:t>のメンバー組織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www.apmsingapore.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6575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Academy of Medicine, Singap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57</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シンガポールの医師と歯科医のための専門的かつ教育的な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ams.edu.sg/c</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5111767"/>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Singapore Medical Counc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05</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医師登録の維持、継続医学教育プログラムの監督、医師間の専門的行為と倫理の規制を担当</a:t>
                      </a:r>
                      <a:r>
                        <a:rPr kumimoji="1" lang="ja-JP" altLang="en-US" sz="1200" kern="1200" noProof="1">
                          <a:solidFill>
                            <a:schemeClr val="dk1"/>
                          </a:solidFill>
                          <a:latin typeface="+mn-lt"/>
                          <a:ea typeface="+mn-ea"/>
                          <a:cs typeface="+mn-cs"/>
                        </a:rPr>
                        <a:t>している。</a:t>
                      </a:r>
                      <a:endParaRPr kumimoji="1" lang="ja-JP" altLang="en-US" sz="1200" kern="1200" noProof="1">
                        <a:solidFill>
                          <a:schemeClr val="dk1"/>
                        </a:solidFill>
                        <a:latin typeface="Arial" panose="020B0604020202020204" pitchFamily="34" charset="0"/>
                        <a:ea typeface="+mn-ea"/>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https://www.healthprofessionals.gov.sg/smc</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20773713"/>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Medical Alumni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23</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医師、歯科医師、薬剤師、看護師、および関連する医療従事者を含む医療従事者のための組織</a:t>
                      </a:r>
                      <a:r>
                        <a:rPr kumimoji="1" lang="ja-JP" altLang="en-US" sz="1200" kern="1200" noProof="1">
                          <a:solidFill>
                            <a:schemeClr val="dk1"/>
                          </a:solidFill>
                          <a:latin typeface="Arial" panose="020B0604020202020204" pitchFamily="34" charset="0"/>
                          <a:ea typeface="+mn-ea"/>
                          <a:cs typeface="Arial" panose="020B0604020202020204" pitchFamily="34" charset="0"/>
                        </a:rPr>
                        <a:t>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mn-ea"/>
                          <a:cs typeface="Arial" panose="020B0604020202020204" pitchFamily="34" charset="0"/>
                        </a:rPr>
                        <a:t>https://www.medicalalumni.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20666762"/>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Sports Medicine Association Singap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N/A</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スポーツ医学およびスポーツ科学の専門家のための協会</a:t>
                      </a:r>
                      <a:r>
                        <a:rPr kumimoji="1" lang="ja-JP" altLang="en-US" sz="1200" kern="1200" noProof="1">
                          <a:solidFill>
                            <a:schemeClr val="dk1"/>
                          </a:solidFill>
                          <a:latin typeface="Arial" panose="020B0604020202020204" pitchFamily="34" charset="0"/>
                          <a:ea typeface="+mn-ea"/>
                          <a:cs typeface="Arial" panose="020B0604020202020204" pitchFamily="34" charset="0"/>
                        </a:rPr>
                        <a:t>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https://www.sportsmedicine.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64326501"/>
                  </a:ext>
                </a:extLst>
              </a:tr>
            </a:tbl>
          </a:graphicData>
        </a:graphic>
      </p:graphicFrame>
    </p:spTree>
    <p:extLst>
      <p:ext uri="{BB962C8B-B14F-4D97-AF65-F5344CB8AC3E}">
        <p14:creationId xmlns:p14="http://schemas.microsoft.com/office/powerpoint/2010/main" val="14083195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イベント</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デスクトップリサーチ、各組織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Table 8">
            <a:extLst>
              <a:ext uri="{FF2B5EF4-FFF2-40B4-BE49-F238E27FC236}">
                <a16:creationId xmlns:a16="http://schemas.microsoft.com/office/drawing/2014/main" id="{CF8BE9A2-C167-4563-A875-41D40E27D950}"/>
              </a:ext>
            </a:extLst>
          </p:cNvPr>
          <p:cNvGraphicFramePr>
            <a:graphicFrameLocks noGrp="1"/>
          </p:cNvGraphicFramePr>
          <p:nvPr>
            <p:extLst>
              <p:ext uri="{D42A27DB-BD31-4B8C-83A1-F6EECF244321}">
                <p14:modId xmlns:p14="http://schemas.microsoft.com/office/powerpoint/2010/main" val="3113688528"/>
              </p:ext>
            </p:extLst>
          </p:nvPr>
        </p:nvGraphicFramePr>
        <p:xfrm>
          <a:off x="349713" y="3421895"/>
          <a:ext cx="9356261" cy="3188727"/>
        </p:xfrm>
        <a:graphic>
          <a:graphicData uri="http://schemas.openxmlformats.org/drawingml/2006/table">
            <a:tbl>
              <a:tblPr firstRow="1" bandRow="1">
                <a:tableStyleId>{2D5ABB26-0587-4C30-8999-92F81FD0307C}</a:tableStyleId>
              </a:tblPr>
              <a:tblGrid>
                <a:gridCol w="1693853">
                  <a:extLst>
                    <a:ext uri="{9D8B030D-6E8A-4147-A177-3AD203B41FA5}">
                      <a16:colId xmlns:a16="http://schemas.microsoft.com/office/drawing/2014/main" val="2753323387"/>
                    </a:ext>
                  </a:extLst>
                </a:gridCol>
                <a:gridCol w="1194968">
                  <a:extLst>
                    <a:ext uri="{9D8B030D-6E8A-4147-A177-3AD203B41FA5}">
                      <a16:colId xmlns:a16="http://schemas.microsoft.com/office/drawing/2014/main" val="783939283"/>
                    </a:ext>
                  </a:extLst>
                </a:gridCol>
                <a:gridCol w="3946714">
                  <a:extLst>
                    <a:ext uri="{9D8B030D-6E8A-4147-A177-3AD203B41FA5}">
                      <a16:colId xmlns:a16="http://schemas.microsoft.com/office/drawing/2014/main" val="2808370505"/>
                    </a:ext>
                  </a:extLst>
                </a:gridCol>
                <a:gridCol w="1008112">
                  <a:extLst>
                    <a:ext uri="{9D8B030D-6E8A-4147-A177-3AD203B41FA5}">
                      <a16:colId xmlns:a16="http://schemas.microsoft.com/office/drawing/2014/main" val="2083171187"/>
                    </a:ext>
                  </a:extLst>
                </a:gridCol>
                <a:gridCol w="1512614">
                  <a:extLst>
                    <a:ext uri="{9D8B030D-6E8A-4147-A177-3AD203B41FA5}">
                      <a16:colId xmlns:a16="http://schemas.microsoft.com/office/drawing/2014/main" val="3935625665"/>
                    </a:ext>
                  </a:extLst>
                </a:gridCol>
              </a:tblGrid>
              <a:tr h="272807">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012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air</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esse Düsseldorf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事故・緊急設備、建築技術・サービス、配膳・厨房設備、通信・情報技術、歯科設備・用品、診断、消毒・処理システム、電子医療設備／医療技術、衣料・ランドリー、医薬品、リハビリテーション設備／整形外科用品等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年に一回</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icalfair-asia.com/</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4900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 Manufacturing 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esse Düsseldorf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医療技術／材料、構成要素／マイクロ、ナノ技術／生産、製造／実験システムなど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年に一回　（</a:t>
                      </a:r>
                      <a:r>
                        <a:rPr kumimoji="1" lang="en-US" altLang="ja-JP" sz="900" kern="1200" dirty="0">
                          <a:solidFill>
                            <a:schemeClr val="dk1"/>
                          </a:solidFill>
                          <a:latin typeface="+mn-lt"/>
                          <a:ea typeface="+mn-ea"/>
                          <a:cs typeface="+mn-cs"/>
                        </a:rPr>
                        <a:t>Medical Fair Asia</a:t>
                      </a:r>
                      <a:r>
                        <a:rPr kumimoji="1" lang="ja-JP" altLang="en-US" sz="900" kern="1200" dirty="0">
                          <a:solidFill>
                            <a:schemeClr val="dk1"/>
                          </a:solidFill>
                          <a:latin typeface="+mn-lt"/>
                          <a:ea typeface="+mn-ea"/>
                          <a:cs typeface="+mn-cs"/>
                        </a:rPr>
                        <a:t>と共催）</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manufacturing-asia.com/show-inf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7319353"/>
                  </a:ext>
                </a:extLst>
              </a:tr>
              <a:tr h="52628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LDEX Asia - Eldercare Exhibition &amp; Conference 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LDEX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高齢化社会に向けた医療、福祉、ヘルスケア分野における各種テクノロジー、製品、サービス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eldexasia.com/</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4308085"/>
                  </a:ext>
                </a:extLst>
              </a:tr>
              <a:tr h="8362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PE Singapore Conference &amp; Exhibition</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ternational Society for Pharmaceutical Engineering</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製薬およびバイオ製造の専門家向けに、製造施設の設計から最終製品までのベストプラクティスとサービスを紹介</a:t>
                      </a:r>
                      <a:r>
                        <a:rPr kumimoji="1" lang="ja-JP" altLang="en-US" sz="1000" kern="1200" noProof="1">
                          <a:solidFill>
                            <a:schemeClr val="dk1"/>
                          </a:solidFill>
                          <a:latin typeface="Arial" panose="020B0604020202020204" pitchFamily="34" charset="0"/>
                          <a:ea typeface="+mn-ea"/>
                          <a:cs typeface="Arial" panose="020B0604020202020204" pitchFamily="34" charset="0"/>
                        </a:rPr>
                        <a:t>する。</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https://ispe.org/singapore-affiliate/events/ispe-singapore-conference-exhibition-2024</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81041329"/>
                  </a:ext>
                </a:extLst>
              </a:tr>
              <a:tr h="54901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ingapore Health &amp; Biomedical Congress</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tional Healthcare Group</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COVID-19との共存や高齢化社会から生じる課題への取り組みなど、関連する問題に対処するための医療エコシステムの再設計と変革に焦点を当てる</a:t>
                      </a:r>
                      <a:r>
                        <a:rPr kumimoji="1" lang="ja-JP" altLang="en-US" sz="1000" kern="1200" noProof="1">
                          <a:solidFill>
                            <a:schemeClr val="dk1"/>
                          </a:solidFill>
                          <a:latin typeface="Arial" panose="020B0604020202020204" pitchFamily="34" charset="0"/>
                          <a:ea typeface="+mn-ea"/>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https://shbc.com.s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6354270"/>
                  </a:ext>
                </a:extLst>
              </a:tr>
            </a:tbl>
          </a:graphicData>
        </a:graphic>
      </p:graphicFrame>
      <p:sp>
        <p:nvSpPr>
          <p:cNvPr id="11" name="Rectangle 10">
            <a:extLst>
              <a:ext uri="{FF2B5EF4-FFF2-40B4-BE49-F238E27FC236}">
                <a16:creationId xmlns:a16="http://schemas.microsoft.com/office/drawing/2014/main" id="{D0F33A65-0E77-4A68-8614-5D606FEBDA12}"/>
              </a:ext>
            </a:extLst>
          </p:cNvPr>
          <p:cNvSpPr>
            <a:spLocks noChangeArrowheads="1"/>
          </p:cNvSpPr>
          <p:nvPr/>
        </p:nvSpPr>
        <p:spPr bwMode="auto">
          <a:xfrm>
            <a:off x="344488" y="314096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12" name="Table 11">
            <a:extLst>
              <a:ext uri="{FF2B5EF4-FFF2-40B4-BE49-F238E27FC236}">
                <a16:creationId xmlns:a16="http://schemas.microsoft.com/office/drawing/2014/main" id="{8A44F3FF-0091-41AA-8B1E-6E77B2227B16}"/>
              </a:ext>
            </a:extLst>
          </p:cNvPr>
          <p:cNvGraphicFramePr>
            <a:graphicFrameLocks noGrp="1"/>
          </p:cNvGraphicFramePr>
          <p:nvPr>
            <p:extLst>
              <p:ext uri="{D42A27DB-BD31-4B8C-83A1-F6EECF244321}">
                <p14:modId xmlns:p14="http://schemas.microsoft.com/office/powerpoint/2010/main" val="1971842359"/>
              </p:ext>
            </p:extLst>
          </p:nvPr>
        </p:nvGraphicFramePr>
        <p:xfrm>
          <a:off x="344487" y="1747140"/>
          <a:ext cx="9361487" cy="1225596"/>
        </p:xfrm>
        <a:graphic>
          <a:graphicData uri="http://schemas.openxmlformats.org/drawingml/2006/table">
            <a:tbl>
              <a:tblPr firstRow="1" bandRow="1">
                <a:tableStyleId>{2D5ABB26-0587-4C30-8999-92F81FD0307C}</a:tableStyleId>
              </a:tblPr>
              <a:tblGrid>
                <a:gridCol w="2928978">
                  <a:extLst>
                    <a:ext uri="{9D8B030D-6E8A-4147-A177-3AD203B41FA5}">
                      <a16:colId xmlns:a16="http://schemas.microsoft.com/office/drawing/2014/main" val="2753323387"/>
                    </a:ext>
                  </a:extLst>
                </a:gridCol>
                <a:gridCol w="671423">
                  <a:extLst>
                    <a:ext uri="{9D8B030D-6E8A-4147-A177-3AD203B41FA5}">
                      <a16:colId xmlns:a16="http://schemas.microsoft.com/office/drawing/2014/main" val="2083171187"/>
                    </a:ext>
                  </a:extLst>
                </a:gridCol>
                <a:gridCol w="3960440">
                  <a:extLst>
                    <a:ext uri="{9D8B030D-6E8A-4147-A177-3AD203B41FA5}">
                      <a16:colId xmlns:a16="http://schemas.microsoft.com/office/drawing/2014/main" val="402676426"/>
                    </a:ext>
                  </a:extLst>
                </a:gridCol>
                <a:gridCol w="1800646">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1" dirty="0"/>
                        <a:t>SAPI</a:t>
                      </a:r>
                      <a:r>
                        <a:rPr lang="ja-JP" altLang="en-US" sz="1100" b="1" dirty="0"/>
                        <a:t>（</a:t>
                      </a:r>
                      <a:r>
                        <a:rPr lang="en-US" altLang="ja-JP" sz="1100" b="1" dirty="0"/>
                        <a:t>Singapore Association of Pharmaceutical Industries</a:t>
                      </a:r>
                      <a:r>
                        <a:rPr lang="ja-JP" altLang="en-US" sz="1100" b="1" dirty="0"/>
                        <a:t>）</a:t>
                      </a:r>
                      <a:endParaRPr lang="en-US" altLang="ja-JP" sz="1100" b="1" dirty="0"/>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1966</a:t>
                      </a:r>
                      <a:r>
                        <a:rPr kumimoji="1" lang="ja-JP" altLang="en-US" sz="1100" kern="1200" dirty="0">
                          <a:solidFill>
                            <a:schemeClr val="dk1"/>
                          </a:solidFill>
                          <a:latin typeface="+mn-lt"/>
                          <a:ea typeface="+mn-ea"/>
                          <a:cs typeface="+mn-cs"/>
                        </a:rPr>
                        <a:t>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シンガポールの医薬品メーカーの団体。国際製薬団体連合会に参加してい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pi.org.s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549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1" dirty="0"/>
                        <a:t>Singapore Manufacturing Federation – Medical technology Industry Group</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1998</a:t>
                      </a:r>
                      <a:r>
                        <a:rPr kumimoji="1" lang="ja-JP" altLang="en-US" sz="1100" kern="1200" dirty="0">
                          <a:solidFill>
                            <a:schemeClr val="dk1"/>
                          </a:solidFill>
                          <a:latin typeface="+mn-lt"/>
                          <a:ea typeface="+mn-ea"/>
                          <a:cs typeface="+mn-cs"/>
                        </a:rPr>
                        <a:t>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シンガポールの製造業団体の中の１グループとして活動してい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mfederation.org.sg/membership/industry-groups/medical-technology</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3" name="Rectangle 12">
            <a:extLst>
              <a:ext uri="{FF2B5EF4-FFF2-40B4-BE49-F238E27FC236}">
                <a16:creationId xmlns:a16="http://schemas.microsoft.com/office/drawing/2014/main" id="{3BC038C5-DFA5-4749-B247-0702CC487CAE}"/>
              </a:ext>
            </a:extLst>
          </p:cNvPr>
          <p:cNvSpPr>
            <a:spLocks noChangeArrowheads="1"/>
          </p:cNvSpPr>
          <p:nvPr/>
        </p:nvSpPr>
        <p:spPr bwMode="auto">
          <a:xfrm>
            <a:off x="373797" y="146198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097760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294957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360" imgH="360" progId="TCLayout.ActiveDocument.1">
                  <p:embed/>
                </p:oleObj>
              </mc:Choice>
              <mc:Fallback>
                <p:oleObj name="think-cellスライド" r:id="rId15" imgW="360" imgH="360" progId="TCLayout.ActiveDocument.1">
                  <p:embed/>
                  <p:pic>
                    <p:nvPicPr>
                      <p:cNvPr id="7"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ンガポール国勢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B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1" hidden="1">
            <a:extLst>
              <a:ext uri="{FF2B5EF4-FFF2-40B4-BE49-F238E27FC236}">
                <a16:creationId xmlns:a16="http://schemas.microsoft.com/office/drawing/2014/main" id="{B21B2129-ACBA-4CAC-8856-AEF8B95B94F4}"/>
              </a:ext>
            </a:extLst>
          </p:cNvPr>
          <p:cNvSpPr/>
          <p:nvPr>
            <p:custDataLst>
              <p:tags r:id="rId3"/>
            </p:custDataLst>
          </p:nvPr>
        </p:nvSpPr>
        <p:spPr>
          <a:xfrm>
            <a:off x="152400" y="152400"/>
            <a:ext cx="158750" cy="158750"/>
          </a:xfrm>
          <a:prstGeom prst="rect">
            <a:avLst/>
          </a:pr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a:solidFill>
                <a:srgbClr val="000000"/>
              </a:solidFill>
              <a:latin typeface="Georgia" panose="02040502050405020303" pitchFamily="18" charset="0"/>
              <a:ea typeface="+mj-ea"/>
              <a:cs typeface="+mj-cs"/>
              <a:sym typeface="Georgia" panose="02040502050405020303" pitchFamily="18" charset="0"/>
            </a:endParaRPr>
          </a:p>
        </p:txBody>
      </p:sp>
      <p:sp>
        <p:nvSpPr>
          <p:cNvPr id="2" name="テキスト ボックス 1">
            <a:extLst>
              <a:ext uri="{FF2B5EF4-FFF2-40B4-BE49-F238E27FC236}">
                <a16:creationId xmlns:a16="http://schemas.microsoft.com/office/drawing/2014/main" id="{9E0AFE70-A57A-BBE2-032D-64BD351934B5}"/>
              </a:ext>
            </a:extLst>
          </p:cNvPr>
          <p:cNvSpPr txBox="1"/>
          <p:nvPr/>
        </p:nvSpPr>
        <p:spPr>
          <a:xfrm>
            <a:off x="200472" y="6302425"/>
            <a:ext cx="5256584" cy="107722"/>
          </a:xfrm>
          <a:prstGeom prst="rect">
            <a:avLst/>
          </a:prstGeom>
          <a:noFill/>
        </p:spPr>
        <p:txBody>
          <a:bodyPr wrap="square" lIns="0" tIns="0" rIns="0" bIns="0"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都市化率とは、都市部に住む人口の割合である。</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8" name="グループ化 7">
            <a:extLst>
              <a:ext uri="{FF2B5EF4-FFF2-40B4-BE49-F238E27FC236}">
                <a16:creationId xmlns:a16="http://schemas.microsoft.com/office/drawing/2014/main" id="{CD8CC68C-5833-76BD-A149-3B60196D9FFC}"/>
              </a:ext>
            </a:extLst>
          </p:cNvPr>
          <p:cNvGrpSpPr/>
          <p:nvPr/>
        </p:nvGrpSpPr>
        <p:grpSpPr>
          <a:xfrm>
            <a:off x="272478" y="1122183"/>
            <a:ext cx="4680521" cy="288032"/>
            <a:chOff x="4803500" y="2113806"/>
            <a:chExt cx="4032624" cy="288032"/>
          </a:xfrm>
        </p:grpSpPr>
        <p:cxnSp>
          <p:nvCxnSpPr>
            <p:cNvPr id="189" name="直線コネクタ 20">
              <a:extLst>
                <a:ext uri="{FF2B5EF4-FFF2-40B4-BE49-F238E27FC236}">
                  <a16:creationId xmlns:a16="http://schemas.microsoft.com/office/drawing/2014/main" id="{E8FE8CB7-AFE5-D096-6CAE-4CB4CF18F9B3}"/>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a:extLst>
                <a:ext uri="{FF2B5EF4-FFF2-40B4-BE49-F238E27FC236}">
                  <a16:creationId xmlns:a16="http://schemas.microsoft.com/office/drawing/2014/main" id="{330E03D1-82F0-1ED9-2E96-DFD445A43740}"/>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r>
                <a:rPr lang="en-US" altLang="ja-JP" sz="1400" baseline="30000" noProof="1">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191" name="グループ化 7">
            <a:extLst>
              <a:ext uri="{FF2B5EF4-FFF2-40B4-BE49-F238E27FC236}">
                <a16:creationId xmlns:a16="http://schemas.microsoft.com/office/drawing/2014/main" id="{3307FD11-0A3E-B8AC-0A96-A5027FE9EAC1}"/>
              </a:ext>
            </a:extLst>
          </p:cNvPr>
          <p:cNvGrpSpPr/>
          <p:nvPr/>
        </p:nvGrpSpPr>
        <p:grpSpPr>
          <a:xfrm>
            <a:off x="5200093" y="1124859"/>
            <a:ext cx="4505882" cy="288032"/>
            <a:chOff x="4803500" y="2113806"/>
            <a:chExt cx="2954133" cy="288032"/>
          </a:xfrm>
        </p:grpSpPr>
        <p:cxnSp>
          <p:nvCxnSpPr>
            <p:cNvPr id="192" name="直線コネクタ 27">
              <a:extLst>
                <a:ext uri="{FF2B5EF4-FFF2-40B4-BE49-F238E27FC236}">
                  <a16:creationId xmlns:a16="http://schemas.microsoft.com/office/drawing/2014/main" id="{E75EFBCA-A531-6655-F605-A97BAA21D81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3" name="Rectangle 6">
              <a:extLst>
                <a:ext uri="{FF2B5EF4-FFF2-40B4-BE49-F238E27FC236}">
                  <a16:creationId xmlns:a16="http://schemas.microsoft.com/office/drawing/2014/main" id="{AD90BF5F-0482-D9ED-6AAC-13883256E5C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noProof="1">
                  <a:solidFill>
                    <a:srgbClr val="000000"/>
                  </a:solidFill>
                  <a:latin typeface="HGP創英角ｺﾞｼｯｸUB" panose="020B0900000000000000" pitchFamily="50" charset="-128"/>
                  <a:ea typeface="HGP創英角ｺﾞｼｯｸUB" panose="020B0900000000000000" pitchFamily="50" charset="-128"/>
                </a:rPr>
                <a:t>2</a:t>
              </a: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564374"/>
            <a:ext cx="4752528"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は都市国家であり、「農村部」に分類される地域がないた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都市化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住民が多い地区と、勤務先として人々が通勤する地区は以下の通り。</a:t>
            </a:r>
          </a:p>
        </p:txBody>
      </p:sp>
      <p:grpSp>
        <p:nvGrpSpPr>
          <p:cNvPr id="11" name="Group 10">
            <a:extLst>
              <a:ext uri="{FF2B5EF4-FFF2-40B4-BE49-F238E27FC236}">
                <a16:creationId xmlns:a16="http://schemas.microsoft.com/office/drawing/2014/main" id="{18AC2D7A-87F9-CCEB-0586-9A6DEA75B0AB}"/>
              </a:ext>
            </a:extLst>
          </p:cNvPr>
          <p:cNvGrpSpPr/>
          <p:nvPr/>
        </p:nvGrpSpPr>
        <p:grpSpPr>
          <a:xfrm>
            <a:off x="264025" y="2531986"/>
            <a:ext cx="4664975" cy="3036437"/>
            <a:chOff x="1662857" y="1934547"/>
            <a:chExt cx="5818288" cy="3787130"/>
          </a:xfrm>
        </p:grpSpPr>
        <p:grpSp>
          <p:nvGrpSpPr>
            <p:cNvPr id="12" name="Group 11">
              <a:extLst>
                <a:ext uri="{FF2B5EF4-FFF2-40B4-BE49-F238E27FC236}">
                  <a16:creationId xmlns:a16="http://schemas.microsoft.com/office/drawing/2014/main" id="{560CED51-EC45-99E0-F31A-6A07F89CC4B3}"/>
                </a:ext>
              </a:extLst>
            </p:cNvPr>
            <p:cNvGrpSpPr/>
            <p:nvPr/>
          </p:nvGrpSpPr>
          <p:grpSpPr>
            <a:xfrm>
              <a:off x="1662857" y="1934547"/>
              <a:ext cx="5818288" cy="3787130"/>
              <a:chOff x="1662857" y="1934547"/>
              <a:chExt cx="5818288" cy="3787130"/>
            </a:xfrm>
          </p:grpSpPr>
          <p:sp>
            <p:nvSpPr>
              <p:cNvPr id="118" name="Freeform 8">
                <a:extLst>
                  <a:ext uri="{FF2B5EF4-FFF2-40B4-BE49-F238E27FC236}">
                    <a16:creationId xmlns:a16="http://schemas.microsoft.com/office/drawing/2014/main" id="{F86EC6C9-84BF-4F9D-14D9-61D86F743A39}"/>
                  </a:ext>
                </a:extLst>
              </p:cNvPr>
              <p:cNvSpPr>
                <a:spLocks noEditPoints="1"/>
              </p:cNvSpPr>
              <p:nvPr/>
            </p:nvSpPr>
            <p:spPr bwMode="gray">
              <a:xfrm>
                <a:off x="2069991" y="2385664"/>
                <a:ext cx="1294707" cy="1275534"/>
              </a:xfrm>
              <a:custGeom>
                <a:avLst/>
                <a:gdLst>
                  <a:gd name="T0" fmla="*/ 238 w 1148"/>
                  <a:gd name="T1" fmla="*/ 370 h 1131"/>
                  <a:gd name="T2" fmla="*/ 591 w 1148"/>
                  <a:gd name="T3" fmla="*/ 13 h 1131"/>
                  <a:gd name="T4" fmla="*/ 620 w 1148"/>
                  <a:gd name="T5" fmla="*/ 101 h 1131"/>
                  <a:gd name="T6" fmla="*/ 643 w 1148"/>
                  <a:gd name="T7" fmla="*/ 144 h 1131"/>
                  <a:gd name="T8" fmla="*/ 668 w 1148"/>
                  <a:gd name="T9" fmla="*/ 172 h 1131"/>
                  <a:gd name="T10" fmla="*/ 699 w 1148"/>
                  <a:gd name="T11" fmla="*/ 219 h 1131"/>
                  <a:gd name="T12" fmla="*/ 758 w 1148"/>
                  <a:gd name="T13" fmla="*/ 238 h 1131"/>
                  <a:gd name="T14" fmla="*/ 743 w 1148"/>
                  <a:gd name="T15" fmla="*/ 270 h 1131"/>
                  <a:gd name="T16" fmla="*/ 745 w 1148"/>
                  <a:gd name="T17" fmla="*/ 293 h 1131"/>
                  <a:gd name="T18" fmla="*/ 799 w 1148"/>
                  <a:gd name="T19" fmla="*/ 224 h 1131"/>
                  <a:gd name="T20" fmla="*/ 824 w 1148"/>
                  <a:gd name="T21" fmla="*/ 232 h 1131"/>
                  <a:gd name="T22" fmla="*/ 827 w 1148"/>
                  <a:gd name="T23" fmla="*/ 265 h 1131"/>
                  <a:gd name="T24" fmla="*/ 898 w 1148"/>
                  <a:gd name="T25" fmla="*/ 249 h 1131"/>
                  <a:gd name="T26" fmla="*/ 906 w 1148"/>
                  <a:gd name="T27" fmla="*/ 270 h 1131"/>
                  <a:gd name="T28" fmla="*/ 937 w 1148"/>
                  <a:gd name="T29" fmla="*/ 276 h 1131"/>
                  <a:gd name="T30" fmla="*/ 922 w 1148"/>
                  <a:gd name="T31" fmla="*/ 315 h 1131"/>
                  <a:gd name="T32" fmla="*/ 910 w 1148"/>
                  <a:gd name="T33" fmla="*/ 342 h 1131"/>
                  <a:gd name="T34" fmla="*/ 902 w 1148"/>
                  <a:gd name="T35" fmla="*/ 378 h 1131"/>
                  <a:gd name="T36" fmla="*/ 910 w 1148"/>
                  <a:gd name="T37" fmla="*/ 415 h 1131"/>
                  <a:gd name="T38" fmla="*/ 872 w 1148"/>
                  <a:gd name="T39" fmla="*/ 439 h 1131"/>
                  <a:gd name="T40" fmla="*/ 904 w 1148"/>
                  <a:gd name="T41" fmla="*/ 436 h 1131"/>
                  <a:gd name="T42" fmla="*/ 929 w 1148"/>
                  <a:gd name="T43" fmla="*/ 420 h 1131"/>
                  <a:gd name="T44" fmla="*/ 943 w 1148"/>
                  <a:gd name="T45" fmla="*/ 401 h 1131"/>
                  <a:gd name="T46" fmla="*/ 941 w 1148"/>
                  <a:gd name="T47" fmla="*/ 347 h 1131"/>
                  <a:gd name="T48" fmla="*/ 975 w 1148"/>
                  <a:gd name="T49" fmla="*/ 336 h 1131"/>
                  <a:gd name="T50" fmla="*/ 996 w 1148"/>
                  <a:gd name="T51" fmla="*/ 380 h 1131"/>
                  <a:gd name="T52" fmla="*/ 1025 w 1148"/>
                  <a:gd name="T53" fmla="*/ 470 h 1131"/>
                  <a:gd name="T54" fmla="*/ 1035 w 1148"/>
                  <a:gd name="T55" fmla="*/ 415 h 1131"/>
                  <a:gd name="T56" fmla="*/ 1002 w 1148"/>
                  <a:gd name="T57" fmla="*/ 332 h 1131"/>
                  <a:gd name="T58" fmla="*/ 968 w 1148"/>
                  <a:gd name="T59" fmla="*/ 253 h 1131"/>
                  <a:gd name="T60" fmla="*/ 1087 w 1148"/>
                  <a:gd name="T61" fmla="*/ 159 h 1131"/>
                  <a:gd name="T62" fmla="*/ 1125 w 1148"/>
                  <a:gd name="T63" fmla="*/ 295 h 1131"/>
                  <a:gd name="T64" fmla="*/ 1096 w 1148"/>
                  <a:gd name="T65" fmla="*/ 432 h 1131"/>
                  <a:gd name="T66" fmla="*/ 946 w 1148"/>
                  <a:gd name="T67" fmla="*/ 643 h 1131"/>
                  <a:gd name="T68" fmla="*/ 706 w 1148"/>
                  <a:gd name="T69" fmla="*/ 766 h 1131"/>
                  <a:gd name="T70" fmla="*/ 551 w 1148"/>
                  <a:gd name="T71" fmla="*/ 943 h 1131"/>
                  <a:gd name="T72" fmla="*/ 415 w 1148"/>
                  <a:gd name="T73" fmla="*/ 1022 h 1131"/>
                  <a:gd name="T74" fmla="*/ 367 w 1148"/>
                  <a:gd name="T75" fmla="*/ 1110 h 1131"/>
                  <a:gd name="T76" fmla="*/ 261 w 1148"/>
                  <a:gd name="T77" fmla="*/ 1104 h 1131"/>
                  <a:gd name="T78" fmla="*/ 96 w 1148"/>
                  <a:gd name="T79" fmla="*/ 945 h 1131"/>
                  <a:gd name="T80" fmla="*/ 111 w 1148"/>
                  <a:gd name="T81" fmla="*/ 672 h 1131"/>
                  <a:gd name="T82" fmla="*/ 129 w 1148"/>
                  <a:gd name="T83" fmla="*/ 635 h 1131"/>
                  <a:gd name="T84" fmla="*/ 180 w 1148"/>
                  <a:gd name="T85" fmla="*/ 574 h 1131"/>
                  <a:gd name="T86" fmla="*/ 196 w 1148"/>
                  <a:gd name="T87" fmla="*/ 539 h 1131"/>
                  <a:gd name="T88" fmla="*/ 196 w 1148"/>
                  <a:gd name="T89" fmla="*/ 530 h 1131"/>
                  <a:gd name="T90" fmla="*/ 236 w 1148"/>
                  <a:gd name="T91" fmla="*/ 486 h 1131"/>
                  <a:gd name="T92" fmla="*/ 251 w 1148"/>
                  <a:gd name="T93" fmla="*/ 397 h 1131"/>
                  <a:gd name="T94" fmla="*/ 251 w 1148"/>
                  <a:gd name="T95" fmla="*/ 309 h 1131"/>
                  <a:gd name="T96" fmla="*/ 288 w 1148"/>
                  <a:gd name="T97" fmla="*/ 261 h 1131"/>
                  <a:gd name="T98" fmla="*/ 338 w 1148"/>
                  <a:gd name="T99" fmla="*/ 240 h 1131"/>
                  <a:gd name="T100" fmla="*/ 357 w 1148"/>
                  <a:gd name="T101" fmla="*/ 215 h 1131"/>
                  <a:gd name="T102" fmla="*/ 355 w 1148"/>
                  <a:gd name="T103" fmla="*/ 167 h 1131"/>
                  <a:gd name="T104" fmla="*/ 365 w 1148"/>
                  <a:gd name="T105" fmla="*/ 140 h 1131"/>
                  <a:gd name="T106" fmla="*/ 386 w 1148"/>
                  <a:gd name="T107" fmla="*/ 86 h 1131"/>
                  <a:gd name="T108" fmla="*/ 428 w 1148"/>
                  <a:gd name="T109" fmla="*/ 51 h 1131"/>
                  <a:gd name="T110" fmla="*/ 497 w 1148"/>
                  <a:gd name="T111" fmla="*/ 34 h 1131"/>
                  <a:gd name="T112" fmla="*/ 526 w 1148"/>
                  <a:gd name="T113" fmla="*/ 7 h 1131"/>
                  <a:gd name="T114" fmla="*/ 572 w 1148"/>
                  <a:gd name="T11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48" h="1131">
                    <a:moveTo>
                      <a:pt x="236" y="395"/>
                    </a:moveTo>
                    <a:lnTo>
                      <a:pt x="228" y="395"/>
                    </a:lnTo>
                    <a:lnTo>
                      <a:pt x="228" y="391"/>
                    </a:lnTo>
                    <a:lnTo>
                      <a:pt x="230" y="390"/>
                    </a:lnTo>
                    <a:lnTo>
                      <a:pt x="232" y="386"/>
                    </a:lnTo>
                    <a:lnTo>
                      <a:pt x="232" y="382"/>
                    </a:lnTo>
                    <a:lnTo>
                      <a:pt x="232" y="374"/>
                    </a:lnTo>
                    <a:lnTo>
                      <a:pt x="238" y="370"/>
                    </a:lnTo>
                    <a:lnTo>
                      <a:pt x="242" y="374"/>
                    </a:lnTo>
                    <a:lnTo>
                      <a:pt x="244" y="378"/>
                    </a:lnTo>
                    <a:lnTo>
                      <a:pt x="244" y="388"/>
                    </a:lnTo>
                    <a:lnTo>
                      <a:pt x="240" y="391"/>
                    </a:lnTo>
                    <a:lnTo>
                      <a:pt x="236" y="395"/>
                    </a:lnTo>
                    <a:close/>
                    <a:moveTo>
                      <a:pt x="580" y="0"/>
                    </a:moveTo>
                    <a:lnTo>
                      <a:pt x="582" y="11"/>
                    </a:lnTo>
                    <a:lnTo>
                      <a:pt x="591" y="13"/>
                    </a:lnTo>
                    <a:lnTo>
                      <a:pt x="599" y="23"/>
                    </a:lnTo>
                    <a:lnTo>
                      <a:pt x="605" y="46"/>
                    </a:lnTo>
                    <a:lnTo>
                      <a:pt x="609" y="63"/>
                    </a:lnTo>
                    <a:lnTo>
                      <a:pt x="622" y="80"/>
                    </a:lnTo>
                    <a:lnTo>
                      <a:pt x="622" y="84"/>
                    </a:lnTo>
                    <a:lnTo>
                      <a:pt x="622" y="86"/>
                    </a:lnTo>
                    <a:lnTo>
                      <a:pt x="620" y="99"/>
                    </a:lnTo>
                    <a:lnTo>
                      <a:pt x="620" y="101"/>
                    </a:lnTo>
                    <a:lnTo>
                      <a:pt x="622" y="101"/>
                    </a:lnTo>
                    <a:lnTo>
                      <a:pt x="632" y="105"/>
                    </a:lnTo>
                    <a:lnTo>
                      <a:pt x="653" y="111"/>
                    </a:lnTo>
                    <a:lnTo>
                      <a:pt x="655" y="113"/>
                    </a:lnTo>
                    <a:lnTo>
                      <a:pt x="651" y="121"/>
                    </a:lnTo>
                    <a:lnTo>
                      <a:pt x="649" y="126"/>
                    </a:lnTo>
                    <a:lnTo>
                      <a:pt x="647" y="136"/>
                    </a:lnTo>
                    <a:lnTo>
                      <a:pt x="643" y="144"/>
                    </a:lnTo>
                    <a:lnTo>
                      <a:pt x="641" y="153"/>
                    </a:lnTo>
                    <a:lnTo>
                      <a:pt x="639" y="161"/>
                    </a:lnTo>
                    <a:lnTo>
                      <a:pt x="645" y="159"/>
                    </a:lnTo>
                    <a:lnTo>
                      <a:pt x="651" y="161"/>
                    </a:lnTo>
                    <a:lnTo>
                      <a:pt x="658" y="163"/>
                    </a:lnTo>
                    <a:lnTo>
                      <a:pt x="664" y="165"/>
                    </a:lnTo>
                    <a:lnTo>
                      <a:pt x="670" y="167"/>
                    </a:lnTo>
                    <a:lnTo>
                      <a:pt x="668" y="172"/>
                    </a:lnTo>
                    <a:lnTo>
                      <a:pt x="664" y="182"/>
                    </a:lnTo>
                    <a:lnTo>
                      <a:pt x="672" y="186"/>
                    </a:lnTo>
                    <a:lnTo>
                      <a:pt x="674" y="188"/>
                    </a:lnTo>
                    <a:lnTo>
                      <a:pt x="676" y="196"/>
                    </a:lnTo>
                    <a:lnTo>
                      <a:pt x="678" y="197"/>
                    </a:lnTo>
                    <a:lnTo>
                      <a:pt x="680" y="199"/>
                    </a:lnTo>
                    <a:lnTo>
                      <a:pt x="695" y="215"/>
                    </a:lnTo>
                    <a:lnTo>
                      <a:pt x="699" y="219"/>
                    </a:lnTo>
                    <a:lnTo>
                      <a:pt x="697" y="240"/>
                    </a:lnTo>
                    <a:lnTo>
                      <a:pt x="691" y="242"/>
                    </a:lnTo>
                    <a:lnTo>
                      <a:pt x="697" y="245"/>
                    </a:lnTo>
                    <a:lnTo>
                      <a:pt x="720" y="236"/>
                    </a:lnTo>
                    <a:lnTo>
                      <a:pt x="733" y="234"/>
                    </a:lnTo>
                    <a:lnTo>
                      <a:pt x="741" y="234"/>
                    </a:lnTo>
                    <a:lnTo>
                      <a:pt x="747" y="236"/>
                    </a:lnTo>
                    <a:lnTo>
                      <a:pt x="758" y="238"/>
                    </a:lnTo>
                    <a:lnTo>
                      <a:pt x="764" y="240"/>
                    </a:lnTo>
                    <a:lnTo>
                      <a:pt x="766" y="247"/>
                    </a:lnTo>
                    <a:lnTo>
                      <a:pt x="772" y="251"/>
                    </a:lnTo>
                    <a:lnTo>
                      <a:pt x="770" y="259"/>
                    </a:lnTo>
                    <a:lnTo>
                      <a:pt x="764" y="259"/>
                    </a:lnTo>
                    <a:lnTo>
                      <a:pt x="756" y="263"/>
                    </a:lnTo>
                    <a:lnTo>
                      <a:pt x="747" y="270"/>
                    </a:lnTo>
                    <a:lnTo>
                      <a:pt x="743" y="270"/>
                    </a:lnTo>
                    <a:lnTo>
                      <a:pt x="735" y="274"/>
                    </a:lnTo>
                    <a:lnTo>
                      <a:pt x="730" y="274"/>
                    </a:lnTo>
                    <a:lnTo>
                      <a:pt x="718" y="276"/>
                    </a:lnTo>
                    <a:lnTo>
                      <a:pt x="718" y="284"/>
                    </a:lnTo>
                    <a:lnTo>
                      <a:pt x="718" y="286"/>
                    </a:lnTo>
                    <a:lnTo>
                      <a:pt x="722" y="288"/>
                    </a:lnTo>
                    <a:lnTo>
                      <a:pt x="733" y="288"/>
                    </a:lnTo>
                    <a:lnTo>
                      <a:pt x="745" y="293"/>
                    </a:lnTo>
                    <a:lnTo>
                      <a:pt x="751" y="303"/>
                    </a:lnTo>
                    <a:lnTo>
                      <a:pt x="766" y="301"/>
                    </a:lnTo>
                    <a:lnTo>
                      <a:pt x="766" y="272"/>
                    </a:lnTo>
                    <a:lnTo>
                      <a:pt x="779" y="257"/>
                    </a:lnTo>
                    <a:lnTo>
                      <a:pt x="787" y="242"/>
                    </a:lnTo>
                    <a:lnTo>
                      <a:pt x="793" y="232"/>
                    </a:lnTo>
                    <a:lnTo>
                      <a:pt x="797" y="228"/>
                    </a:lnTo>
                    <a:lnTo>
                      <a:pt x="799" y="224"/>
                    </a:lnTo>
                    <a:lnTo>
                      <a:pt x="801" y="224"/>
                    </a:lnTo>
                    <a:lnTo>
                      <a:pt x="804" y="224"/>
                    </a:lnTo>
                    <a:lnTo>
                      <a:pt x="806" y="222"/>
                    </a:lnTo>
                    <a:lnTo>
                      <a:pt x="808" y="222"/>
                    </a:lnTo>
                    <a:lnTo>
                      <a:pt x="812" y="220"/>
                    </a:lnTo>
                    <a:lnTo>
                      <a:pt x="812" y="222"/>
                    </a:lnTo>
                    <a:lnTo>
                      <a:pt x="816" y="228"/>
                    </a:lnTo>
                    <a:lnTo>
                      <a:pt x="824" y="232"/>
                    </a:lnTo>
                    <a:lnTo>
                      <a:pt x="827" y="236"/>
                    </a:lnTo>
                    <a:lnTo>
                      <a:pt x="829" y="240"/>
                    </a:lnTo>
                    <a:lnTo>
                      <a:pt x="829" y="244"/>
                    </a:lnTo>
                    <a:lnTo>
                      <a:pt x="827" y="247"/>
                    </a:lnTo>
                    <a:lnTo>
                      <a:pt x="827" y="253"/>
                    </a:lnTo>
                    <a:lnTo>
                      <a:pt x="827" y="259"/>
                    </a:lnTo>
                    <a:lnTo>
                      <a:pt x="827" y="263"/>
                    </a:lnTo>
                    <a:lnTo>
                      <a:pt x="827" y="265"/>
                    </a:lnTo>
                    <a:lnTo>
                      <a:pt x="831" y="267"/>
                    </a:lnTo>
                    <a:lnTo>
                      <a:pt x="839" y="269"/>
                    </a:lnTo>
                    <a:lnTo>
                      <a:pt x="847" y="263"/>
                    </a:lnTo>
                    <a:lnTo>
                      <a:pt x="860" y="257"/>
                    </a:lnTo>
                    <a:lnTo>
                      <a:pt x="870" y="255"/>
                    </a:lnTo>
                    <a:lnTo>
                      <a:pt x="889" y="253"/>
                    </a:lnTo>
                    <a:lnTo>
                      <a:pt x="893" y="249"/>
                    </a:lnTo>
                    <a:lnTo>
                      <a:pt x="898" y="249"/>
                    </a:lnTo>
                    <a:lnTo>
                      <a:pt x="902" y="251"/>
                    </a:lnTo>
                    <a:lnTo>
                      <a:pt x="902" y="259"/>
                    </a:lnTo>
                    <a:lnTo>
                      <a:pt x="900" y="267"/>
                    </a:lnTo>
                    <a:lnTo>
                      <a:pt x="900" y="272"/>
                    </a:lnTo>
                    <a:lnTo>
                      <a:pt x="897" y="278"/>
                    </a:lnTo>
                    <a:lnTo>
                      <a:pt x="898" y="280"/>
                    </a:lnTo>
                    <a:lnTo>
                      <a:pt x="900" y="280"/>
                    </a:lnTo>
                    <a:lnTo>
                      <a:pt x="906" y="270"/>
                    </a:lnTo>
                    <a:lnTo>
                      <a:pt x="912" y="263"/>
                    </a:lnTo>
                    <a:lnTo>
                      <a:pt x="914" y="259"/>
                    </a:lnTo>
                    <a:lnTo>
                      <a:pt x="920" y="257"/>
                    </a:lnTo>
                    <a:lnTo>
                      <a:pt x="922" y="257"/>
                    </a:lnTo>
                    <a:lnTo>
                      <a:pt x="929" y="257"/>
                    </a:lnTo>
                    <a:lnTo>
                      <a:pt x="933" y="263"/>
                    </a:lnTo>
                    <a:lnTo>
                      <a:pt x="937" y="272"/>
                    </a:lnTo>
                    <a:lnTo>
                      <a:pt x="937" y="276"/>
                    </a:lnTo>
                    <a:lnTo>
                      <a:pt x="935" y="282"/>
                    </a:lnTo>
                    <a:lnTo>
                      <a:pt x="935" y="288"/>
                    </a:lnTo>
                    <a:lnTo>
                      <a:pt x="937" y="292"/>
                    </a:lnTo>
                    <a:lnTo>
                      <a:pt x="937" y="295"/>
                    </a:lnTo>
                    <a:lnTo>
                      <a:pt x="933" y="301"/>
                    </a:lnTo>
                    <a:lnTo>
                      <a:pt x="931" y="307"/>
                    </a:lnTo>
                    <a:lnTo>
                      <a:pt x="925" y="313"/>
                    </a:lnTo>
                    <a:lnTo>
                      <a:pt x="922" y="315"/>
                    </a:lnTo>
                    <a:lnTo>
                      <a:pt x="920" y="318"/>
                    </a:lnTo>
                    <a:lnTo>
                      <a:pt x="922" y="322"/>
                    </a:lnTo>
                    <a:lnTo>
                      <a:pt x="922" y="326"/>
                    </a:lnTo>
                    <a:lnTo>
                      <a:pt x="922" y="332"/>
                    </a:lnTo>
                    <a:lnTo>
                      <a:pt x="920" y="338"/>
                    </a:lnTo>
                    <a:lnTo>
                      <a:pt x="916" y="340"/>
                    </a:lnTo>
                    <a:lnTo>
                      <a:pt x="914" y="342"/>
                    </a:lnTo>
                    <a:lnTo>
                      <a:pt x="910" y="342"/>
                    </a:lnTo>
                    <a:lnTo>
                      <a:pt x="910" y="345"/>
                    </a:lnTo>
                    <a:lnTo>
                      <a:pt x="910" y="347"/>
                    </a:lnTo>
                    <a:lnTo>
                      <a:pt x="916" y="353"/>
                    </a:lnTo>
                    <a:lnTo>
                      <a:pt x="916" y="357"/>
                    </a:lnTo>
                    <a:lnTo>
                      <a:pt x="914" y="361"/>
                    </a:lnTo>
                    <a:lnTo>
                      <a:pt x="908" y="368"/>
                    </a:lnTo>
                    <a:lnTo>
                      <a:pt x="900" y="374"/>
                    </a:lnTo>
                    <a:lnTo>
                      <a:pt x="902" y="378"/>
                    </a:lnTo>
                    <a:lnTo>
                      <a:pt x="904" y="380"/>
                    </a:lnTo>
                    <a:lnTo>
                      <a:pt x="910" y="380"/>
                    </a:lnTo>
                    <a:lnTo>
                      <a:pt x="916" y="384"/>
                    </a:lnTo>
                    <a:lnTo>
                      <a:pt x="916" y="388"/>
                    </a:lnTo>
                    <a:lnTo>
                      <a:pt x="916" y="395"/>
                    </a:lnTo>
                    <a:lnTo>
                      <a:pt x="914" y="403"/>
                    </a:lnTo>
                    <a:lnTo>
                      <a:pt x="912" y="411"/>
                    </a:lnTo>
                    <a:lnTo>
                      <a:pt x="910" y="415"/>
                    </a:lnTo>
                    <a:lnTo>
                      <a:pt x="906" y="416"/>
                    </a:lnTo>
                    <a:lnTo>
                      <a:pt x="898" y="420"/>
                    </a:lnTo>
                    <a:lnTo>
                      <a:pt x="893" y="420"/>
                    </a:lnTo>
                    <a:lnTo>
                      <a:pt x="891" y="420"/>
                    </a:lnTo>
                    <a:lnTo>
                      <a:pt x="889" y="422"/>
                    </a:lnTo>
                    <a:lnTo>
                      <a:pt x="891" y="428"/>
                    </a:lnTo>
                    <a:lnTo>
                      <a:pt x="877" y="438"/>
                    </a:lnTo>
                    <a:lnTo>
                      <a:pt x="872" y="439"/>
                    </a:lnTo>
                    <a:lnTo>
                      <a:pt x="866" y="441"/>
                    </a:lnTo>
                    <a:lnTo>
                      <a:pt x="866" y="449"/>
                    </a:lnTo>
                    <a:lnTo>
                      <a:pt x="870" y="449"/>
                    </a:lnTo>
                    <a:lnTo>
                      <a:pt x="877" y="449"/>
                    </a:lnTo>
                    <a:lnTo>
                      <a:pt x="881" y="447"/>
                    </a:lnTo>
                    <a:lnTo>
                      <a:pt x="893" y="441"/>
                    </a:lnTo>
                    <a:lnTo>
                      <a:pt x="898" y="438"/>
                    </a:lnTo>
                    <a:lnTo>
                      <a:pt x="904" y="436"/>
                    </a:lnTo>
                    <a:lnTo>
                      <a:pt x="906" y="436"/>
                    </a:lnTo>
                    <a:lnTo>
                      <a:pt x="912" y="438"/>
                    </a:lnTo>
                    <a:lnTo>
                      <a:pt x="916" y="438"/>
                    </a:lnTo>
                    <a:lnTo>
                      <a:pt x="918" y="434"/>
                    </a:lnTo>
                    <a:lnTo>
                      <a:pt x="920" y="428"/>
                    </a:lnTo>
                    <a:lnTo>
                      <a:pt x="920" y="424"/>
                    </a:lnTo>
                    <a:lnTo>
                      <a:pt x="923" y="420"/>
                    </a:lnTo>
                    <a:lnTo>
                      <a:pt x="929" y="420"/>
                    </a:lnTo>
                    <a:lnTo>
                      <a:pt x="931" y="418"/>
                    </a:lnTo>
                    <a:lnTo>
                      <a:pt x="933" y="416"/>
                    </a:lnTo>
                    <a:lnTo>
                      <a:pt x="929" y="415"/>
                    </a:lnTo>
                    <a:lnTo>
                      <a:pt x="931" y="411"/>
                    </a:lnTo>
                    <a:lnTo>
                      <a:pt x="939" y="405"/>
                    </a:lnTo>
                    <a:lnTo>
                      <a:pt x="941" y="403"/>
                    </a:lnTo>
                    <a:lnTo>
                      <a:pt x="943" y="403"/>
                    </a:lnTo>
                    <a:lnTo>
                      <a:pt x="943" y="401"/>
                    </a:lnTo>
                    <a:lnTo>
                      <a:pt x="941" y="397"/>
                    </a:lnTo>
                    <a:lnTo>
                      <a:pt x="943" y="391"/>
                    </a:lnTo>
                    <a:lnTo>
                      <a:pt x="943" y="384"/>
                    </a:lnTo>
                    <a:lnTo>
                      <a:pt x="941" y="376"/>
                    </a:lnTo>
                    <a:lnTo>
                      <a:pt x="943" y="372"/>
                    </a:lnTo>
                    <a:lnTo>
                      <a:pt x="941" y="370"/>
                    </a:lnTo>
                    <a:lnTo>
                      <a:pt x="939" y="359"/>
                    </a:lnTo>
                    <a:lnTo>
                      <a:pt x="941" y="347"/>
                    </a:lnTo>
                    <a:lnTo>
                      <a:pt x="945" y="342"/>
                    </a:lnTo>
                    <a:lnTo>
                      <a:pt x="948" y="338"/>
                    </a:lnTo>
                    <a:lnTo>
                      <a:pt x="950" y="328"/>
                    </a:lnTo>
                    <a:lnTo>
                      <a:pt x="956" y="322"/>
                    </a:lnTo>
                    <a:lnTo>
                      <a:pt x="962" y="322"/>
                    </a:lnTo>
                    <a:lnTo>
                      <a:pt x="968" y="322"/>
                    </a:lnTo>
                    <a:lnTo>
                      <a:pt x="970" y="326"/>
                    </a:lnTo>
                    <a:lnTo>
                      <a:pt x="975" y="336"/>
                    </a:lnTo>
                    <a:lnTo>
                      <a:pt x="983" y="343"/>
                    </a:lnTo>
                    <a:lnTo>
                      <a:pt x="985" y="345"/>
                    </a:lnTo>
                    <a:lnTo>
                      <a:pt x="987" y="351"/>
                    </a:lnTo>
                    <a:lnTo>
                      <a:pt x="989" y="355"/>
                    </a:lnTo>
                    <a:lnTo>
                      <a:pt x="991" y="365"/>
                    </a:lnTo>
                    <a:lnTo>
                      <a:pt x="993" y="370"/>
                    </a:lnTo>
                    <a:lnTo>
                      <a:pt x="994" y="376"/>
                    </a:lnTo>
                    <a:lnTo>
                      <a:pt x="996" y="380"/>
                    </a:lnTo>
                    <a:lnTo>
                      <a:pt x="1002" y="388"/>
                    </a:lnTo>
                    <a:lnTo>
                      <a:pt x="1012" y="409"/>
                    </a:lnTo>
                    <a:lnTo>
                      <a:pt x="1014" y="416"/>
                    </a:lnTo>
                    <a:lnTo>
                      <a:pt x="1016" y="447"/>
                    </a:lnTo>
                    <a:lnTo>
                      <a:pt x="1016" y="455"/>
                    </a:lnTo>
                    <a:lnTo>
                      <a:pt x="1016" y="468"/>
                    </a:lnTo>
                    <a:lnTo>
                      <a:pt x="1019" y="470"/>
                    </a:lnTo>
                    <a:lnTo>
                      <a:pt x="1025" y="470"/>
                    </a:lnTo>
                    <a:lnTo>
                      <a:pt x="1027" y="470"/>
                    </a:lnTo>
                    <a:lnTo>
                      <a:pt x="1029" y="464"/>
                    </a:lnTo>
                    <a:lnTo>
                      <a:pt x="1029" y="455"/>
                    </a:lnTo>
                    <a:lnTo>
                      <a:pt x="1033" y="441"/>
                    </a:lnTo>
                    <a:lnTo>
                      <a:pt x="1033" y="436"/>
                    </a:lnTo>
                    <a:lnTo>
                      <a:pt x="1033" y="428"/>
                    </a:lnTo>
                    <a:lnTo>
                      <a:pt x="1033" y="424"/>
                    </a:lnTo>
                    <a:lnTo>
                      <a:pt x="1035" y="415"/>
                    </a:lnTo>
                    <a:lnTo>
                      <a:pt x="1037" y="411"/>
                    </a:lnTo>
                    <a:lnTo>
                      <a:pt x="1042" y="409"/>
                    </a:lnTo>
                    <a:lnTo>
                      <a:pt x="1042" y="407"/>
                    </a:lnTo>
                    <a:lnTo>
                      <a:pt x="1041" y="401"/>
                    </a:lnTo>
                    <a:lnTo>
                      <a:pt x="1018" y="363"/>
                    </a:lnTo>
                    <a:lnTo>
                      <a:pt x="1016" y="359"/>
                    </a:lnTo>
                    <a:lnTo>
                      <a:pt x="1010" y="340"/>
                    </a:lnTo>
                    <a:lnTo>
                      <a:pt x="1002" y="332"/>
                    </a:lnTo>
                    <a:lnTo>
                      <a:pt x="1000" y="326"/>
                    </a:lnTo>
                    <a:lnTo>
                      <a:pt x="994" y="313"/>
                    </a:lnTo>
                    <a:lnTo>
                      <a:pt x="991" y="307"/>
                    </a:lnTo>
                    <a:lnTo>
                      <a:pt x="987" y="301"/>
                    </a:lnTo>
                    <a:lnTo>
                      <a:pt x="985" y="299"/>
                    </a:lnTo>
                    <a:lnTo>
                      <a:pt x="968" y="265"/>
                    </a:lnTo>
                    <a:lnTo>
                      <a:pt x="966" y="257"/>
                    </a:lnTo>
                    <a:lnTo>
                      <a:pt x="968" y="253"/>
                    </a:lnTo>
                    <a:lnTo>
                      <a:pt x="985" y="242"/>
                    </a:lnTo>
                    <a:lnTo>
                      <a:pt x="991" y="238"/>
                    </a:lnTo>
                    <a:lnTo>
                      <a:pt x="998" y="228"/>
                    </a:lnTo>
                    <a:lnTo>
                      <a:pt x="1016" y="203"/>
                    </a:lnTo>
                    <a:lnTo>
                      <a:pt x="1035" y="188"/>
                    </a:lnTo>
                    <a:lnTo>
                      <a:pt x="1060" y="171"/>
                    </a:lnTo>
                    <a:lnTo>
                      <a:pt x="1075" y="165"/>
                    </a:lnTo>
                    <a:lnTo>
                      <a:pt x="1087" y="159"/>
                    </a:lnTo>
                    <a:lnTo>
                      <a:pt x="1092" y="171"/>
                    </a:lnTo>
                    <a:lnTo>
                      <a:pt x="1100" y="192"/>
                    </a:lnTo>
                    <a:lnTo>
                      <a:pt x="1106" y="217"/>
                    </a:lnTo>
                    <a:lnTo>
                      <a:pt x="1100" y="236"/>
                    </a:lnTo>
                    <a:lnTo>
                      <a:pt x="1098" y="249"/>
                    </a:lnTo>
                    <a:lnTo>
                      <a:pt x="1102" y="267"/>
                    </a:lnTo>
                    <a:lnTo>
                      <a:pt x="1112" y="284"/>
                    </a:lnTo>
                    <a:lnTo>
                      <a:pt x="1125" y="295"/>
                    </a:lnTo>
                    <a:lnTo>
                      <a:pt x="1135" y="299"/>
                    </a:lnTo>
                    <a:lnTo>
                      <a:pt x="1148" y="303"/>
                    </a:lnTo>
                    <a:lnTo>
                      <a:pt x="1129" y="324"/>
                    </a:lnTo>
                    <a:lnTo>
                      <a:pt x="1121" y="342"/>
                    </a:lnTo>
                    <a:lnTo>
                      <a:pt x="1117" y="366"/>
                    </a:lnTo>
                    <a:lnTo>
                      <a:pt x="1114" y="397"/>
                    </a:lnTo>
                    <a:lnTo>
                      <a:pt x="1110" y="411"/>
                    </a:lnTo>
                    <a:lnTo>
                      <a:pt x="1096" y="432"/>
                    </a:lnTo>
                    <a:lnTo>
                      <a:pt x="1087" y="451"/>
                    </a:lnTo>
                    <a:lnTo>
                      <a:pt x="1085" y="466"/>
                    </a:lnTo>
                    <a:lnTo>
                      <a:pt x="1087" y="476"/>
                    </a:lnTo>
                    <a:lnTo>
                      <a:pt x="1100" y="505"/>
                    </a:lnTo>
                    <a:lnTo>
                      <a:pt x="1081" y="522"/>
                    </a:lnTo>
                    <a:lnTo>
                      <a:pt x="1006" y="585"/>
                    </a:lnTo>
                    <a:lnTo>
                      <a:pt x="991" y="599"/>
                    </a:lnTo>
                    <a:lnTo>
                      <a:pt x="946" y="643"/>
                    </a:lnTo>
                    <a:lnTo>
                      <a:pt x="912" y="670"/>
                    </a:lnTo>
                    <a:lnTo>
                      <a:pt x="893" y="678"/>
                    </a:lnTo>
                    <a:lnTo>
                      <a:pt x="875" y="685"/>
                    </a:lnTo>
                    <a:lnTo>
                      <a:pt x="760" y="720"/>
                    </a:lnTo>
                    <a:lnTo>
                      <a:pt x="741" y="731"/>
                    </a:lnTo>
                    <a:lnTo>
                      <a:pt x="728" y="747"/>
                    </a:lnTo>
                    <a:lnTo>
                      <a:pt x="718" y="760"/>
                    </a:lnTo>
                    <a:lnTo>
                      <a:pt x="706" y="766"/>
                    </a:lnTo>
                    <a:lnTo>
                      <a:pt x="695" y="770"/>
                    </a:lnTo>
                    <a:lnTo>
                      <a:pt x="682" y="785"/>
                    </a:lnTo>
                    <a:lnTo>
                      <a:pt x="674" y="795"/>
                    </a:lnTo>
                    <a:lnTo>
                      <a:pt x="634" y="847"/>
                    </a:lnTo>
                    <a:lnTo>
                      <a:pt x="618" y="858"/>
                    </a:lnTo>
                    <a:lnTo>
                      <a:pt x="591" y="897"/>
                    </a:lnTo>
                    <a:lnTo>
                      <a:pt x="580" y="914"/>
                    </a:lnTo>
                    <a:lnTo>
                      <a:pt x="551" y="943"/>
                    </a:lnTo>
                    <a:lnTo>
                      <a:pt x="539" y="952"/>
                    </a:lnTo>
                    <a:lnTo>
                      <a:pt x="484" y="995"/>
                    </a:lnTo>
                    <a:lnTo>
                      <a:pt x="465" y="1010"/>
                    </a:lnTo>
                    <a:lnTo>
                      <a:pt x="457" y="1012"/>
                    </a:lnTo>
                    <a:lnTo>
                      <a:pt x="443" y="1016"/>
                    </a:lnTo>
                    <a:lnTo>
                      <a:pt x="428" y="1016"/>
                    </a:lnTo>
                    <a:lnTo>
                      <a:pt x="420" y="1018"/>
                    </a:lnTo>
                    <a:lnTo>
                      <a:pt x="415" y="1022"/>
                    </a:lnTo>
                    <a:lnTo>
                      <a:pt x="411" y="1025"/>
                    </a:lnTo>
                    <a:lnTo>
                      <a:pt x="409" y="1033"/>
                    </a:lnTo>
                    <a:lnTo>
                      <a:pt x="405" y="1047"/>
                    </a:lnTo>
                    <a:lnTo>
                      <a:pt x="392" y="1093"/>
                    </a:lnTo>
                    <a:lnTo>
                      <a:pt x="388" y="1100"/>
                    </a:lnTo>
                    <a:lnTo>
                      <a:pt x="382" y="1106"/>
                    </a:lnTo>
                    <a:lnTo>
                      <a:pt x="372" y="1110"/>
                    </a:lnTo>
                    <a:lnTo>
                      <a:pt x="367" y="1110"/>
                    </a:lnTo>
                    <a:lnTo>
                      <a:pt x="361" y="1110"/>
                    </a:lnTo>
                    <a:lnTo>
                      <a:pt x="349" y="1114"/>
                    </a:lnTo>
                    <a:lnTo>
                      <a:pt x="328" y="1123"/>
                    </a:lnTo>
                    <a:lnTo>
                      <a:pt x="317" y="1131"/>
                    </a:lnTo>
                    <a:lnTo>
                      <a:pt x="303" y="1112"/>
                    </a:lnTo>
                    <a:lnTo>
                      <a:pt x="292" y="1110"/>
                    </a:lnTo>
                    <a:lnTo>
                      <a:pt x="286" y="1114"/>
                    </a:lnTo>
                    <a:lnTo>
                      <a:pt x="261" y="1104"/>
                    </a:lnTo>
                    <a:lnTo>
                      <a:pt x="194" y="1075"/>
                    </a:lnTo>
                    <a:lnTo>
                      <a:pt x="190" y="1062"/>
                    </a:lnTo>
                    <a:lnTo>
                      <a:pt x="161" y="1037"/>
                    </a:lnTo>
                    <a:lnTo>
                      <a:pt x="142" y="1006"/>
                    </a:lnTo>
                    <a:lnTo>
                      <a:pt x="140" y="975"/>
                    </a:lnTo>
                    <a:lnTo>
                      <a:pt x="134" y="964"/>
                    </a:lnTo>
                    <a:lnTo>
                      <a:pt x="123" y="952"/>
                    </a:lnTo>
                    <a:lnTo>
                      <a:pt x="96" y="945"/>
                    </a:lnTo>
                    <a:lnTo>
                      <a:pt x="75" y="922"/>
                    </a:lnTo>
                    <a:lnTo>
                      <a:pt x="0" y="868"/>
                    </a:lnTo>
                    <a:lnTo>
                      <a:pt x="15" y="822"/>
                    </a:lnTo>
                    <a:lnTo>
                      <a:pt x="23" y="812"/>
                    </a:lnTo>
                    <a:lnTo>
                      <a:pt x="38" y="804"/>
                    </a:lnTo>
                    <a:lnTo>
                      <a:pt x="50" y="787"/>
                    </a:lnTo>
                    <a:lnTo>
                      <a:pt x="107" y="680"/>
                    </a:lnTo>
                    <a:lnTo>
                      <a:pt x="111" y="672"/>
                    </a:lnTo>
                    <a:lnTo>
                      <a:pt x="109" y="668"/>
                    </a:lnTo>
                    <a:lnTo>
                      <a:pt x="107" y="664"/>
                    </a:lnTo>
                    <a:lnTo>
                      <a:pt x="107" y="660"/>
                    </a:lnTo>
                    <a:lnTo>
                      <a:pt x="107" y="657"/>
                    </a:lnTo>
                    <a:lnTo>
                      <a:pt x="111" y="651"/>
                    </a:lnTo>
                    <a:lnTo>
                      <a:pt x="115" y="647"/>
                    </a:lnTo>
                    <a:lnTo>
                      <a:pt x="125" y="639"/>
                    </a:lnTo>
                    <a:lnTo>
                      <a:pt x="129" y="635"/>
                    </a:lnTo>
                    <a:lnTo>
                      <a:pt x="132" y="635"/>
                    </a:lnTo>
                    <a:lnTo>
                      <a:pt x="136" y="637"/>
                    </a:lnTo>
                    <a:lnTo>
                      <a:pt x="142" y="635"/>
                    </a:lnTo>
                    <a:lnTo>
                      <a:pt x="144" y="634"/>
                    </a:lnTo>
                    <a:lnTo>
                      <a:pt x="152" y="635"/>
                    </a:lnTo>
                    <a:lnTo>
                      <a:pt x="159" y="622"/>
                    </a:lnTo>
                    <a:lnTo>
                      <a:pt x="163" y="609"/>
                    </a:lnTo>
                    <a:lnTo>
                      <a:pt x="180" y="574"/>
                    </a:lnTo>
                    <a:lnTo>
                      <a:pt x="184" y="568"/>
                    </a:lnTo>
                    <a:lnTo>
                      <a:pt x="194" y="551"/>
                    </a:lnTo>
                    <a:lnTo>
                      <a:pt x="194" y="547"/>
                    </a:lnTo>
                    <a:lnTo>
                      <a:pt x="190" y="543"/>
                    </a:lnTo>
                    <a:lnTo>
                      <a:pt x="190" y="539"/>
                    </a:lnTo>
                    <a:lnTo>
                      <a:pt x="192" y="539"/>
                    </a:lnTo>
                    <a:lnTo>
                      <a:pt x="194" y="539"/>
                    </a:lnTo>
                    <a:lnTo>
                      <a:pt x="196" y="539"/>
                    </a:lnTo>
                    <a:lnTo>
                      <a:pt x="198" y="539"/>
                    </a:lnTo>
                    <a:lnTo>
                      <a:pt x="200" y="539"/>
                    </a:lnTo>
                    <a:lnTo>
                      <a:pt x="200" y="537"/>
                    </a:lnTo>
                    <a:lnTo>
                      <a:pt x="200" y="536"/>
                    </a:lnTo>
                    <a:lnTo>
                      <a:pt x="198" y="534"/>
                    </a:lnTo>
                    <a:lnTo>
                      <a:pt x="196" y="534"/>
                    </a:lnTo>
                    <a:lnTo>
                      <a:pt x="196" y="532"/>
                    </a:lnTo>
                    <a:lnTo>
                      <a:pt x="196" y="530"/>
                    </a:lnTo>
                    <a:lnTo>
                      <a:pt x="200" y="524"/>
                    </a:lnTo>
                    <a:lnTo>
                      <a:pt x="202" y="522"/>
                    </a:lnTo>
                    <a:lnTo>
                      <a:pt x="213" y="511"/>
                    </a:lnTo>
                    <a:lnTo>
                      <a:pt x="221" y="503"/>
                    </a:lnTo>
                    <a:lnTo>
                      <a:pt x="223" y="495"/>
                    </a:lnTo>
                    <a:lnTo>
                      <a:pt x="226" y="489"/>
                    </a:lnTo>
                    <a:lnTo>
                      <a:pt x="230" y="486"/>
                    </a:lnTo>
                    <a:lnTo>
                      <a:pt x="236" y="486"/>
                    </a:lnTo>
                    <a:lnTo>
                      <a:pt x="238" y="484"/>
                    </a:lnTo>
                    <a:lnTo>
                      <a:pt x="238" y="478"/>
                    </a:lnTo>
                    <a:lnTo>
                      <a:pt x="236" y="474"/>
                    </a:lnTo>
                    <a:lnTo>
                      <a:pt x="246" y="451"/>
                    </a:lnTo>
                    <a:lnTo>
                      <a:pt x="251" y="438"/>
                    </a:lnTo>
                    <a:lnTo>
                      <a:pt x="250" y="428"/>
                    </a:lnTo>
                    <a:lnTo>
                      <a:pt x="248" y="422"/>
                    </a:lnTo>
                    <a:lnTo>
                      <a:pt x="251" y="397"/>
                    </a:lnTo>
                    <a:lnTo>
                      <a:pt x="253" y="390"/>
                    </a:lnTo>
                    <a:lnTo>
                      <a:pt x="250" y="384"/>
                    </a:lnTo>
                    <a:lnTo>
                      <a:pt x="248" y="376"/>
                    </a:lnTo>
                    <a:lnTo>
                      <a:pt x="248" y="372"/>
                    </a:lnTo>
                    <a:lnTo>
                      <a:pt x="253" y="345"/>
                    </a:lnTo>
                    <a:lnTo>
                      <a:pt x="259" y="338"/>
                    </a:lnTo>
                    <a:lnTo>
                      <a:pt x="253" y="322"/>
                    </a:lnTo>
                    <a:lnTo>
                      <a:pt x="251" y="309"/>
                    </a:lnTo>
                    <a:lnTo>
                      <a:pt x="250" y="301"/>
                    </a:lnTo>
                    <a:lnTo>
                      <a:pt x="253" y="297"/>
                    </a:lnTo>
                    <a:lnTo>
                      <a:pt x="265" y="293"/>
                    </a:lnTo>
                    <a:lnTo>
                      <a:pt x="273" y="286"/>
                    </a:lnTo>
                    <a:lnTo>
                      <a:pt x="274" y="280"/>
                    </a:lnTo>
                    <a:lnTo>
                      <a:pt x="276" y="269"/>
                    </a:lnTo>
                    <a:lnTo>
                      <a:pt x="278" y="265"/>
                    </a:lnTo>
                    <a:lnTo>
                      <a:pt x="288" y="261"/>
                    </a:lnTo>
                    <a:lnTo>
                      <a:pt x="299" y="263"/>
                    </a:lnTo>
                    <a:lnTo>
                      <a:pt x="305" y="265"/>
                    </a:lnTo>
                    <a:lnTo>
                      <a:pt x="307" y="259"/>
                    </a:lnTo>
                    <a:lnTo>
                      <a:pt x="315" y="257"/>
                    </a:lnTo>
                    <a:lnTo>
                      <a:pt x="322" y="255"/>
                    </a:lnTo>
                    <a:lnTo>
                      <a:pt x="328" y="247"/>
                    </a:lnTo>
                    <a:lnTo>
                      <a:pt x="332" y="244"/>
                    </a:lnTo>
                    <a:lnTo>
                      <a:pt x="338" y="240"/>
                    </a:lnTo>
                    <a:lnTo>
                      <a:pt x="338" y="238"/>
                    </a:lnTo>
                    <a:lnTo>
                      <a:pt x="332" y="232"/>
                    </a:lnTo>
                    <a:lnTo>
                      <a:pt x="332" y="226"/>
                    </a:lnTo>
                    <a:lnTo>
                      <a:pt x="334" y="220"/>
                    </a:lnTo>
                    <a:lnTo>
                      <a:pt x="338" y="217"/>
                    </a:lnTo>
                    <a:lnTo>
                      <a:pt x="342" y="215"/>
                    </a:lnTo>
                    <a:lnTo>
                      <a:pt x="355" y="215"/>
                    </a:lnTo>
                    <a:lnTo>
                      <a:pt x="357" y="215"/>
                    </a:lnTo>
                    <a:lnTo>
                      <a:pt x="357" y="211"/>
                    </a:lnTo>
                    <a:lnTo>
                      <a:pt x="349" y="207"/>
                    </a:lnTo>
                    <a:lnTo>
                      <a:pt x="347" y="205"/>
                    </a:lnTo>
                    <a:lnTo>
                      <a:pt x="347" y="197"/>
                    </a:lnTo>
                    <a:lnTo>
                      <a:pt x="349" y="192"/>
                    </a:lnTo>
                    <a:lnTo>
                      <a:pt x="351" y="176"/>
                    </a:lnTo>
                    <a:lnTo>
                      <a:pt x="353" y="171"/>
                    </a:lnTo>
                    <a:lnTo>
                      <a:pt x="355" y="167"/>
                    </a:lnTo>
                    <a:lnTo>
                      <a:pt x="357" y="165"/>
                    </a:lnTo>
                    <a:lnTo>
                      <a:pt x="359" y="161"/>
                    </a:lnTo>
                    <a:lnTo>
                      <a:pt x="355" y="159"/>
                    </a:lnTo>
                    <a:lnTo>
                      <a:pt x="355" y="155"/>
                    </a:lnTo>
                    <a:lnTo>
                      <a:pt x="357" y="153"/>
                    </a:lnTo>
                    <a:lnTo>
                      <a:pt x="367" y="146"/>
                    </a:lnTo>
                    <a:lnTo>
                      <a:pt x="369" y="144"/>
                    </a:lnTo>
                    <a:lnTo>
                      <a:pt x="365" y="140"/>
                    </a:lnTo>
                    <a:lnTo>
                      <a:pt x="365" y="134"/>
                    </a:lnTo>
                    <a:lnTo>
                      <a:pt x="367" y="128"/>
                    </a:lnTo>
                    <a:lnTo>
                      <a:pt x="370" y="113"/>
                    </a:lnTo>
                    <a:lnTo>
                      <a:pt x="374" y="101"/>
                    </a:lnTo>
                    <a:lnTo>
                      <a:pt x="376" y="94"/>
                    </a:lnTo>
                    <a:lnTo>
                      <a:pt x="380" y="90"/>
                    </a:lnTo>
                    <a:lnTo>
                      <a:pt x="382" y="88"/>
                    </a:lnTo>
                    <a:lnTo>
                      <a:pt x="386" y="86"/>
                    </a:lnTo>
                    <a:lnTo>
                      <a:pt x="392" y="86"/>
                    </a:lnTo>
                    <a:lnTo>
                      <a:pt x="397" y="80"/>
                    </a:lnTo>
                    <a:lnTo>
                      <a:pt x="399" y="71"/>
                    </a:lnTo>
                    <a:lnTo>
                      <a:pt x="405" y="61"/>
                    </a:lnTo>
                    <a:lnTo>
                      <a:pt x="413" y="51"/>
                    </a:lnTo>
                    <a:lnTo>
                      <a:pt x="417" y="48"/>
                    </a:lnTo>
                    <a:lnTo>
                      <a:pt x="420" y="48"/>
                    </a:lnTo>
                    <a:lnTo>
                      <a:pt x="428" y="51"/>
                    </a:lnTo>
                    <a:lnTo>
                      <a:pt x="436" y="53"/>
                    </a:lnTo>
                    <a:lnTo>
                      <a:pt x="445" y="50"/>
                    </a:lnTo>
                    <a:lnTo>
                      <a:pt x="463" y="38"/>
                    </a:lnTo>
                    <a:lnTo>
                      <a:pt x="468" y="30"/>
                    </a:lnTo>
                    <a:lnTo>
                      <a:pt x="472" y="28"/>
                    </a:lnTo>
                    <a:lnTo>
                      <a:pt x="476" y="28"/>
                    </a:lnTo>
                    <a:lnTo>
                      <a:pt x="490" y="32"/>
                    </a:lnTo>
                    <a:lnTo>
                      <a:pt x="497" y="34"/>
                    </a:lnTo>
                    <a:lnTo>
                      <a:pt x="499" y="34"/>
                    </a:lnTo>
                    <a:lnTo>
                      <a:pt x="499" y="28"/>
                    </a:lnTo>
                    <a:lnTo>
                      <a:pt x="499" y="25"/>
                    </a:lnTo>
                    <a:lnTo>
                      <a:pt x="503" y="21"/>
                    </a:lnTo>
                    <a:lnTo>
                      <a:pt x="511" y="15"/>
                    </a:lnTo>
                    <a:lnTo>
                      <a:pt x="516" y="13"/>
                    </a:lnTo>
                    <a:lnTo>
                      <a:pt x="524" y="13"/>
                    </a:lnTo>
                    <a:lnTo>
                      <a:pt x="526" y="7"/>
                    </a:lnTo>
                    <a:lnTo>
                      <a:pt x="530" y="5"/>
                    </a:lnTo>
                    <a:lnTo>
                      <a:pt x="538" y="5"/>
                    </a:lnTo>
                    <a:lnTo>
                      <a:pt x="543" y="3"/>
                    </a:lnTo>
                    <a:lnTo>
                      <a:pt x="551" y="5"/>
                    </a:lnTo>
                    <a:lnTo>
                      <a:pt x="555" y="5"/>
                    </a:lnTo>
                    <a:lnTo>
                      <a:pt x="559" y="1"/>
                    </a:lnTo>
                    <a:lnTo>
                      <a:pt x="566" y="1"/>
                    </a:lnTo>
                    <a:lnTo>
                      <a:pt x="572" y="1"/>
                    </a:lnTo>
                    <a:lnTo>
                      <a:pt x="58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19" name="Freeform 9">
                <a:extLst>
                  <a:ext uri="{FF2B5EF4-FFF2-40B4-BE49-F238E27FC236}">
                    <a16:creationId xmlns:a16="http://schemas.microsoft.com/office/drawing/2014/main" id="{B20CD62B-D762-7179-8EAB-2DC4D74A2F20}"/>
                  </a:ext>
                </a:extLst>
              </p:cNvPr>
              <p:cNvSpPr>
                <a:spLocks/>
              </p:cNvSpPr>
              <p:nvPr/>
            </p:nvSpPr>
            <p:spPr bwMode="gray">
              <a:xfrm>
                <a:off x="2500808" y="3242787"/>
                <a:ext cx="649609" cy="479312"/>
              </a:xfrm>
              <a:custGeom>
                <a:avLst/>
                <a:gdLst>
                  <a:gd name="T0" fmla="*/ 480 w 576"/>
                  <a:gd name="T1" fmla="*/ 409 h 425"/>
                  <a:gd name="T2" fmla="*/ 486 w 576"/>
                  <a:gd name="T3" fmla="*/ 381 h 425"/>
                  <a:gd name="T4" fmla="*/ 497 w 576"/>
                  <a:gd name="T5" fmla="*/ 352 h 425"/>
                  <a:gd name="T6" fmla="*/ 470 w 576"/>
                  <a:gd name="T7" fmla="*/ 346 h 425"/>
                  <a:gd name="T8" fmla="*/ 361 w 576"/>
                  <a:gd name="T9" fmla="*/ 373 h 425"/>
                  <a:gd name="T10" fmla="*/ 284 w 576"/>
                  <a:gd name="T11" fmla="*/ 379 h 425"/>
                  <a:gd name="T12" fmla="*/ 48 w 576"/>
                  <a:gd name="T13" fmla="*/ 377 h 425"/>
                  <a:gd name="T14" fmla="*/ 38 w 576"/>
                  <a:gd name="T15" fmla="*/ 350 h 425"/>
                  <a:gd name="T16" fmla="*/ 0 w 576"/>
                  <a:gd name="T17" fmla="*/ 346 h 425"/>
                  <a:gd name="T18" fmla="*/ 10 w 576"/>
                  <a:gd name="T19" fmla="*/ 333 h 425"/>
                  <a:gd name="T20" fmla="*/ 27 w 576"/>
                  <a:gd name="T21" fmla="*/ 273 h 425"/>
                  <a:gd name="T22" fmla="*/ 33 w 576"/>
                  <a:gd name="T23" fmla="*/ 262 h 425"/>
                  <a:gd name="T24" fmla="*/ 46 w 576"/>
                  <a:gd name="T25" fmla="*/ 256 h 425"/>
                  <a:gd name="T26" fmla="*/ 75 w 576"/>
                  <a:gd name="T27" fmla="*/ 252 h 425"/>
                  <a:gd name="T28" fmla="*/ 102 w 576"/>
                  <a:gd name="T29" fmla="*/ 235 h 425"/>
                  <a:gd name="T30" fmla="*/ 169 w 576"/>
                  <a:gd name="T31" fmla="*/ 183 h 425"/>
                  <a:gd name="T32" fmla="*/ 209 w 576"/>
                  <a:gd name="T33" fmla="*/ 137 h 425"/>
                  <a:gd name="T34" fmla="*/ 252 w 576"/>
                  <a:gd name="T35" fmla="*/ 87 h 425"/>
                  <a:gd name="T36" fmla="*/ 300 w 576"/>
                  <a:gd name="T37" fmla="*/ 25 h 425"/>
                  <a:gd name="T38" fmla="*/ 324 w 576"/>
                  <a:gd name="T39" fmla="*/ 6 h 425"/>
                  <a:gd name="T40" fmla="*/ 349 w 576"/>
                  <a:gd name="T41" fmla="*/ 2 h 425"/>
                  <a:gd name="T42" fmla="*/ 428 w 576"/>
                  <a:gd name="T43" fmla="*/ 62 h 425"/>
                  <a:gd name="T44" fmla="*/ 459 w 576"/>
                  <a:gd name="T45" fmla="*/ 75 h 425"/>
                  <a:gd name="T46" fmla="*/ 478 w 576"/>
                  <a:gd name="T47" fmla="*/ 79 h 425"/>
                  <a:gd name="T48" fmla="*/ 530 w 576"/>
                  <a:gd name="T49" fmla="*/ 85 h 425"/>
                  <a:gd name="T50" fmla="*/ 566 w 576"/>
                  <a:gd name="T51" fmla="*/ 96 h 425"/>
                  <a:gd name="T52" fmla="*/ 576 w 576"/>
                  <a:gd name="T53" fmla="*/ 187 h 425"/>
                  <a:gd name="T54" fmla="*/ 564 w 576"/>
                  <a:gd name="T55" fmla="*/ 202 h 425"/>
                  <a:gd name="T56" fmla="*/ 538 w 576"/>
                  <a:gd name="T57" fmla="*/ 198 h 425"/>
                  <a:gd name="T58" fmla="*/ 509 w 576"/>
                  <a:gd name="T59" fmla="*/ 200 h 425"/>
                  <a:gd name="T60" fmla="*/ 501 w 576"/>
                  <a:gd name="T61" fmla="*/ 214 h 425"/>
                  <a:gd name="T62" fmla="*/ 499 w 576"/>
                  <a:gd name="T63" fmla="*/ 219 h 425"/>
                  <a:gd name="T64" fmla="*/ 501 w 576"/>
                  <a:gd name="T65" fmla="*/ 229 h 425"/>
                  <a:gd name="T66" fmla="*/ 520 w 576"/>
                  <a:gd name="T67" fmla="*/ 242 h 425"/>
                  <a:gd name="T68" fmla="*/ 540 w 576"/>
                  <a:gd name="T69" fmla="*/ 273 h 425"/>
                  <a:gd name="T70" fmla="*/ 541 w 576"/>
                  <a:gd name="T71" fmla="*/ 333 h 425"/>
                  <a:gd name="T72" fmla="*/ 540 w 576"/>
                  <a:gd name="T73" fmla="*/ 369 h 425"/>
                  <a:gd name="T74" fmla="*/ 547 w 576"/>
                  <a:gd name="T75" fmla="*/ 394 h 425"/>
                  <a:gd name="T76" fmla="*/ 482 w 576"/>
                  <a:gd name="T77"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425">
                    <a:moveTo>
                      <a:pt x="482" y="425"/>
                    </a:moveTo>
                    <a:lnTo>
                      <a:pt x="480" y="409"/>
                    </a:lnTo>
                    <a:lnTo>
                      <a:pt x="480" y="394"/>
                    </a:lnTo>
                    <a:lnTo>
                      <a:pt x="486" y="381"/>
                    </a:lnTo>
                    <a:lnTo>
                      <a:pt x="497" y="365"/>
                    </a:lnTo>
                    <a:lnTo>
                      <a:pt x="497" y="352"/>
                    </a:lnTo>
                    <a:lnTo>
                      <a:pt x="497" y="336"/>
                    </a:lnTo>
                    <a:lnTo>
                      <a:pt x="470" y="346"/>
                    </a:lnTo>
                    <a:lnTo>
                      <a:pt x="363" y="373"/>
                    </a:lnTo>
                    <a:lnTo>
                      <a:pt x="361" y="373"/>
                    </a:lnTo>
                    <a:lnTo>
                      <a:pt x="344" y="379"/>
                    </a:lnTo>
                    <a:lnTo>
                      <a:pt x="284" y="379"/>
                    </a:lnTo>
                    <a:lnTo>
                      <a:pt x="234" y="377"/>
                    </a:lnTo>
                    <a:lnTo>
                      <a:pt x="48" y="377"/>
                    </a:lnTo>
                    <a:lnTo>
                      <a:pt x="50" y="352"/>
                    </a:lnTo>
                    <a:lnTo>
                      <a:pt x="38" y="350"/>
                    </a:lnTo>
                    <a:lnTo>
                      <a:pt x="19" y="348"/>
                    </a:lnTo>
                    <a:lnTo>
                      <a:pt x="0" y="346"/>
                    </a:lnTo>
                    <a:lnTo>
                      <a:pt x="6" y="340"/>
                    </a:lnTo>
                    <a:lnTo>
                      <a:pt x="10" y="333"/>
                    </a:lnTo>
                    <a:lnTo>
                      <a:pt x="23" y="287"/>
                    </a:lnTo>
                    <a:lnTo>
                      <a:pt x="27" y="273"/>
                    </a:lnTo>
                    <a:lnTo>
                      <a:pt x="29" y="265"/>
                    </a:lnTo>
                    <a:lnTo>
                      <a:pt x="33" y="262"/>
                    </a:lnTo>
                    <a:lnTo>
                      <a:pt x="38" y="258"/>
                    </a:lnTo>
                    <a:lnTo>
                      <a:pt x="46" y="256"/>
                    </a:lnTo>
                    <a:lnTo>
                      <a:pt x="61" y="256"/>
                    </a:lnTo>
                    <a:lnTo>
                      <a:pt x="75" y="252"/>
                    </a:lnTo>
                    <a:lnTo>
                      <a:pt x="83" y="250"/>
                    </a:lnTo>
                    <a:lnTo>
                      <a:pt x="102" y="235"/>
                    </a:lnTo>
                    <a:lnTo>
                      <a:pt x="157" y="192"/>
                    </a:lnTo>
                    <a:lnTo>
                      <a:pt x="169" y="183"/>
                    </a:lnTo>
                    <a:lnTo>
                      <a:pt x="198" y="154"/>
                    </a:lnTo>
                    <a:lnTo>
                      <a:pt x="209" y="137"/>
                    </a:lnTo>
                    <a:lnTo>
                      <a:pt x="236" y="98"/>
                    </a:lnTo>
                    <a:lnTo>
                      <a:pt x="252" y="87"/>
                    </a:lnTo>
                    <a:lnTo>
                      <a:pt x="292" y="35"/>
                    </a:lnTo>
                    <a:lnTo>
                      <a:pt x="300" y="25"/>
                    </a:lnTo>
                    <a:lnTo>
                      <a:pt x="313" y="10"/>
                    </a:lnTo>
                    <a:lnTo>
                      <a:pt x="324" y="6"/>
                    </a:lnTo>
                    <a:lnTo>
                      <a:pt x="336" y="0"/>
                    </a:lnTo>
                    <a:lnTo>
                      <a:pt x="349" y="2"/>
                    </a:lnTo>
                    <a:lnTo>
                      <a:pt x="363" y="6"/>
                    </a:lnTo>
                    <a:lnTo>
                      <a:pt x="428" y="62"/>
                    </a:lnTo>
                    <a:lnTo>
                      <a:pt x="445" y="69"/>
                    </a:lnTo>
                    <a:lnTo>
                      <a:pt x="459" y="75"/>
                    </a:lnTo>
                    <a:lnTo>
                      <a:pt x="470" y="77"/>
                    </a:lnTo>
                    <a:lnTo>
                      <a:pt x="478" y="79"/>
                    </a:lnTo>
                    <a:lnTo>
                      <a:pt x="509" y="81"/>
                    </a:lnTo>
                    <a:lnTo>
                      <a:pt x="530" y="85"/>
                    </a:lnTo>
                    <a:lnTo>
                      <a:pt x="541" y="87"/>
                    </a:lnTo>
                    <a:lnTo>
                      <a:pt x="566" y="96"/>
                    </a:lnTo>
                    <a:lnTo>
                      <a:pt x="576" y="102"/>
                    </a:lnTo>
                    <a:lnTo>
                      <a:pt x="576" y="187"/>
                    </a:lnTo>
                    <a:lnTo>
                      <a:pt x="576" y="202"/>
                    </a:lnTo>
                    <a:lnTo>
                      <a:pt x="564" y="202"/>
                    </a:lnTo>
                    <a:lnTo>
                      <a:pt x="551" y="200"/>
                    </a:lnTo>
                    <a:lnTo>
                      <a:pt x="538" y="198"/>
                    </a:lnTo>
                    <a:lnTo>
                      <a:pt x="509" y="194"/>
                    </a:lnTo>
                    <a:lnTo>
                      <a:pt x="509" y="200"/>
                    </a:lnTo>
                    <a:lnTo>
                      <a:pt x="503" y="208"/>
                    </a:lnTo>
                    <a:lnTo>
                      <a:pt x="501" y="214"/>
                    </a:lnTo>
                    <a:lnTo>
                      <a:pt x="499" y="217"/>
                    </a:lnTo>
                    <a:lnTo>
                      <a:pt x="499" y="219"/>
                    </a:lnTo>
                    <a:lnTo>
                      <a:pt x="499" y="223"/>
                    </a:lnTo>
                    <a:lnTo>
                      <a:pt x="501" y="229"/>
                    </a:lnTo>
                    <a:lnTo>
                      <a:pt x="509" y="235"/>
                    </a:lnTo>
                    <a:lnTo>
                      <a:pt x="520" y="242"/>
                    </a:lnTo>
                    <a:lnTo>
                      <a:pt x="532" y="265"/>
                    </a:lnTo>
                    <a:lnTo>
                      <a:pt x="540" y="273"/>
                    </a:lnTo>
                    <a:lnTo>
                      <a:pt x="541" y="285"/>
                    </a:lnTo>
                    <a:lnTo>
                      <a:pt x="541" y="333"/>
                    </a:lnTo>
                    <a:lnTo>
                      <a:pt x="540" y="361"/>
                    </a:lnTo>
                    <a:lnTo>
                      <a:pt x="540" y="369"/>
                    </a:lnTo>
                    <a:lnTo>
                      <a:pt x="540" y="375"/>
                    </a:lnTo>
                    <a:lnTo>
                      <a:pt x="547" y="394"/>
                    </a:lnTo>
                    <a:lnTo>
                      <a:pt x="553" y="408"/>
                    </a:lnTo>
                    <a:lnTo>
                      <a:pt x="482" y="425"/>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10">
                <a:extLst>
                  <a:ext uri="{FF2B5EF4-FFF2-40B4-BE49-F238E27FC236}">
                    <a16:creationId xmlns:a16="http://schemas.microsoft.com/office/drawing/2014/main" id="{BB89DFEF-ED9D-2525-B010-4646292D69DE}"/>
                  </a:ext>
                </a:extLst>
              </p:cNvPr>
              <p:cNvSpPr>
                <a:spLocks noEditPoints="1"/>
              </p:cNvSpPr>
              <p:nvPr/>
            </p:nvSpPr>
            <p:spPr bwMode="gray">
              <a:xfrm>
                <a:off x="2580881" y="3621726"/>
                <a:ext cx="480440" cy="406006"/>
              </a:xfrm>
              <a:custGeom>
                <a:avLst/>
                <a:gdLst>
                  <a:gd name="T0" fmla="*/ 171 w 426"/>
                  <a:gd name="T1" fmla="*/ 269 h 360"/>
                  <a:gd name="T2" fmla="*/ 181 w 426"/>
                  <a:gd name="T3" fmla="*/ 285 h 360"/>
                  <a:gd name="T4" fmla="*/ 192 w 426"/>
                  <a:gd name="T5" fmla="*/ 304 h 360"/>
                  <a:gd name="T6" fmla="*/ 198 w 426"/>
                  <a:gd name="T7" fmla="*/ 314 h 360"/>
                  <a:gd name="T8" fmla="*/ 163 w 426"/>
                  <a:gd name="T9" fmla="*/ 331 h 360"/>
                  <a:gd name="T10" fmla="*/ 194 w 426"/>
                  <a:gd name="T11" fmla="*/ 337 h 360"/>
                  <a:gd name="T12" fmla="*/ 152 w 426"/>
                  <a:gd name="T13" fmla="*/ 342 h 360"/>
                  <a:gd name="T14" fmla="*/ 140 w 426"/>
                  <a:gd name="T15" fmla="*/ 294 h 360"/>
                  <a:gd name="T16" fmla="*/ 140 w 426"/>
                  <a:gd name="T17" fmla="*/ 289 h 360"/>
                  <a:gd name="T18" fmla="*/ 156 w 426"/>
                  <a:gd name="T19" fmla="*/ 269 h 360"/>
                  <a:gd name="T20" fmla="*/ 165 w 426"/>
                  <a:gd name="T21" fmla="*/ 268 h 360"/>
                  <a:gd name="T22" fmla="*/ 421 w 426"/>
                  <a:gd name="T23" fmla="*/ 127 h 360"/>
                  <a:gd name="T24" fmla="*/ 413 w 426"/>
                  <a:gd name="T25" fmla="*/ 173 h 360"/>
                  <a:gd name="T26" fmla="*/ 305 w 426"/>
                  <a:gd name="T27" fmla="*/ 191 h 360"/>
                  <a:gd name="T28" fmla="*/ 307 w 426"/>
                  <a:gd name="T29" fmla="*/ 231 h 360"/>
                  <a:gd name="T30" fmla="*/ 292 w 426"/>
                  <a:gd name="T31" fmla="*/ 258 h 360"/>
                  <a:gd name="T32" fmla="*/ 300 w 426"/>
                  <a:gd name="T33" fmla="*/ 298 h 360"/>
                  <a:gd name="T34" fmla="*/ 298 w 426"/>
                  <a:gd name="T35" fmla="*/ 302 h 360"/>
                  <a:gd name="T36" fmla="*/ 292 w 426"/>
                  <a:gd name="T37" fmla="*/ 310 h 360"/>
                  <a:gd name="T38" fmla="*/ 290 w 426"/>
                  <a:gd name="T39" fmla="*/ 321 h 360"/>
                  <a:gd name="T40" fmla="*/ 278 w 426"/>
                  <a:gd name="T41" fmla="*/ 321 h 360"/>
                  <a:gd name="T42" fmla="*/ 275 w 426"/>
                  <a:gd name="T43" fmla="*/ 333 h 360"/>
                  <a:gd name="T44" fmla="*/ 255 w 426"/>
                  <a:gd name="T45" fmla="*/ 329 h 360"/>
                  <a:gd name="T46" fmla="*/ 253 w 426"/>
                  <a:gd name="T47" fmla="*/ 329 h 360"/>
                  <a:gd name="T48" fmla="*/ 238 w 426"/>
                  <a:gd name="T49" fmla="*/ 321 h 360"/>
                  <a:gd name="T50" fmla="*/ 227 w 426"/>
                  <a:gd name="T51" fmla="*/ 329 h 360"/>
                  <a:gd name="T52" fmla="*/ 227 w 426"/>
                  <a:gd name="T53" fmla="*/ 325 h 360"/>
                  <a:gd name="T54" fmla="*/ 225 w 426"/>
                  <a:gd name="T55" fmla="*/ 310 h 360"/>
                  <a:gd name="T56" fmla="*/ 219 w 426"/>
                  <a:gd name="T57" fmla="*/ 298 h 360"/>
                  <a:gd name="T58" fmla="*/ 204 w 426"/>
                  <a:gd name="T59" fmla="*/ 291 h 360"/>
                  <a:gd name="T60" fmla="*/ 175 w 426"/>
                  <a:gd name="T61" fmla="*/ 256 h 360"/>
                  <a:gd name="T62" fmla="*/ 134 w 426"/>
                  <a:gd name="T63" fmla="*/ 277 h 360"/>
                  <a:gd name="T64" fmla="*/ 133 w 426"/>
                  <a:gd name="T65" fmla="*/ 319 h 360"/>
                  <a:gd name="T66" fmla="*/ 102 w 426"/>
                  <a:gd name="T67" fmla="*/ 342 h 360"/>
                  <a:gd name="T68" fmla="*/ 61 w 426"/>
                  <a:gd name="T69" fmla="*/ 344 h 360"/>
                  <a:gd name="T70" fmla="*/ 58 w 426"/>
                  <a:gd name="T71" fmla="*/ 354 h 360"/>
                  <a:gd name="T72" fmla="*/ 38 w 426"/>
                  <a:gd name="T73" fmla="*/ 358 h 360"/>
                  <a:gd name="T74" fmla="*/ 19 w 426"/>
                  <a:gd name="T75" fmla="*/ 296 h 360"/>
                  <a:gd name="T76" fmla="*/ 4 w 426"/>
                  <a:gd name="T77" fmla="*/ 241 h 360"/>
                  <a:gd name="T78" fmla="*/ 71 w 426"/>
                  <a:gd name="T79" fmla="*/ 193 h 360"/>
                  <a:gd name="T80" fmla="*/ 102 w 426"/>
                  <a:gd name="T81" fmla="*/ 179 h 360"/>
                  <a:gd name="T82" fmla="*/ 159 w 426"/>
                  <a:gd name="T83" fmla="*/ 156 h 360"/>
                  <a:gd name="T84" fmla="*/ 161 w 426"/>
                  <a:gd name="T85" fmla="*/ 118 h 360"/>
                  <a:gd name="T86" fmla="*/ 213 w 426"/>
                  <a:gd name="T87" fmla="*/ 43 h 360"/>
                  <a:gd name="T88" fmla="*/ 292 w 426"/>
                  <a:gd name="T89" fmla="*/ 37 h 360"/>
                  <a:gd name="T90" fmla="*/ 426 w 426"/>
                  <a:gd name="T91" fmla="*/ 16 h 360"/>
                  <a:gd name="T92" fmla="*/ 409 w 426"/>
                  <a:gd name="T93" fmla="*/ 5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6" h="360">
                    <a:moveTo>
                      <a:pt x="165" y="268"/>
                    </a:moveTo>
                    <a:lnTo>
                      <a:pt x="167" y="271"/>
                    </a:lnTo>
                    <a:lnTo>
                      <a:pt x="171" y="269"/>
                    </a:lnTo>
                    <a:lnTo>
                      <a:pt x="177" y="275"/>
                    </a:lnTo>
                    <a:lnTo>
                      <a:pt x="175" y="279"/>
                    </a:lnTo>
                    <a:lnTo>
                      <a:pt x="181" y="285"/>
                    </a:lnTo>
                    <a:lnTo>
                      <a:pt x="184" y="294"/>
                    </a:lnTo>
                    <a:lnTo>
                      <a:pt x="190" y="300"/>
                    </a:lnTo>
                    <a:lnTo>
                      <a:pt x="192" y="304"/>
                    </a:lnTo>
                    <a:lnTo>
                      <a:pt x="196" y="304"/>
                    </a:lnTo>
                    <a:lnTo>
                      <a:pt x="198" y="308"/>
                    </a:lnTo>
                    <a:lnTo>
                      <a:pt x="198" y="314"/>
                    </a:lnTo>
                    <a:lnTo>
                      <a:pt x="198" y="331"/>
                    </a:lnTo>
                    <a:lnTo>
                      <a:pt x="194" y="331"/>
                    </a:lnTo>
                    <a:lnTo>
                      <a:pt x="163" y="331"/>
                    </a:lnTo>
                    <a:lnTo>
                      <a:pt x="161" y="333"/>
                    </a:lnTo>
                    <a:lnTo>
                      <a:pt x="163" y="335"/>
                    </a:lnTo>
                    <a:lnTo>
                      <a:pt x="194" y="337"/>
                    </a:lnTo>
                    <a:lnTo>
                      <a:pt x="194" y="346"/>
                    </a:lnTo>
                    <a:lnTo>
                      <a:pt x="152" y="344"/>
                    </a:lnTo>
                    <a:lnTo>
                      <a:pt x="152" y="342"/>
                    </a:lnTo>
                    <a:lnTo>
                      <a:pt x="146" y="300"/>
                    </a:lnTo>
                    <a:lnTo>
                      <a:pt x="144" y="296"/>
                    </a:lnTo>
                    <a:lnTo>
                      <a:pt x="140" y="294"/>
                    </a:lnTo>
                    <a:lnTo>
                      <a:pt x="138" y="292"/>
                    </a:lnTo>
                    <a:lnTo>
                      <a:pt x="138" y="289"/>
                    </a:lnTo>
                    <a:lnTo>
                      <a:pt x="140" y="289"/>
                    </a:lnTo>
                    <a:lnTo>
                      <a:pt x="142" y="277"/>
                    </a:lnTo>
                    <a:lnTo>
                      <a:pt x="152" y="269"/>
                    </a:lnTo>
                    <a:lnTo>
                      <a:pt x="156" y="269"/>
                    </a:lnTo>
                    <a:lnTo>
                      <a:pt x="157" y="268"/>
                    </a:lnTo>
                    <a:lnTo>
                      <a:pt x="159" y="266"/>
                    </a:lnTo>
                    <a:lnTo>
                      <a:pt x="165" y="268"/>
                    </a:lnTo>
                    <a:close/>
                    <a:moveTo>
                      <a:pt x="411" y="89"/>
                    </a:moveTo>
                    <a:lnTo>
                      <a:pt x="419" y="112"/>
                    </a:lnTo>
                    <a:lnTo>
                      <a:pt x="421" y="127"/>
                    </a:lnTo>
                    <a:lnTo>
                      <a:pt x="419" y="150"/>
                    </a:lnTo>
                    <a:lnTo>
                      <a:pt x="415" y="168"/>
                    </a:lnTo>
                    <a:lnTo>
                      <a:pt x="413" y="173"/>
                    </a:lnTo>
                    <a:lnTo>
                      <a:pt x="413" y="187"/>
                    </a:lnTo>
                    <a:lnTo>
                      <a:pt x="394" y="185"/>
                    </a:lnTo>
                    <a:lnTo>
                      <a:pt x="305" y="191"/>
                    </a:lnTo>
                    <a:lnTo>
                      <a:pt x="307" y="202"/>
                    </a:lnTo>
                    <a:lnTo>
                      <a:pt x="309" y="216"/>
                    </a:lnTo>
                    <a:lnTo>
                      <a:pt x="307" y="231"/>
                    </a:lnTo>
                    <a:lnTo>
                      <a:pt x="317" y="250"/>
                    </a:lnTo>
                    <a:lnTo>
                      <a:pt x="305" y="258"/>
                    </a:lnTo>
                    <a:lnTo>
                      <a:pt x="292" y="258"/>
                    </a:lnTo>
                    <a:lnTo>
                      <a:pt x="292" y="273"/>
                    </a:lnTo>
                    <a:lnTo>
                      <a:pt x="300" y="273"/>
                    </a:lnTo>
                    <a:lnTo>
                      <a:pt x="300" y="298"/>
                    </a:lnTo>
                    <a:lnTo>
                      <a:pt x="292" y="298"/>
                    </a:lnTo>
                    <a:lnTo>
                      <a:pt x="292" y="302"/>
                    </a:lnTo>
                    <a:lnTo>
                      <a:pt x="298" y="302"/>
                    </a:lnTo>
                    <a:lnTo>
                      <a:pt x="298" y="306"/>
                    </a:lnTo>
                    <a:lnTo>
                      <a:pt x="292" y="308"/>
                    </a:lnTo>
                    <a:lnTo>
                      <a:pt x="292" y="310"/>
                    </a:lnTo>
                    <a:lnTo>
                      <a:pt x="301" y="310"/>
                    </a:lnTo>
                    <a:lnTo>
                      <a:pt x="301" y="319"/>
                    </a:lnTo>
                    <a:lnTo>
                      <a:pt x="290" y="321"/>
                    </a:lnTo>
                    <a:lnTo>
                      <a:pt x="290" y="319"/>
                    </a:lnTo>
                    <a:lnTo>
                      <a:pt x="280" y="319"/>
                    </a:lnTo>
                    <a:lnTo>
                      <a:pt x="278" y="321"/>
                    </a:lnTo>
                    <a:lnTo>
                      <a:pt x="282" y="321"/>
                    </a:lnTo>
                    <a:lnTo>
                      <a:pt x="277" y="331"/>
                    </a:lnTo>
                    <a:lnTo>
                      <a:pt x="275" y="333"/>
                    </a:lnTo>
                    <a:lnTo>
                      <a:pt x="271" y="325"/>
                    </a:lnTo>
                    <a:lnTo>
                      <a:pt x="265" y="331"/>
                    </a:lnTo>
                    <a:lnTo>
                      <a:pt x="255" y="329"/>
                    </a:lnTo>
                    <a:lnTo>
                      <a:pt x="255" y="321"/>
                    </a:lnTo>
                    <a:lnTo>
                      <a:pt x="253" y="321"/>
                    </a:lnTo>
                    <a:lnTo>
                      <a:pt x="253" y="329"/>
                    </a:lnTo>
                    <a:lnTo>
                      <a:pt x="244" y="331"/>
                    </a:lnTo>
                    <a:lnTo>
                      <a:pt x="244" y="321"/>
                    </a:lnTo>
                    <a:lnTo>
                      <a:pt x="238" y="321"/>
                    </a:lnTo>
                    <a:lnTo>
                      <a:pt x="236" y="331"/>
                    </a:lnTo>
                    <a:lnTo>
                      <a:pt x="227" y="331"/>
                    </a:lnTo>
                    <a:lnTo>
                      <a:pt x="227" y="329"/>
                    </a:lnTo>
                    <a:lnTo>
                      <a:pt x="225" y="329"/>
                    </a:lnTo>
                    <a:lnTo>
                      <a:pt x="225" y="327"/>
                    </a:lnTo>
                    <a:lnTo>
                      <a:pt x="227" y="325"/>
                    </a:lnTo>
                    <a:lnTo>
                      <a:pt x="227" y="321"/>
                    </a:lnTo>
                    <a:lnTo>
                      <a:pt x="225" y="316"/>
                    </a:lnTo>
                    <a:lnTo>
                      <a:pt x="225" y="310"/>
                    </a:lnTo>
                    <a:lnTo>
                      <a:pt x="225" y="302"/>
                    </a:lnTo>
                    <a:lnTo>
                      <a:pt x="223" y="298"/>
                    </a:lnTo>
                    <a:lnTo>
                      <a:pt x="219" y="298"/>
                    </a:lnTo>
                    <a:lnTo>
                      <a:pt x="217" y="296"/>
                    </a:lnTo>
                    <a:lnTo>
                      <a:pt x="215" y="298"/>
                    </a:lnTo>
                    <a:lnTo>
                      <a:pt x="204" y="291"/>
                    </a:lnTo>
                    <a:lnTo>
                      <a:pt x="192" y="285"/>
                    </a:lnTo>
                    <a:lnTo>
                      <a:pt x="177" y="268"/>
                    </a:lnTo>
                    <a:lnTo>
                      <a:pt x="175" y="256"/>
                    </a:lnTo>
                    <a:lnTo>
                      <a:pt x="161" y="258"/>
                    </a:lnTo>
                    <a:lnTo>
                      <a:pt x="148" y="258"/>
                    </a:lnTo>
                    <a:lnTo>
                      <a:pt x="134" y="277"/>
                    </a:lnTo>
                    <a:lnTo>
                      <a:pt x="133" y="294"/>
                    </a:lnTo>
                    <a:lnTo>
                      <a:pt x="134" y="308"/>
                    </a:lnTo>
                    <a:lnTo>
                      <a:pt x="133" y="319"/>
                    </a:lnTo>
                    <a:lnTo>
                      <a:pt x="133" y="329"/>
                    </a:lnTo>
                    <a:lnTo>
                      <a:pt x="119" y="339"/>
                    </a:lnTo>
                    <a:lnTo>
                      <a:pt x="102" y="342"/>
                    </a:lnTo>
                    <a:lnTo>
                      <a:pt x="92" y="342"/>
                    </a:lnTo>
                    <a:lnTo>
                      <a:pt x="71" y="342"/>
                    </a:lnTo>
                    <a:lnTo>
                      <a:pt x="61" y="344"/>
                    </a:lnTo>
                    <a:lnTo>
                      <a:pt x="63" y="348"/>
                    </a:lnTo>
                    <a:lnTo>
                      <a:pt x="61" y="354"/>
                    </a:lnTo>
                    <a:lnTo>
                      <a:pt x="58" y="354"/>
                    </a:lnTo>
                    <a:lnTo>
                      <a:pt x="54" y="346"/>
                    </a:lnTo>
                    <a:lnTo>
                      <a:pt x="37" y="350"/>
                    </a:lnTo>
                    <a:lnTo>
                      <a:pt x="38" y="358"/>
                    </a:lnTo>
                    <a:lnTo>
                      <a:pt x="27" y="360"/>
                    </a:lnTo>
                    <a:lnTo>
                      <a:pt x="25" y="352"/>
                    </a:lnTo>
                    <a:lnTo>
                      <a:pt x="19" y="296"/>
                    </a:lnTo>
                    <a:lnTo>
                      <a:pt x="15" y="262"/>
                    </a:lnTo>
                    <a:lnTo>
                      <a:pt x="12" y="246"/>
                    </a:lnTo>
                    <a:lnTo>
                      <a:pt x="4" y="241"/>
                    </a:lnTo>
                    <a:lnTo>
                      <a:pt x="0" y="225"/>
                    </a:lnTo>
                    <a:lnTo>
                      <a:pt x="37" y="212"/>
                    </a:lnTo>
                    <a:lnTo>
                      <a:pt x="71" y="193"/>
                    </a:lnTo>
                    <a:lnTo>
                      <a:pt x="88" y="183"/>
                    </a:lnTo>
                    <a:lnTo>
                      <a:pt x="92" y="181"/>
                    </a:lnTo>
                    <a:lnTo>
                      <a:pt x="102" y="179"/>
                    </a:lnTo>
                    <a:lnTo>
                      <a:pt x="127" y="177"/>
                    </a:lnTo>
                    <a:lnTo>
                      <a:pt x="154" y="177"/>
                    </a:lnTo>
                    <a:lnTo>
                      <a:pt x="159" y="156"/>
                    </a:lnTo>
                    <a:lnTo>
                      <a:pt x="159" y="146"/>
                    </a:lnTo>
                    <a:lnTo>
                      <a:pt x="161" y="139"/>
                    </a:lnTo>
                    <a:lnTo>
                      <a:pt x="161" y="118"/>
                    </a:lnTo>
                    <a:lnTo>
                      <a:pt x="163" y="97"/>
                    </a:lnTo>
                    <a:lnTo>
                      <a:pt x="163" y="41"/>
                    </a:lnTo>
                    <a:lnTo>
                      <a:pt x="213" y="43"/>
                    </a:lnTo>
                    <a:lnTo>
                      <a:pt x="273" y="43"/>
                    </a:lnTo>
                    <a:lnTo>
                      <a:pt x="290" y="37"/>
                    </a:lnTo>
                    <a:lnTo>
                      <a:pt x="292" y="37"/>
                    </a:lnTo>
                    <a:lnTo>
                      <a:pt x="399" y="10"/>
                    </a:lnTo>
                    <a:lnTo>
                      <a:pt x="426" y="0"/>
                    </a:lnTo>
                    <a:lnTo>
                      <a:pt x="426" y="16"/>
                    </a:lnTo>
                    <a:lnTo>
                      <a:pt x="426" y="29"/>
                    </a:lnTo>
                    <a:lnTo>
                      <a:pt x="415" y="45"/>
                    </a:lnTo>
                    <a:lnTo>
                      <a:pt x="409" y="58"/>
                    </a:lnTo>
                    <a:lnTo>
                      <a:pt x="409" y="73"/>
                    </a:lnTo>
                    <a:lnTo>
                      <a:pt x="411" y="8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1" name="Freeform 11">
                <a:extLst>
                  <a:ext uri="{FF2B5EF4-FFF2-40B4-BE49-F238E27FC236}">
                    <a16:creationId xmlns:a16="http://schemas.microsoft.com/office/drawing/2014/main" id="{4FFD4837-D5E1-D094-8250-94E3DE6025AF}"/>
                  </a:ext>
                </a:extLst>
              </p:cNvPr>
              <p:cNvSpPr>
                <a:spLocks/>
              </p:cNvSpPr>
              <p:nvPr/>
            </p:nvSpPr>
            <p:spPr bwMode="gray">
              <a:xfrm>
                <a:off x="2197431" y="3633003"/>
                <a:ext cx="567281" cy="513146"/>
              </a:xfrm>
              <a:custGeom>
                <a:avLst/>
                <a:gdLst>
                  <a:gd name="T0" fmla="*/ 334 w 503"/>
                  <a:gd name="T1" fmla="*/ 236 h 455"/>
                  <a:gd name="T2" fmla="*/ 340 w 503"/>
                  <a:gd name="T3" fmla="*/ 288 h 455"/>
                  <a:gd name="T4" fmla="*/ 342 w 503"/>
                  <a:gd name="T5" fmla="*/ 302 h 455"/>
                  <a:gd name="T6" fmla="*/ 346 w 503"/>
                  <a:gd name="T7" fmla="*/ 334 h 455"/>
                  <a:gd name="T8" fmla="*/ 346 w 503"/>
                  <a:gd name="T9" fmla="*/ 354 h 455"/>
                  <a:gd name="T10" fmla="*/ 321 w 503"/>
                  <a:gd name="T11" fmla="*/ 359 h 455"/>
                  <a:gd name="T12" fmla="*/ 279 w 503"/>
                  <a:gd name="T13" fmla="*/ 336 h 455"/>
                  <a:gd name="T14" fmla="*/ 246 w 503"/>
                  <a:gd name="T15" fmla="*/ 258 h 455"/>
                  <a:gd name="T16" fmla="*/ 231 w 503"/>
                  <a:gd name="T17" fmla="*/ 269 h 455"/>
                  <a:gd name="T18" fmla="*/ 208 w 503"/>
                  <a:gd name="T19" fmla="*/ 275 h 455"/>
                  <a:gd name="T20" fmla="*/ 213 w 503"/>
                  <a:gd name="T21" fmla="*/ 325 h 455"/>
                  <a:gd name="T22" fmla="*/ 246 w 503"/>
                  <a:gd name="T23" fmla="*/ 398 h 455"/>
                  <a:gd name="T24" fmla="*/ 165 w 503"/>
                  <a:gd name="T25" fmla="*/ 434 h 455"/>
                  <a:gd name="T26" fmla="*/ 161 w 503"/>
                  <a:gd name="T27" fmla="*/ 419 h 455"/>
                  <a:gd name="T28" fmla="*/ 102 w 503"/>
                  <a:gd name="T29" fmla="*/ 373 h 455"/>
                  <a:gd name="T30" fmla="*/ 96 w 503"/>
                  <a:gd name="T31" fmla="*/ 352 h 455"/>
                  <a:gd name="T32" fmla="*/ 81 w 503"/>
                  <a:gd name="T33" fmla="*/ 354 h 455"/>
                  <a:gd name="T34" fmla="*/ 64 w 503"/>
                  <a:gd name="T35" fmla="*/ 344 h 455"/>
                  <a:gd name="T36" fmla="*/ 19 w 503"/>
                  <a:gd name="T37" fmla="*/ 338 h 455"/>
                  <a:gd name="T38" fmla="*/ 42 w 503"/>
                  <a:gd name="T39" fmla="*/ 307 h 455"/>
                  <a:gd name="T40" fmla="*/ 12 w 503"/>
                  <a:gd name="T41" fmla="*/ 327 h 455"/>
                  <a:gd name="T42" fmla="*/ 83 w 503"/>
                  <a:gd name="T43" fmla="*/ 223 h 455"/>
                  <a:gd name="T44" fmla="*/ 90 w 503"/>
                  <a:gd name="T45" fmla="*/ 198 h 455"/>
                  <a:gd name="T46" fmla="*/ 65 w 503"/>
                  <a:gd name="T47" fmla="*/ 175 h 455"/>
                  <a:gd name="T48" fmla="*/ 127 w 503"/>
                  <a:gd name="T49" fmla="*/ 112 h 455"/>
                  <a:gd name="T50" fmla="*/ 186 w 503"/>
                  <a:gd name="T51" fmla="*/ 35 h 455"/>
                  <a:gd name="T52" fmla="*/ 215 w 503"/>
                  <a:gd name="T53" fmla="*/ 17 h 455"/>
                  <a:gd name="T54" fmla="*/ 248 w 503"/>
                  <a:gd name="T55" fmla="*/ 4 h 455"/>
                  <a:gd name="T56" fmla="*/ 259 w 503"/>
                  <a:gd name="T57" fmla="*/ 4 h 455"/>
                  <a:gd name="T58" fmla="*/ 288 w 503"/>
                  <a:gd name="T59" fmla="*/ 2 h 455"/>
                  <a:gd name="T60" fmla="*/ 319 w 503"/>
                  <a:gd name="T61" fmla="*/ 6 h 455"/>
                  <a:gd name="T62" fmla="*/ 503 w 503"/>
                  <a:gd name="T63" fmla="*/ 31 h 455"/>
                  <a:gd name="T64" fmla="*/ 501 w 503"/>
                  <a:gd name="T65" fmla="*/ 108 h 455"/>
                  <a:gd name="T66" fmla="*/ 499 w 503"/>
                  <a:gd name="T67" fmla="*/ 136 h 455"/>
                  <a:gd name="T68" fmla="*/ 494 w 503"/>
                  <a:gd name="T69" fmla="*/ 167 h 455"/>
                  <a:gd name="T70" fmla="*/ 442 w 503"/>
                  <a:gd name="T71" fmla="*/ 169 h 455"/>
                  <a:gd name="T72" fmla="*/ 428 w 503"/>
                  <a:gd name="T73" fmla="*/ 173 h 455"/>
                  <a:gd name="T74" fmla="*/ 377 w 503"/>
                  <a:gd name="T75" fmla="*/ 202 h 455"/>
                  <a:gd name="T76" fmla="*/ 344 w 503"/>
                  <a:gd name="T77" fmla="*/ 23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3" h="455">
                    <a:moveTo>
                      <a:pt x="344" y="231"/>
                    </a:moveTo>
                    <a:lnTo>
                      <a:pt x="334" y="236"/>
                    </a:lnTo>
                    <a:lnTo>
                      <a:pt x="336" y="261"/>
                    </a:lnTo>
                    <a:lnTo>
                      <a:pt x="340" y="288"/>
                    </a:lnTo>
                    <a:lnTo>
                      <a:pt x="340" y="298"/>
                    </a:lnTo>
                    <a:lnTo>
                      <a:pt x="342" y="302"/>
                    </a:lnTo>
                    <a:lnTo>
                      <a:pt x="344" y="321"/>
                    </a:lnTo>
                    <a:lnTo>
                      <a:pt x="346" y="334"/>
                    </a:lnTo>
                    <a:lnTo>
                      <a:pt x="344" y="340"/>
                    </a:lnTo>
                    <a:lnTo>
                      <a:pt x="346" y="354"/>
                    </a:lnTo>
                    <a:lnTo>
                      <a:pt x="325" y="363"/>
                    </a:lnTo>
                    <a:lnTo>
                      <a:pt x="321" y="359"/>
                    </a:lnTo>
                    <a:lnTo>
                      <a:pt x="309" y="369"/>
                    </a:lnTo>
                    <a:lnTo>
                      <a:pt x="279" y="336"/>
                    </a:lnTo>
                    <a:lnTo>
                      <a:pt x="250" y="302"/>
                    </a:lnTo>
                    <a:lnTo>
                      <a:pt x="246" y="258"/>
                    </a:lnTo>
                    <a:lnTo>
                      <a:pt x="229" y="261"/>
                    </a:lnTo>
                    <a:lnTo>
                      <a:pt x="231" y="269"/>
                    </a:lnTo>
                    <a:lnTo>
                      <a:pt x="215" y="273"/>
                    </a:lnTo>
                    <a:lnTo>
                      <a:pt x="208" y="275"/>
                    </a:lnTo>
                    <a:lnTo>
                      <a:pt x="208" y="281"/>
                    </a:lnTo>
                    <a:lnTo>
                      <a:pt x="213" y="325"/>
                    </a:lnTo>
                    <a:lnTo>
                      <a:pt x="265" y="382"/>
                    </a:lnTo>
                    <a:lnTo>
                      <a:pt x="246" y="398"/>
                    </a:lnTo>
                    <a:lnTo>
                      <a:pt x="181" y="455"/>
                    </a:lnTo>
                    <a:lnTo>
                      <a:pt x="165" y="434"/>
                    </a:lnTo>
                    <a:lnTo>
                      <a:pt x="169" y="432"/>
                    </a:lnTo>
                    <a:lnTo>
                      <a:pt x="161" y="419"/>
                    </a:lnTo>
                    <a:lnTo>
                      <a:pt x="94" y="380"/>
                    </a:lnTo>
                    <a:lnTo>
                      <a:pt x="102" y="373"/>
                    </a:lnTo>
                    <a:lnTo>
                      <a:pt x="89" y="359"/>
                    </a:lnTo>
                    <a:lnTo>
                      <a:pt x="96" y="352"/>
                    </a:lnTo>
                    <a:lnTo>
                      <a:pt x="92" y="344"/>
                    </a:lnTo>
                    <a:lnTo>
                      <a:pt x="81" y="354"/>
                    </a:lnTo>
                    <a:lnTo>
                      <a:pt x="69" y="340"/>
                    </a:lnTo>
                    <a:lnTo>
                      <a:pt x="64" y="344"/>
                    </a:lnTo>
                    <a:lnTo>
                      <a:pt x="42" y="321"/>
                    </a:lnTo>
                    <a:lnTo>
                      <a:pt x="19" y="338"/>
                    </a:lnTo>
                    <a:lnTo>
                      <a:pt x="14" y="332"/>
                    </a:lnTo>
                    <a:lnTo>
                      <a:pt x="42" y="307"/>
                    </a:lnTo>
                    <a:lnTo>
                      <a:pt x="39" y="304"/>
                    </a:lnTo>
                    <a:lnTo>
                      <a:pt x="12" y="327"/>
                    </a:lnTo>
                    <a:lnTo>
                      <a:pt x="0" y="313"/>
                    </a:lnTo>
                    <a:lnTo>
                      <a:pt x="83" y="223"/>
                    </a:lnTo>
                    <a:lnTo>
                      <a:pt x="77" y="211"/>
                    </a:lnTo>
                    <a:lnTo>
                      <a:pt x="90" y="198"/>
                    </a:lnTo>
                    <a:lnTo>
                      <a:pt x="85" y="192"/>
                    </a:lnTo>
                    <a:lnTo>
                      <a:pt x="65" y="175"/>
                    </a:lnTo>
                    <a:lnTo>
                      <a:pt x="121" y="115"/>
                    </a:lnTo>
                    <a:lnTo>
                      <a:pt x="127" y="112"/>
                    </a:lnTo>
                    <a:lnTo>
                      <a:pt x="148" y="87"/>
                    </a:lnTo>
                    <a:lnTo>
                      <a:pt x="186" y="35"/>
                    </a:lnTo>
                    <a:lnTo>
                      <a:pt x="204" y="25"/>
                    </a:lnTo>
                    <a:lnTo>
                      <a:pt x="215" y="17"/>
                    </a:lnTo>
                    <a:lnTo>
                      <a:pt x="236" y="8"/>
                    </a:lnTo>
                    <a:lnTo>
                      <a:pt x="248" y="4"/>
                    </a:lnTo>
                    <a:lnTo>
                      <a:pt x="254" y="4"/>
                    </a:lnTo>
                    <a:lnTo>
                      <a:pt x="259" y="4"/>
                    </a:lnTo>
                    <a:lnTo>
                      <a:pt x="269" y="0"/>
                    </a:lnTo>
                    <a:lnTo>
                      <a:pt x="288" y="2"/>
                    </a:lnTo>
                    <a:lnTo>
                      <a:pt x="307" y="4"/>
                    </a:lnTo>
                    <a:lnTo>
                      <a:pt x="319" y="6"/>
                    </a:lnTo>
                    <a:lnTo>
                      <a:pt x="317" y="31"/>
                    </a:lnTo>
                    <a:lnTo>
                      <a:pt x="503" y="31"/>
                    </a:lnTo>
                    <a:lnTo>
                      <a:pt x="503" y="87"/>
                    </a:lnTo>
                    <a:lnTo>
                      <a:pt x="501" y="108"/>
                    </a:lnTo>
                    <a:lnTo>
                      <a:pt x="501" y="129"/>
                    </a:lnTo>
                    <a:lnTo>
                      <a:pt x="499" y="136"/>
                    </a:lnTo>
                    <a:lnTo>
                      <a:pt x="499" y="146"/>
                    </a:lnTo>
                    <a:lnTo>
                      <a:pt x="494" y="167"/>
                    </a:lnTo>
                    <a:lnTo>
                      <a:pt x="467" y="167"/>
                    </a:lnTo>
                    <a:lnTo>
                      <a:pt x="442" y="169"/>
                    </a:lnTo>
                    <a:lnTo>
                      <a:pt x="432" y="171"/>
                    </a:lnTo>
                    <a:lnTo>
                      <a:pt x="428" y="173"/>
                    </a:lnTo>
                    <a:lnTo>
                      <a:pt x="411" y="183"/>
                    </a:lnTo>
                    <a:lnTo>
                      <a:pt x="377" y="202"/>
                    </a:lnTo>
                    <a:lnTo>
                      <a:pt x="340" y="215"/>
                    </a:lnTo>
                    <a:lnTo>
                      <a:pt x="344" y="2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2" name="Freeform 12">
                <a:extLst>
                  <a:ext uri="{FF2B5EF4-FFF2-40B4-BE49-F238E27FC236}">
                    <a16:creationId xmlns:a16="http://schemas.microsoft.com/office/drawing/2014/main" id="{409D474B-D21B-0CE4-1625-428F94D6ED7B}"/>
                  </a:ext>
                </a:extLst>
              </p:cNvPr>
              <p:cNvSpPr>
                <a:spLocks/>
              </p:cNvSpPr>
              <p:nvPr/>
            </p:nvSpPr>
            <p:spPr bwMode="gray">
              <a:xfrm>
                <a:off x="1662857" y="3364589"/>
                <a:ext cx="764644" cy="1733418"/>
              </a:xfrm>
              <a:custGeom>
                <a:avLst/>
                <a:gdLst>
                  <a:gd name="T0" fmla="*/ 501 w 678"/>
                  <a:gd name="T1" fmla="*/ 107 h 1537"/>
                  <a:gd name="T2" fmla="*/ 647 w 678"/>
                  <a:gd name="T3" fmla="*/ 246 h 1537"/>
                  <a:gd name="T4" fmla="*/ 601 w 678"/>
                  <a:gd name="T5" fmla="*/ 350 h 1537"/>
                  <a:gd name="T6" fmla="*/ 543 w 678"/>
                  <a:gd name="T7" fmla="*/ 446 h 1537"/>
                  <a:gd name="T8" fmla="*/ 455 w 678"/>
                  <a:gd name="T9" fmla="*/ 497 h 1537"/>
                  <a:gd name="T10" fmla="*/ 401 w 678"/>
                  <a:gd name="T11" fmla="*/ 446 h 1537"/>
                  <a:gd name="T12" fmla="*/ 315 w 678"/>
                  <a:gd name="T13" fmla="*/ 442 h 1537"/>
                  <a:gd name="T14" fmla="*/ 367 w 678"/>
                  <a:gd name="T15" fmla="*/ 520 h 1537"/>
                  <a:gd name="T16" fmla="*/ 397 w 678"/>
                  <a:gd name="T17" fmla="*/ 580 h 1537"/>
                  <a:gd name="T18" fmla="*/ 478 w 678"/>
                  <a:gd name="T19" fmla="*/ 757 h 1537"/>
                  <a:gd name="T20" fmla="*/ 384 w 678"/>
                  <a:gd name="T21" fmla="*/ 795 h 1537"/>
                  <a:gd name="T22" fmla="*/ 357 w 678"/>
                  <a:gd name="T23" fmla="*/ 932 h 1537"/>
                  <a:gd name="T24" fmla="*/ 171 w 678"/>
                  <a:gd name="T25" fmla="*/ 1018 h 1537"/>
                  <a:gd name="T26" fmla="*/ 115 w 678"/>
                  <a:gd name="T27" fmla="*/ 1056 h 1537"/>
                  <a:gd name="T28" fmla="*/ 171 w 678"/>
                  <a:gd name="T29" fmla="*/ 1233 h 1537"/>
                  <a:gd name="T30" fmla="*/ 130 w 678"/>
                  <a:gd name="T31" fmla="*/ 1254 h 1537"/>
                  <a:gd name="T32" fmla="*/ 140 w 678"/>
                  <a:gd name="T33" fmla="*/ 1297 h 1537"/>
                  <a:gd name="T34" fmla="*/ 132 w 678"/>
                  <a:gd name="T35" fmla="*/ 1360 h 1537"/>
                  <a:gd name="T36" fmla="*/ 102 w 678"/>
                  <a:gd name="T37" fmla="*/ 1379 h 1537"/>
                  <a:gd name="T38" fmla="*/ 59 w 678"/>
                  <a:gd name="T39" fmla="*/ 1408 h 1537"/>
                  <a:gd name="T40" fmla="*/ 84 w 678"/>
                  <a:gd name="T41" fmla="*/ 1448 h 1537"/>
                  <a:gd name="T42" fmla="*/ 129 w 678"/>
                  <a:gd name="T43" fmla="*/ 1460 h 1537"/>
                  <a:gd name="T44" fmla="*/ 322 w 678"/>
                  <a:gd name="T45" fmla="*/ 1510 h 1537"/>
                  <a:gd name="T46" fmla="*/ 388 w 678"/>
                  <a:gd name="T47" fmla="*/ 1527 h 1537"/>
                  <a:gd name="T48" fmla="*/ 413 w 678"/>
                  <a:gd name="T49" fmla="*/ 1510 h 1537"/>
                  <a:gd name="T50" fmla="*/ 386 w 678"/>
                  <a:gd name="T51" fmla="*/ 1535 h 1537"/>
                  <a:gd name="T52" fmla="*/ 10 w 678"/>
                  <a:gd name="T53" fmla="*/ 1425 h 1537"/>
                  <a:gd name="T54" fmla="*/ 8 w 678"/>
                  <a:gd name="T55" fmla="*/ 1402 h 1537"/>
                  <a:gd name="T56" fmla="*/ 8 w 678"/>
                  <a:gd name="T57" fmla="*/ 1408 h 1537"/>
                  <a:gd name="T58" fmla="*/ 46 w 678"/>
                  <a:gd name="T59" fmla="*/ 1425 h 1537"/>
                  <a:gd name="T60" fmla="*/ 73 w 678"/>
                  <a:gd name="T61" fmla="*/ 1387 h 1537"/>
                  <a:gd name="T62" fmla="*/ 119 w 678"/>
                  <a:gd name="T63" fmla="*/ 1354 h 1537"/>
                  <a:gd name="T64" fmla="*/ 130 w 678"/>
                  <a:gd name="T65" fmla="*/ 1304 h 1537"/>
                  <a:gd name="T66" fmla="*/ 102 w 678"/>
                  <a:gd name="T67" fmla="*/ 1241 h 1537"/>
                  <a:gd name="T68" fmla="*/ 94 w 678"/>
                  <a:gd name="T69" fmla="*/ 1252 h 1537"/>
                  <a:gd name="T70" fmla="*/ 65 w 678"/>
                  <a:gd name="T71" fmla="*/ 1229 h 1537"/>
                  <a:gd name="T72" fmla="*/ 2 w 678"/>
                  <a:gd name="T73" fmla="*/ 1199 h 1537"/>
                  <a:gd name="T74" fmla="*/ 65 w 678"/>
                  <a:gd name="T75" fmla="*/ 1174 h 1537"/>
                  <a:gd name="T76" fmla="*/ 29 w 678"/>
                  <a:gd name="T77" fmla="*/ 1139 h 1537"/>
                  <a:gd name="T78" fmla="*/ 69 w 678"/>
                  <a:gd name="T79" fmla="*/ 1056 h 1537"/>
                  <a:gd name="T80" fmla="*/ 88 w 678"/>
                  <a:gd name="T81" fmla="*/ 1008 h 1537"/>
                  <a:gd name="T82" fmla="*/ 82 w 678"/>
                  <a:gd name="T83" fmla="*/ 958 h 1537"/>
                  <a:gd name="T84" fmla="*/ 88 w 678"/>
                  <a:gd name="T85" fmla="*/ 928 h 1537"/>
                  <a:gd name="T86" fmla="*/ 58 w 678"/>
                  <a:gd name="T87" fmla="*/ 922 h 1537"/>
                  <a:gd name="T88" fmla="*/ 31 w 678"/>
                  <a:gd name="T89" fmla="*/ 951 h 1537"/>
                  <a:gd name="T90" fmla="*/ 42 w 678"/>
                  <a:gd name="T91" fmla="*/ 982 h 1537"/>
                  <a:gd name="T92" fmla="*/ 21 w 678"/>
                  <a:gd name="T93" fmla="*/ 958 h 1537"/>
                  <a:gd name="T94" fmla="*/ 13 w 678"/>
                  <a:gd name="T95" fmla="*/ 968 h 1537"/>
                  <a:gd name="T96" fmla="*/ 34 w 678"/>
                  <a:gd name="T97" fmla="*/ 905 h 1537"/>
                  <a:gd name="T98" fmla="*/ 65 w 678"/>
                  <a:gd name="T99" fmla="*/ 843 h 1537"/>
                  <a:gd name="T100" fmla="*/ 69 w 678"/>
                  <a:gd name="T101" fmla="*/ 818 h 1537"/>
                  <a:gd name="T102" fmla="*/ 121 w 678"/>
                  <a:gd name="T103" fmla="*/ 791 h 1537"/>
                  <a:gd name="T104" fmla="*/ 154 w 678"/>
                  <a:gd name="T105" fmla="*/ 747 h 1537"/>
                  <a:gd name="T106" fmla="*/ 146 w 678"/>
                  <a:gd name="T107" fmla="*/ 672 h 1537"/>
                  <a:gd name="T108" fmla="*/ 127 w 678"/>
                  <a:gd name="T109" fmla="*/ 622 h 1537"/>
                  <a:gd name="T110" fmla="*/ 217 w 678"/>
                  <a:gd name="T111" fmla="*/ 396 h 1537"/>
                  <a:gd name="T112" fmla="*/ 292 w 678"/>
                  <a:gd name="T113" fmla="*/ 180 h 1537"/>
                  <a:gd name="T114" fmla="*/ 313 w 678"/>
                  <a:gd name="T115" fmla="*/ 119 h 1537"/>
                  <a:gd name="T116" fmla="*/ 321 w 678"/>
                  <a:gd name="T117" fmla="*/ 81 h 1537"/>
                  <a:gd name="T118" fmla="*/ 317 w 678"/>
                  <a:gd name="T119" fmla="*/ 27 h 1537"/>
                  <a:gd name="T120" fmla="*/ 351 w 678"/>
                  <a:gd name="T121" fmla="*/ 2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8" h="1537">
                    <a:moveTo>
                      <a:pt x="361" y="0"/>
                    </a:moveTo>
                    <a:lnTo>
                      <a:pt x="436" y="54"/>
                    </a:lnTo>
                    <a:lnTo>
                      <a:pt x="457" y="77"/>
                    </a:lnTo>
                    <a:lnTo>
                      <a:pt x="484" y="84"/>
                    </a:lnTo>
                    <a:lnTo>
                      <a:pt x="495" y="96"/>
                    </a:lnTo>
                    <a:lnTo>
                      <a:pt x="501" y="107"/>
                    </a:lnTo>
                    <a:lnTo>
                      <a:pt x="503" y="138"/>
                    </a:lnTo>
                    <a:lnTo>
                      <a:pt x="522" y="169"/>
                    </a:lnTo>
                    <a:lnTo>
                      <a:pt x="551" y="194"/>
                    </a:lnTo>
                    <a:lnTo>
                      <a:pt x="555" y="207"/>
                    </a:lnTo>
                    <a:lnTo>
                      <a:pt x="622" y="236"/>
                    </a:lnTo>
                    <a:lnTo>
                      <a:pt x="647" y="246"/>
                    </a:lnTo>
                    <a:lnTo>
                      <a:pt x="653" y="242"/>
                    </a:lnTo>
                    <a:lnTo>
                      <a:pt x="664" y="244"/>
                    </a:lnTo>
                    <a:lnTo>
                      <a:pt x="678" y="263"/>
                    </a:lnTo>
                    <a:lnTo>
                      <a:pt x="660" y="273"/>
                    </a:lnTo>
                    <a:lnTo>
                      <a:pt x="622" y="325"/>
                    </a:lnTo>
                    <a:lnTo>
                      <a:pt x="601" y="350"/>
                    </a:lnTo>
                    <a:lnTo>
                      <a:pt x="595" y="353"/>
                    </a:lnTo>
                    <a:lnTo>
                      <a:pt x="539" y="413"/>
                    </a:lnTo>
                    <a:lnTo>
                      <a:pt x="559" y="430"/>
                    </a:lnTo>
                    <a:lnTo>
                      <a:pt x="564" y="436"/>
                    </a:lnTo>
                    <a:lnTo>
                      <a:pt x="551" y="449"/>
                    </a:lnTo>
                    <a:lnTo>
                      <a:pt x="543" y="446"/>
                    </a:lnTo>
                    <a:lnTo>
                      <a:pt x="518" y="472"/>
                    </a:lnTo>
                    <a:lnTo>
                      <a:pt x="516" y="474"/>
                    </a:lnTo>
                    <a:lnTo>
                      <a:pt x="501" y="488"/>
                    </a:lnTo>
                    <a:lnTo>
                      <a:pt x="476" y="517"/>
                    </a:lnTo>
                    <a:lnTo>
                      <a:pt x="465" y="507"/>
                    </a:lnTo>
                    <a:lnTo>
                      <a:pt x="455" y="497"/>
                    </a:lnTo>
                    <a:lnTo>
                      <a:pt x="434" y="474"/>
                    </a:lnTo>
                    <a:lnTo>
                      <a:pt x="497" y="405"/>
                    </a:lnTo>
                    <a:lnTo>
                      <a:pt x="472" y="382"/>
                    </a:lnTo>
                    <a:lnTo>
                      <a:pt x="409" y="446"/>
                    </a:lnTo>
                    <a:lnTo>
                      <a:pt x="405" y="446"/>
                    </a:lnTo>
                    <a:lnTo>
                      <a:pt x="401" y="446"/>
                    </a:lnTo>
                    <a:lnTo>
                      <a:pt x="392" y="436"/>
                    </a:lnTo>
                    <a:lnTo>
                      <a:pt x="370" y="419"/>
                    </a:lnTo>
                    <a:lnTo>
                      <a:pt x="359" y="407"/>
                    </a:lnTo>
                    <a:lnTo>
                      <a:pt x="346" y="394"/>
                    </a:lnTo>
                    <a:lnTo>
                      <a:pt x="328" y="415"/>
                    </a:lnTo>
                    <a:lnTo>
                      <a:pt x="315" y="442"/>
                    </a:lnTo>
                    <a:lnTo>
                      <a:pt x="319" y="451"/>
                    </a:lnTo>
                    <a:lnTo>
                      <a:pt x="319" y="453"/>
                    </a:lnTo>
                    <a:lnTo>
                      <a:pt x="340" y="478"/>
                    </a:lnTo>
                    <a:lnTo>
                      <a:pt x="347" y="488"/>
                    </a:lnTo>
                    <a:lnTo>
                      <a:pt x="361" y="515"/>
                    </a:lnTo>
                    <a:lnTo>
                      <a:pt x="367" y="520"/>
                    </a:lnTo>
                    <a:lnTo>
                      <a:pt x="370" y="530"/>
                    </a:lnTo>
                    <a:lnTo>
                      <a:pt x="376" y="542"/>
                    </a:lnTo>
                    <a:lnTo>
                      <a:pt x="380" y="547"/>
                    </a:lnTo>
                    <a:lnTo>
                      <a:pt x="382" y="551"/>
                    </a:lnTo>
                    <a:lnTo>
                      <a:pt x="392" y="570"/>
                    </a:lnTo>
                    <a:lnTo>
                      <a:pt x="397" y="580"/>
                    </a:lnTo>
                    <a:lnTo>
                      <a:pt x="403" y="592"/>
                    </a:lnTo>
                    <a:lnTo>
                      <a:pt x="440" y="659"/>
                    </a:lnTo>
                    <a:lnTo>
                      <a:pt x="472" y="720"/>
                    </a:lnTo>
                    <a:lnTo>
                      <a:pt x="478" y="734"/>
                    </a:lnTo>
                    <a:lnTo>
                      <a:pt x="478" y="745"/>
                    </a:lnTo>
                    <a:lnTo>
                      <a:pt x="478" y="757"/>
                    </a:lnTo>
                    <a:lnTo>
                      <a:pt x="470" y="770"/>
                    </a:lnTo>
                    <a:lnTo>
                      <a:pt x="465" y="778"/>
                    </a:lnTo>
                    <a:lnTo>
                      <a:pt x="451" y="789"/>
                    </a:lnTo>
                    <a:lnTo>
                      <a:pt x="436" y="795"/>
                    </a:lnTo>
                    <a:lnTo>
                      <a:pt x="384" y="791"/>
                    </a:lnTo>
                    <a:lnTo>
                      <a:pt x="384" y="795"/>
                    </a:lnTo>
                    <a:lnTo>
                      <a:pt x="374" y="795"/>
                    </a:lnTo>
                    <a:lnTo>
                      <a:pt x="363" y="937"/>
                    </a:lnTo>
                    <a:lnTo>
                      <a:pt x="305" y="968"/>
                    </a:lnTo>
                    <a:lnTo>
                      <a:pt x="299" y="962"/>
                    </a:lnTo>
                    <a:lnTo>
                      <a:pt x="357" y="934"/>
                    </a:lnTo>
                    <a:lnTo>
                      <a:pt x="357" y="932"/>
                    </a:lnTo>
                    <a:lnTo>
                      <a:pt x="361" y="895"/>
                    </a:lnTo>
                    <a:lnTo>
                      <a:pt x="359" y="893"/>
                    </a:lnTo>
                    <a:lnTo>
                      <a:pt x="353" y="893"/>
                    </a:lnTo>
                    <a:lnTo>
                      <a:pt x="175" y="980"/>
                    </a:lnTo>
                    <a:lnTo>
                      <a:pt x="173" y="982"/>
                    </a:lnTo>
                    <a:lnTo>
                      <a:pt x="171" y="1018"/>
                    </a:lnTo>
                    <a:lnTo>
                      <a:pt x="173" y="1020"/>
                    </a:lnTo>
                    <a:lnTo>
                      <a:pt x="175" y="1022"/>
                    </a:lnTo>
                    <a:lnTo>
                      <a:pt x="242" y="987"/>
                    </a:lnTo>
                    <a:lnTo>
                      <a:pt x="250" y="985"/>
                    </a:lnTo>
                    <a:lnTo>
                      <a:pt x="250" y="993"/>
                    </a:lnTo>
                    <a:lnTo>
                      <a:pt x="115" y="1056"/>
                    </a:lnTo>
                    <a:lnTo>
                      <a:pt x="109" y="1062"/>
                    </a:lnTo>
                    <a:lnTo>
                      <a:pt x="106" y="1070"/>
                    </a:lnTo>
                    <a:lnTo>
                      <a:pt x="106" y="1089"/>
                    </a:lnTo>
                    <a:lnTo>
                      <a:pt x="169" y="1224"/>
                    </a:lnTo>
                    <a:lnTo>
                      <a:pt x="171" y="1227"/>
                    </a:lnTo>
                    <a:lnTo>
                      <a:pt x="171" y="1233"/>
                    </a:lnTo>
                    <a:lnTo>
                      <a:pt x="171" y="1239"/>
                    </a:lnTo>
                    <a:lnTo>
                      <a:pt x="165" y="1245"/>
                    </a:lnTo>
                    <a:lnTo>
                      <a:pt x="157" y="1249"/>
                    </a:lnTo>
                    <a:lnTo>
                      <a:pt x="140" y="1249"/>
                    </a:lnTo>
                    <a:lnTo>
                      <a:pt x="134" y="1250"/>
                    </a:lnTo>
                    <a:lnTo>
                      <a:pt x="130" y="1254"/>
                    </a:lnTo>
                    <a:lnTo>
                      <a:pt x="127" y="1258"/>
                    </a:lnTo>
                    <a:lnTo>
                      <a:pt x="127" y="1266"/>
                    </a:lnTo>
                    <a:lnTo>
                      <a:pt x="130" y="1272"/>
                    </a:lnTo>
                    <a:lnTo>
                      <a:pt x="132" y="1279"/>
                    </a:lnTo>
                    <a:lnTo>
                      <a:pt x="142" y="1297"/>
                    </a:lnTo>
                    <a:lnTo>
                      <a:pt x="140" y="1297"/>
                    </a:lnTo>
                    <a:lnTo>
                      <a:pt x="140" y="1304"/>
                    </a:lnTo>
                    <a:lnTo>
                      <a:pt x="140" y="1316"/>
                    </a:lnTo>
                    <a:lnTo>
                      <a:pt x="138" y="1327"/>
                    </a:lnTo>
                    <a:lnTo>
                      <a:pt x="136" y="1352"/>
                    </a:lnTo>
                    <a:lnTo>
                      <a:pt x="136" y="1356"/>
                    </a:lnTo>
                    <a:lnTo>
                      <a:pt x="132" y="1360"/>
                    </a:lnTo>
                    <a:lnTo>
                      <a:pt x="125" y="1360"/>
                    </a:lnTo>
                    <a:lnTo>
                      <a:pt x="115" y="1366"/>
                    </a:lnTo>
                    <a:lnTo>
                      <a:pt x="111" y="1370"/>
                    </a:lnTo>
                    <a:lnTo>
                      <a:pt x="109" y="1375"/>
                    </a:lnTo>
                    <a:lnTo>
                      <a:pt x="107" y="1377"/>
                    </a:lnTo>
                    <a:lnTo>
                      <a:pt x="102" y="1379"/>
                    </a:lnTo>
                    <a:lnTo>
                      <a:pt x="86" y="1387"/>
                    </a:lnTo>
                    <a:lnTo>
                      <a:pt x="73" y="1393"/>
                    </a:lnTo>
                    <a:lnTo>
                      <a:pt x="69" y="1398"/>
                    </a:lnTo>
                    <a:lnTo>
                      <a:pt x="65" y="1402"/>
                    </a:lnTo>
                    <a:lnTo>
                      <a:pt x="61" y="1406"/>
                    </a:lnTo>
                    <a:lnTo>
                      <a:pt x="59" y="1408"/>
                    </a:lnTo>
                    <a:lnTo>
                      <a:pt x="56" y="1410"/>
                    </a:lnTo>
                    <a:lnTo>
                      <a:pt x="52" y="1412"/>
                    </a:lnTo>
                    <a:lnTo>
                      <a:pt x="54" y="1425"/>
                    </a:lnTo>
                    <a:lnTo>
                      <a:pt x="56" y="1433"/>
                    </a:lnTo>
                    <a:lnTo>
                      <a:pt x="59" y="1439"/>
                    </a:lnTo>
                    <a:lnTo>
                      <a:pt x="84" y="1448"/>
                    </a:lnTo>
                    <a:lnTo>
                      <a:pt x="90" y="1450"/>
                    </a:lnTo>
                    <a:lnTo>
                      <a:pt x="102" y="1454"/>
                    </a:lnTo>
                    <a:lnTo>
                      <a:pt x="111" y="1456"/>
                    </a:lnTo>
                    <a:lnTo>
                      <a:pt x="121" y="1460"/>
                    </a:lnTo>
                    <a:lnTo>
                      <a:pt x="125" y="1460"/>
                    </a:lnTo>
                    <a:lnTo>
                      <a:pt x="129" y="1460"/>
                    </a:lnTo>
                    <a:lnTo>
                      <a:pt x="136" y="1462"/>
                    </a:lnTo>
                    <a:lnTo>
                      <a:pt x="148" y="1466"/>
                    </a:lnTo>
                    <a:lnTo>
                      <a:pt x="159" y="1468"/>
                    </a:lnTo>
                    <a:lnTo>
                      <a:pt x="165" y="1468"/>
                    </a:lnTo>
                    <a:lnTo>
                      <a:pt x="186" y="1475"/>
                    </a:lnTo>
                    <a:lnTo>
                      <a:pt x="322" y="1510"/>
                    </a:lnTo>
                    <a:lnTo>
                      <a:pt x="342" y="1518"/>
                    </a:lnTo>
                    <a:lnTo>
                      <a:pt x="346" y="1516"/>
                    </a:lnTo>
                    <a:lnTo>
                      <a:pt x="347" y="1516"/>
                    </a:lnTo>
                    <a:lnTo>
                      <a:pt x="355" y="1518"/>
                    </a:lnTo>
                    <a:lnTo>
                      <a:pt x="370" y="1523"/>
                    </a:lnTo>
                    <a:lnTo>
                      <a:pt x="388" y="1527"/>
                    </a:lnTo>
                    <a:lnTo>
                      <a:pt x="392" y="1525"/>
                    </a:lnTo>
                    <a:lnTo>
                      <a:pt x="392" y="1521"/>
                    </a:lnTo>
                    <a:lnTo>
                      <a:pt x="394" y="1519"/>
                    </a:lnTo>
                    <a:lnTo>
                      <a:pt x="407" y="1516"/>
                    </a:lnTo>
                    <a:lnTo>
                      <a:pt x="415" y="1514"/>
                    </a:lnTo>
                    <a:lnTo>
                      <a:pt x="413" y="1510"/>
                    </a:lnTo>
                    <a:lnTo>
                      <a:pt x="415" y="1508"/>
                    </a:lnTo>
                    <a:lnTo>
                      <a:pt x="415" y="1510"/>
                    </a:lnTo>
                    <a:lnTo>
                      <a:pt x="417" y="1519"/>
                    </a:lnTo>
                    <a:lnTo>
                      <a:pt x="411" y="1531"/>
                    </a:lnTo>
                    <a:lnTo>
                      <a:pt x="399" y="1537"/>
                    </a:lnTo>
                    <a:lnTo>
                      <a:pt x="386" y="1535"/>
                    </a:lnTo>
                    <a:lnTo>
                      <a:pt x="217" y="1491"/>
                    </a:lnTo>
                    <a:lnTo>
                      <a:pt x="33" y="1443"/>
                    </a:lnTo>
                    <a:lnTo>
                      <a:pt x="23" y="1439"/>
                    </a:lnTo>
                    <a:lnTo>
                      <a:pt x="15" y="1433"/>
                    </a:lnTo>
                    <a:lnTo>
                      <a:pt x="13" y="1431"/>
                    </a:lnTo>
                    <a:lnTo>
                      <a:pt x="10" y="1425"/>
                    </a:lnTo>
                    <a:lnTo>
                      <a:pt x="6" y="1420"/>
                    </a:lnTo>
                    <a:lnTo>
                      <a:pt x="4" y="1414"/>
                    </a:lnTo>
                    <a:lnTo>
                      <a:pt x="0" y="1400"/>
                    </a:lnTo>
                    <a:lnTo>
                      <a:pt x="2" y="1400"/>
                    </a:lnTo>
                    <a:lnTo>
                      <a:pt x="4" y="1402"/>
                    </a:lnTo>
                    <a:lnTo>
                      <a:pt x="8" y="1402"/>
                    </a:lnTo>
                    <a:lnTo>
                      <a:pt x="10" y="1402"/>
                    </a:lnTo>
                    <a:lnTo>
                      <a:pt x="11" y="1404"/>
                    </a:lnTo>
                    <a:lnTo>
                      <a:pt x="13" y="1406"/>
                    </a:lnTo>
                    <a:lnTo>
                      <a:pt x="11" y="1408"/>
                    </a:lnTo>
                    <a:lnTo>
                      <a:pt x="10" y="1406"/>
                    </a:lnTo>
                    <a:lnTo>
                      <a:pt x="8" y="1408"/>
                    </a:lnTo>
                    <a:lnTo>
                      <a:pt x="10" y="1412"/>
                    </a:lnTo>
                    <a:lnTo>
                      <a:pt x="17" y="1423"/>
                    </a:lnTo>
                    <a:lnTo>
                      <a:pt x="23" y="1431"/>
                    </a:lnTo>
                    <a:lnTo>
                      <a:pt x="34" y="1433"/>
                    </a:lnTo>
                    <a:lnTo>
                      <a:pt x="40" y="1431"/>
                    </a:lnTo>
                    <a:lnTo>
                      <a:pt x="46" y="1425"/>
                    </a:lnTo>
                    <a:lnTo>
                      <a:pt x="46" y="1416"/>
                    </a:lnTo>
                    <a:lnTo>
                      <a:pt x="46" y="1410"/>
                    </a:lnTo>
                    <a:lnTo>
                      <a:pt x="50" y="1406"/>
                    </a:lnTo>
                    <a:lnTo>
                      <a:pt x="59" y="1400"/>
                    </a:lnTo>
                    <a:lnTo>
                      <a:pt x="65" y="1395"/>
                    </a:lnTo>
                    <a:lnTo>
                      <a:pt x="73" y="1387"/>
                    </a:lnTo>
                    <a:lnTo>
                      <a:pt x="88" y="1379"/>
                    </a:lnTo>
                    <a:lnTo>
                      <a:pt x="98" y="1373"/>
                    </a:lnTo>
                    <a:lnTo>
                      <a:pt x="102" y="1372"/>
                    </a:lnTo>
                    <a:lnTo>
                      <a:pt x="107" y="1364"/>
                    </a:lnTo>
                    <a:lnTo>
                      <a:pt x="109" y="1360"/>
                    </a:lnTo>
                    <a:lnTo>
                      <a:pt x="119" y="1354"/>
                    </a:lnTo>
                    <a:lnTo>
                      <a:pt x="127" y="1350"/>
                    </a:lnTo>
                    <a:lnTo>
                      <a:pt x="129" y="1345"/>
                    </a:lnTo>
                    <a:lnTo>
                      <a:pt x="130" y="1335"/>
                    </a:lnTo>
                    <a:lnTo>
                      <a:pt x="130" y="1325"/>
                    </a:lnTo>
                    <a:lnTo>
                      <a:pt x="130" y="1322"/>
                    </a:lnTo>
                    <a:lnTo>
                      <a:pt x="130" y="1304"/>
                    </a:lnTo>
                    <a:lnTo>
                      <a:pt x="129" y="1291"/>
                    </a:lnTo>
                    <a:lnTo>
                      <a:pt x="123" y="1272"/>
                    </a:lnTo>
                    <a:lnTo>
                      <a:pt x="117" y="1262"/>
                    </a:lnTo>
                    <a:lnTo>
                      <a:pt x="113" y="1250"/>
                    </a:lnTo>
                    <a:lnTo>
                      <a:pt x="109" y="1245"/>
                    </a:lnTo>
                    <a:lnTo>
                      <a:pt x="102" y="1241"/>
                    </a:lnTo>
                    <a:lnTo>
                      <a:pt x="96" y="1241"/>
                    </a:lnTo>
                    <a:lnTo>
                      <a:pt x="81" y="1245"/>
                    </a:lnTo>
                    <a:lnTo>
                      <a:pt x="84" y="1249"/>
                    </a:lnTo>
                    <a:lnTo>
                      <a:pt x="92" y="1249"/>
                    </a:lnTo>
                    <a:lnTo>
                      <a:pt x="94" y="1250"/>
                    </a:lnTo>
                    <a:lnTo>
                      <a:pt x="94" y="1252"/>
                    </a:lnTo>
                    <a:lnTo>
                      <a:pt x="88" y="1254"/>
                    </a:lnTo>
                    <a:lnTo>
                      <a:pt x="82" y="1252"/>
                    </a:lnTo>
                    <a:lnTo>
                      <a:pt x="77" y="1247"/>
                    </a:lnTo>
                    <a:lnTo>
                      <a:pt x="75" y="1243"/>
                    </a:lnTo>
                    <a:lnTo>
                      <a:pt x="67" y="1233"/>
                    </a:lnTo>
                    <a:lnTo>
                      <a:pt x="65" y="1229"/>
                    </a:lnTo>
                    <a:lnTo>
                      <a:pt x="61" y="1212"/>
                    </a:lnTo>
                    <a:lnTo>
                      <a:pt x="56" y="1206"/>
                    </a:lnTo>
                    <a:lnTo>
                      <a:pt x="52" y="1204"/>
                    </a:lnTo>
                    <a:lnTo>
                      <a:pt x="40" y="1204"/>
                    </a:lnTo>
                    <a:lnTo>
                      <a:pt x="33" y="1208"/>
                    </a:lnTo>
                    <a:lnTo>
                      <a:pt x="2" y="1199"/>
                    </a:lnTo>
                    <a:lnTo>
                      <a:pt x="2" y="1174"/>
                    </a:lnTo>
                    <a:lnTo>
                      <a:pt x="50" y="1174"/>
                    </a:lnTo>
                    <a:lnTo>
                      <a:pt x="52" y="1174"/>
                    </a:lnTo>
                    <a:lnTo>
                      <a:pt x="54" y="1172"/>
                    </a:lnTo>
                    <a:lnTo>
                      <a:pt x="59" y="1172"/>
                    </a:lnTo>
                    <a:lnTo>
                      <a:pt x="65" y="1174"/>
                    </a:lnTo>
                    <a:lnTo>
                      <a:pt x="73" y="1164"/>
                    </a:lnTo>
                    <a:lnTo>
                      <a:pt x="71" y="1145"/>
                    </a:lnTo>
                    <a:lnTo>
                      <a:pt x="34" y="1147"/>
                    </a:lnTo>
                    <a:lnTo>
                      <a:pt x="34" y="1143"/>
                    </a:lnTo>
                    <a:lnTo>
                      <a:pt x="33" y="1141"/>
                    </a:lnTo>
                    <a:lnTo>
                      <a:pt x="29" y="1139"/>
                    </a:lnTo>
                    <a:lnTo>
                      <a:pt x="29" y="1116"/>
                    </a:lnTo>
                    <a:lnTo>
                      <a:pt x="29" y="1101"/>
                    </a:lnTo>
                    <a:lnTo>
                      <a:pt x="31" y="1081"/>
                    </a:lnTo>
                    <a:lnTo>
                      <a:pt x="34" y="1074"/>
                    </a:lnTo>
                    <a:lnTo>
                      <a:pt x="67" y="1072"/>
                    </a:lnTo>
                    <a:lnTo>
                      <a:pt x="69" y="1056"/>
                    </a:lnTo>
                    <a:lnTo>
                      <a:pt x="71" y="1055"/>
                    </a:lnTo>
                    <a:lnTo>
                      <a:pt x="75" y="1047"/>
                    </a:lnTo>
                    <a:lnTo>
                      <a:pt x="81" y="1037"/>
                    </a:lnTo>
                    <a:lnTo>
                      <a:pt x="82" y="1043"/>
                    </a:lnTo>
                    <a:lnTo>
                      <a:pt x="86" y="1041"/>
                    </a:lnTo>
                    <a:lnTo>
                      <a:pt x="88" y="1008"/>
                    </a:lnTo>
                    <a:lnTo>
                      <a:pt x="84" y="1001"/>
                    </a:lnTo>
                    <a:lnTo>
                      <a:pt x="84" y="983"/>
                    </a:lnTo>
                    <a:lnTo>
                      <a:pt x="84" y="980"/>
                    </a:lnTo>
                    <a:lnTo>
                      <a:pt x="84" y="968"/>
                    </a:lnTo>
                    <a:lnTo>
                      <a:pt x="84" y="962"/>
                    </a:lnTo>
                    <a:lnTo>
                      <a:pt x="82" y="958"/>
                    </a:lnTo>
                    <a:lnTo>
                      <a:pt x="77" y="953"/>
                    </a:lnTo>
                    <a:lnTo>
                      <a:pt x="75" y="949"/>
                    </a:lnTo>
                    <a:lnTo>
                      <a:pt x="81" y="941"/>
                    </a:lnTo>
                    <a:lnTo>
                      <a:pt x="86" y="941"/>
                    </a:lnTo>
                    <a:lnTo>
                      <a:pt x="88" y="937"/>
                    </a:lnTo>
                    <a:lnTo>
                      <a:pt x="88" y="928"/>
                    </a:lnTo>
                    <a:lnTo>
                      <a:pt x="82" y="926"/>
                    </a:lnTo>
                    <a:lnTo>
                      <a:pt x="79" y="922"/>
                    </a:lnTo>
                    <a:lnTo>
                      <a:pt x="75" y="918"/>
                    </a:lnTo>
                    <a:lnTo>
                      <a:pt x="69" y="918"/>
                    </a:lnTo>
                    <a:lnTo>
                      <a:pt x="65" y="922"/>
                    </a:lnTo>
                    <a:lnTo>
                      <a:pt x="58" y="922"/>
                    </a:lnTo>
                    <a:lnTo>
                      <a:pt x="38" y="928"/>
                    </a:lnTo>
                    <a:lnTo>
                      <a:pt x="31" y="932"/>
                    </a:lnTo>
                    <a:lnTo>
                      <a:pt x="23" y="939"/>
                    </a:lnTo>
                    <a:lnTo>
                      <a:pt x="23" y="947"/>
                    </a:lnTo>
                    <a:lnTo>
                      <a:pt x="25" y="949"/>
                    </a:lnTo>
                    <a:lnTo>
                      <a:pt x="31" y="951"/>
                    </a:lnTo>
                    <a:lnTo>
                      <a:pt x="38" y="951"/>
                    </a:lnTo>
                    <a:lnTo>
                      <a:pt x="46" y="957"/>
                    </a:lnTo>
                    <a:lnTo>
                      <a:pt x="50" y="960"/>
                    </a:lnTo>
                    <a:lnTo>
                      <a:pt x="50" y="982"/>
                    </a:lnTo>
                    <a:lnTo>
                      <a:pt x="46" y="983"/>
                    </a:lnTo>
                    <a:lnTo>
                      <a:pt x="42" y="982"/>
                    </a:lnTo>
                    <a:lnTo>
                      <a:pt x="42" y="972"/>
                    </a:lnTo>
                    <a:lnTo>
                      <a:pt x="42" y="964"/>
                    </a:lnTo>
                    <a:lnTo>
                      <a:pt x="40" y="960"/>
                    </a:lnTo>
                    <a:lnTo>
                      <a:pt x="34" y="957"/>
                    </a:lnTo>
                    <a:lnTo>
                      <a:pt x="25" y="957"/>
                    </a:lnTo>
                    <a:lnTo>
                      <a:pt x="21" y="958"/>
                    </a:lnTo>
                    <a:lnTo>
                      <a:pt x="21" y="962"/>
                    </a:lnTo>
                    <a:lnTo>
                      <a:pt x="23" y="964"/>
                    </a:lnTo>
                    <a:lnTo>
                      <a:pt x="23" y="966"/>
                    </a:lnTo>
                    <a:lnTo>
                      <a:pt x="21" y="968"/>
                    </a:lnTo>
                    <a:lnTo>
                      <a:pt x="17" y="968"/>
                    </a:lnTo>
                    <a:lnTo>
                      <a:pt x="13" y="968"/>
                    </a:lnTo>
                    <a:lnTo>
                      <a:pt x="8" y="968"/>
                    </a:lnTo>
                    <a:lnTo>
                      <a:pt x="6" y="974"/>
                    </a:lnTo>
                    <a:lnTo>
                      <a:pt x="4" y="974"/>
                    </a:lnTo>
                    <a:lnTo>
                      <a:pt x="27" y="907"/>
                    </a:lnTo>
                    <a:lnTo>
                      <a:pt x="29" y="909"/>
                    </a:lnTo>
                    <a:lnTo>
                      <a:pt x="34" y="905"/>
                    </a:lnTo>
                    <a:lnTo>
                      <a:pt x="36" y="895"/>
                    </a:lnTo>
                    <a:lnTo>
                      <a:pt x="42" y="889"/>
                    </a:lnTo>
                    <a:lnTo>
                      <a:pt x="50" y="876"/>
                    </a:lnTo>
                    <a:lnTo>
                      <a:pt x="54" y="862"/>
                    </a:lnTo>
                    <a:lnTo>
                      <a:pt x="58" y="857"/>
                    </a:lnTo>
                    <a:lnTo>
                      <a:pt x="65" y="843"/>
                    </a:lnTo>
                    <a:lnTo>
                      <a:pt x="67" y="836"/>
                    </a:lnTo>
                    <a:lnTo>
                      <a:pt x="65" y="832"/>
                    </a:lnTo>
                    <a:lnTo>
                      <a:pt x="67" y="830"/>
                    </a:lnTo>
                    <a:lnTo>
                      <a:pt x="67" y="826"/>
                    </a:lnTo>
                    <a:lnTo>
                      <a:pt x="69" y="822"/>
                    </a:lnTo>
                    <a:lnTo>
                      <a:pt x="69" y="818"/>
                    </a:lnTo>
                    <a:lnTo>
                      <a:pt x="71" y="812"/>
                    </a:lnTo>
                    <a:lnTo>
                      <a:pt x="73" y="811"/>
                    </a:lnTo>
                    <a:lnTo>
                      <a:pt x="79" y="809"/>
                    </a:lnTo>
                    <a:lnTo>
                      <a:pt x="96" y="805"/>
                    </a:lnTo>
                    <a:lnTo>
                      <a:pt x="111" y="797"/>
                    </a:lnTo>
                    <a:lnTo>
                      <a:pt x="121" y="791"/>
                    </a:lnTo>
                    <a:lnTo>
                      <a:pt x="127" y="788"/>
                    </a:lnTo>
                    <a:lnTo>
                      <a:pt x="127" y="786"/>
                    </a:lnTo>
                    <a:lnTo>
                      <a:pt x="136" y="776"/>
                    </a:lnTo>
                    <a:lnTo>
                      <a:pt x="138" y="774"/>
                    </a:lnTo>
                    <a:lnTo>
                      <a:pt x="152" y="749"/>
                    </a:lnTo>
                    <a:lnTo>
                      <a:pt x="154" y="747"/>
                    </a:lnTo>
                    <a:lnTo>
                      <a:pt x="155" y="739"/>
                    </a:lnTo>
                    <a:lnTo>
                      <a:pt x="154" y="736"/>
                    </a:lnTo>
                    <a:lnTo>
                      <a:pt x="154" y="718"/>
                    </a:lnTo>
                    <a:lnTo>
                      <a:pt x="155" y="703"/>
                    </a:lnTo>
                    <a:lnTo>
                      <a:pt x="159" y="693"/>
                    </a:lnTo>
                    <a:lnTo>
                      <a:pt x="146" y="672"/>
                    </a:lnTo>
                    <a:lnTo>
                      <a:pt x="136" y="653"/>
                    </a:lnTo>
                    <a:lnTo>
                      <a:pt x="134" y="640"/>
                    </a:lnTo>
                    <a:lnTo>
                      <a:pt x="127" y="638"/>
                    </a:lnTo>
                    <a:lnTo>
                      <a:pt x="127" y="632"/>
                    </a:lnTo>
                    <a:lnTo>
                      <a:pt x="127" y="628"/>
                    </a:lnTo>
                    <a:lnTo>
                      <a:pt x="127" y="622"/>
                    </a:lnTo>
                    <a:lnTo>
                      <a:pt x="129" y="611"/>
                    </a:lnTo>
                    <a:lnTo>
                      <a:pt x="134" y="601"/>
                    </a:lnTo>
                    <a:lnTo>
                      <a:pt x="140" y="601"/>
                    </a:lnTo>
                    <a:lnTo>
                      <a:pt x="154" y="563"/>
                    </a:lnTo>
                    <a:lnTo>
                      <a:pt x="188" y="472"/>
                    </a:lnTo>
                    <a:lnTo>
                      <a:pt x="217" y="396"/>
                    </a:lnTo>
                    <a:lnTo>
                      <a:pt x="236" y="342"/>
                    </a:lnTo>
                    <a:lnTo>
                      <a:pt x="255" y="288"/>
                    </a:lnTo>
                    <a:lnTo>
                      <a:pt x="271" y="255"/>
                    </a:lnTo>
                    <a:lnTo>
                      <a:pt x="278" y="227"/>
                    </a:lnTo>
                    <a:lnTo>
                      <a:pt x="286" y="200"/>
                    </a:lnTo>
                    <a:lnTo>
                      <a:pt x="292" y="180"/>
                    </a:lnTo>
                    <a:lnTo>
                      <a:pt x="298" y="171"/>
                    </a:lnTo>
                    <a:lnTo>
                      <a:pt x="311" y="132"/>
                    </a:lnTo>
                    <a:lnTo>
                      <a:pt x="309" y="131"/>
                    </a:lnTo>
                    <a:lnTo>
                      <a:pt x="309" y="127"/>
                    </a:lnTo>
                    <a:lnTo>
                      <a:pt x="309" y="123"/>
                    </a:lnTo>
                    <a:lnTo>
                      <a:pt x="313" y="119"/>
                    </a:lnTo>
                    <a:lnTo>
                      <a:pt x="309" y="115"/>
                    </a:lnTo>
                    <a:lnTo>
                      <a:pt x="322" y="100"/>
                    </a:lnTo>
                    <a:lnTo>
                      <a:pt x="326" y="90"/>
                    </a:lnTo>
                    <a:lnTo>
                      <a:pt x="330" y="79"/>
                    </a:lnTo>
                    <a:lnTo>
                      <a:pt x="326" y="82"/>
                    </a:lnTo>
                    <a:lnTo>
                      <a:pt x="321" y="81"/>
                    </a:lnTo>
                    <a:lnTo>
                      <a:pt x="311" y="73"/>
                    </a:lnTo>
                    <a:lnTo>
                      <a:pt x="307" y="63"/>
                    </a:lnTo>
                    <a:lnTo>
                      <a:pt x="305" y="54"/>
                    </a:lnTo>
                    <a:lnTo>
                      <a:pt x="305" y="44"/>
                    </a:lnTo>
                    <a:lnTo>
                      <a:pt x="313" y="31"/>
                    </a:lnTo>
                    <a:lnTo>
                      <a:pt x="317" y="27"/>
                    </a:lnTo>
                    <a:lnTo>
                      <a:pt x="324" y="19"/>
                    </a:lnTo>
                    <a:lnTo>
                      <a:pt x="334" y="15"/>
                    </a:lnTo>
                    <a:lnTo>
                      <a:pt x="344" y="13"/>
                    </a:lnTo>
                    <a:lnTo>
                      <a:pt x="349" y="19"/>
                    </a:lnTo>
                    <a:lnTo>
                      <a:pt x="347" y="27"/>
                    </a:lnTo>
                    <a:lnTo>
                      <a:pt x="351" y="27"/>
                    </a:lnTo>
                    <a:lnTo>
                      <a:pt x="36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3" name="Freeform 13">
                <a:extLst>
                  <a:ext uri="{FF2B5EF4-FFF2-40B4-BE49-F238E27FC236}">
                    <a16:creationId xmlns:a16="http://schemas.microsoft.com/office/drawing/2014/main" id="{979E2CD9-F510-3956-A27A-A4C737C448DB}"/>
                  </a:ext>
                </a:extLst>
              </p:cNvPr>
              <p:cNvSpPr>
                <a:spLocks noEditPoints="1"/>
              </p:cNvSpPr>
              <p:nvPr/>
            </p:nvSpPr>
            <p:spPr bwMode="gray">
              <a:xfrm>
                <a:off x="4096636" y="4491254"/>
                <a:ext cx="684571" cy="580814"/>
              </a:xfrm>
              <a:custGeom>
                <a:avLst/>
                <a:gdLst>
                  <a:gd name="T0" fmla="*/ 302 w 607"/>
                  <a:gd name="T1" fmla="*/ 488 h 515"/>
                  <a:gd name="T2" fmla="*/ 280 w 607"/>
                  <a:gd name="T3" fmla="*/ 480 h 515"/>
                  <a:gd name="T4" fmla="*/ 428 w 607"/>
                  <a:gd name="T5" fmla="*/ 397 h 515"/>
                  <a:gd name="T6" fmla="*/ 438 w 607"/>
                  <a:gd name="T7" fmla="*/ 409 h 515"/>
                  <a:gd name="T8" fmla="*/ 467 w 607"/>
                  <a:gd name="T9" fmla="*/ 422 h 515"/>
                  <a:gd name="T10" fmla="*/ 480 w 607"/>
                  <a:gd name="T11" fmla="*/ 421 h 515"/>
                  <a:gd name="T12" fmla="*/ 480 w 607"/>
                  <a:gd name="T13" fmla="*/ 461 h 515"/>
                  <a:gd name="T14" fmla="*/ 480 w 607"/>
                  <a:gd name="T15" fmla="*/ 474 h 515"/>
                  <a:gd name="T16" fmla="*/ 490 w 607"/>
                  <a:gd name="T17" fmla="*/ 484 h 515"/>
                  <a:gd name="T18" fmla="*/ 490 w 607"/>
                  <a:gd name="T19" fmla="*/ 501 h 515"/>
                  <a:gd name="T20" fmla="*/ 474 w 607"/>
                  <a:gd name="T21" fmla="*/ 494 h 515"/>
                  <a:gd name="T22" fmla="*/ 451 w 607"/>
                  <a:gd name="T23" fmla="*/ 467 h 515"/>
                  <a:gd name="T24" fmla="*/ 424 w 607"/>
                  <a:gd name="T25" fmla="*/ 394 h 515"/>
                  <a:gd name="T26" fmla="*/ 574 w 607"/>
                  <a:gd name="T27" fmla="*/ 396 h 515"/>
                  <a:gd name="T28" fmla="*/ 482 w 607"/>
                  <a:gd name="T29" fmla="*/ 321 h 515"/>
                  <a:gd name="T30" fmla="*/ 484 w 607"/>
                  <a:gd name="T31" fmla="*/ 307 h 515"/>
                  <a:gd name="T32" fmla="*/ 553 w 607"/>
                  <a:gd name="T33" fmla="*/ 298 h 515"/>
                  <a:gd name="T34" fmla="*/ 549 w 607"/>
                  <a:gd name="T35" fmla="*/ 328 h 515"/>
                  <a:gd name="T36" fmla="*/ 511 w 607"/>
                  <a:gd name="T37" fmla="*/ 334 h 515"/>
                  <a:gd name="T38" fmla="*/ 520 w 607"/>
                  <a:gd name="T39" fmla="*/ 373 h 515"/>
                  <a:gd name="T40" fmla="*/ 534 w 607"/>
                  <a:gd name="T41" fmla="*/ 371 h 515"/>
                  <a:gd name="T42" fmla="*/ 543 w 607"/>
                  <a:gd name="T43" fmla="*/ 449 h 515"/>
                  <a:gd name="T44" fmla="*/ 494 w 607"/>
                  <a:gd name="T45" fmla="*/ 361 h 515"/>
                  <a:gd name="T46" fmla="*/ 434 w 607"/>
                  <a:gd name="T47" fmla="*/ 361 h 515"/>
                  <a:gd name="T48" fmla="*/ 453 w 607"/>
                  <a:gd name="T49" fmla="*/ 315 h 515"/>
                  <a:gd name="T50" fmla="*/ 326 w 607"/>
                  <a:gd name="T51" fmla="*/ 290 h 515"/>
                  <a:gd name="T52" fmla="*/ 246 w 607"/>
                  <a:gd name="T53" fmla="*/ 211 h 515"/>
                  <a:gd name="T54" fmla="*/ 238 w 607"/>
                  <a:gd name="T55" fmla="*/ 203 h 515"/>
                  <a:gd name="T56" fmla="*/ 158 w 607"/>
                  <a:gd name="T57" fmla="*/ 130 h 515"/>
                  <a:gd name="T58" fmla="*/ 100 w 607"/>
                  <a:gd name="T59" fmla="*/ 123 h 515"/>
                  <a:gd name="T60" fmla="*/ 96 w 607"/>
                  <a:gd name="T61" fmla="*/ 113 h 515"/>
                  <a:gd name="T62" fmla="*/ 94 w 607"/>
                  <a:gd name="T63" fmla="*/ 82 h 515"/>
                  <a:gd name="T64" fmla="*/ 85 w 607"/>
                  <a:gd name="T65" fmla="*/ 79 h 515"/>
                  <a:gd name="T66" fmla="*/ 77 w 607"/>
                  <a:gd name="T67" fmla="*/ 73 h 515"/>
                  <a:gd name="T68" fmla="*/ 69 w 607"/>
                  <a:gd name="T69" fmla="*/ 67 h 515"/>
                  <a:gd name="T70" fmla="*/ 58 w 607"/>
                  <a:gd name="T71" fmla="*/ 65 h 515"/>
                  <a:gd name="T72" fmla="*/ 54 w 607"/>
                  <a:gd name="T73" fmla="*/ 57 h 515"/>
                  <a:gd name="T74" fmla="*/ 48 w 607"/>
                  <a:gd name="T75" fmla="*/ 50 h 515"/>
                  <a:gd name="T76" fmla="*/ 88 w 607"/>
                  <a:gd name="T77" fmla="*/ 11 h 515"/>
                  <a:gd name="T78" fmla="*/ 144 w 607"/>
                  <a:gd name="T79" fmla="*/ 13 h 515"/>
                  <a:gd name="T80" fmla="*/ 182 w 607"/>
                  <a:gd name="T81" fmla="*/ 29 h 515"/>
                  <a:gd name="T82" fmla="*/ 265 w 607"/>
                  <a:gd name="T83" fmla="*/ 57 h 515"/>
                  <a:gd name="T84" fmla="*/ 342 w 607"/>
                  <a:gd name="T85" fmla="*/ 65 h 515"/>
                  <a:gd name="T86" fmla="*/ 380 w 607"/>
                  <a:gd name="T87" fmla="*/ 79 h 515"/>
                  <a:gd name="T88" fmla="*/ 422 w 607"/>
                  <a:gd name="T89" fmla="*/ 73 h 515"/>
                  <a:gd name="T90" fmla="*/ 417 w 607"/>
                  <a:gd name="T91" fmla="*/ 146 h 515"/>
                  <a:gd name="T92" fmla="*/ 380 w 607"/>
                  <a:gd name="T93" fmla="*/ 173 h 515"/>
                  <a:gd name="T94" fmla="*/ 363 w 607"/>
                  <a:gd name="T95" fmla="*/ 148 h 515"/>
                  <a:gd name="T96" fmla="*/ 373 w 607"/>
                  <a:gd name="T97" fmla="*/ 198 h 515"/>
                  <a:gd name="T98" fmla="*/ 330 w 607"/>
                  <a:gd name="T99" fmla="*/ 223 h 515"/>
                  <a:gd name="T100" fmla="*/ 300 w 607"/>
                  <a:gd name="T101" fmla="*/ 232 h 515"/>
                  <a:gd name="T102" fmla="*/ 252 w 607"/>
                  <a:gd name="T103" fmla="*/ 215 h 515"/>
                  <a:gd name="T104" fmla="*/ 240 w 607"/>
                  <a:gd name="T105" fmla="*/ 190 h 515"/>
                  <a:gd name="T106" fmla="*/ 221 w 607"/>
                  <a:gd name="T107" fmla="*/ 190 h 515"/>
                  <a:gd name="T108" fmla="*/ 196 w 607"/>
                  <a:gd name="T109" fmla="*/ 146 h 515"/>
                  <a:gd name="T110" fmla="*/ 165 w 607"/>
                  <a:gd name="T111" fmla="*/ 123 h 515"/>
                  <a:gd name="T112" fmla="*/ 121 w 607"/>
                  <a:gd name="T113" fmla="*/ 107 h 515"/>
                  <a:gd name="T114" fmla="*/ 104 w 607"/>
                  <a:gd name="T115" fmla="*/ 94 h 515"/>
                  <a:gd name="T116" fmla="*/ 90 w 607"/>
                  <a:gd name="T117" fmla="*/ 81 h 515"/>
                  <a:gd name="T118" fmla="*/ 75 w 607"/>
                  <a:gd name="T119" fmla="*/ 61 h 515"/>
                  <a:gd name="T120" fmla="*/ 54 w 607"/>
                  <a:gd name="T121" fmla="*/ 46 h 515"/>
                  <a:gd name="T122" fmla="*/ 38 w 607"/>
                  <a:gd name="T123" fmla="*/ 48 h 515"/>
                  <a:gd name="T124" fmla="*/ 6 w 607"/>
                  <a:gd name="T125"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7" h="515">
                    <a:moveTo>
                      <a:pt x="309" y="497"/>
                    </a:moveTo>
                    <a:lnTo>
                      <a:pt x="307" y="505"/>
                    </a:lnTo>
                    <a:lnTo>
                      <a:pt x="307" y="513"/>
                    </a:lnTo>
                    <a:lnTo>
                      <a:pt x="298" y="515"/>
                    </a:lnTo>
                    <a:lnTo>
                      <a:pt x="300" y="507"/>
                    </a:lnTo>
                    <a:lnTo>
                      <a:pt x="298" y="503"/>
                    </a:lnTo>
                    <a:lnTo>
                      <a:pt x="290" y="503"/>
                    </a:lnTo>
                    <a:lnTo>
                      <a:pt x="288" y="499"/>
                    </a:lnTo>
                    <a:lnTo>
                      <a:pt x="294" y="495"/>
                    </a:lnTo>
                    <a:lnTo>
                      <a:pt x="302" y="488"/>
                    </a:lnTo>
                    <a:lnTo>
                      <a:pt x="302" y="480"/>
                    </a:lnTo>
                    <a:lnTo>
                      <a:pt x="307" y="478"/>
                    </a:lnTo>
                    <a:lnTo>
                      <a:pt x="315" y="482"/>
                    </a:lnTo>
                    <a:lnTo>
                      <a:pt x="321" y="488"/>
                    </a:lnTo>
                    <a:lnTo>
                      <a:pt x="313" y="494"/>
                    </a:lnTo>
                    <a:lnTo>
                      <a:pt x="309" y="497"/>
                    </a:lnTo>
                    <a:close/>
                    <a:moveTo>
                      <a:pt x="292" y="470"/>
                    </a:moveTo>
                    <a:lnTo>
                      <a:pt x="290" y="478"/>
                    </a:lnTo>
                    <a:lnTo>
                      <a:pt x="280" y="486"/>
                    </a:lnTo>
                    <a:lnTo>
                      <a:pt x="280" y="480"/>
                    </a:lnTo>
                    <a:lnTo>
                      <a:pt x="277" y="476"/>
                    </a:lnTo>
                    <a:lnTo>
                      <a:pt x="271" y="478"/>
                    </a:lnTo>
                    <a:lnTo>
                      <a:pt x="269" y="472"/>
                    </a:lnTo>
                    <a:lnTo>
                      <a:pt x="277" y="469"/>
                    </a:lnTo>
                    <a:lnTo>
                      <a:pt x="282" y="461"/>
                    </a:lnTo>
                    <a:lnTo>
                      <a:pt x="290" y="465"/>
                    </a:lnTo>
                    <a:lnTo>
                      <a:pt x="292" y="470"/>
                    </a:lnTo>
                    <a:close/>
                    <a:moveTo>
                      <a:pt x="424" y="394"/>
                    </a:moveTo>
                    <a:lnTo>
                      <a:pt x="428" y="396"/>
                    </a:lnTo>
                    <a:lnTo>
                      <a:pt x="428" y="397"/>
                    </a:lnTo>
                    <a:lnTo>
                      <a:pt x="424" y="396"/>
                    </a:lnTo>
                    <a:lnTo>
                      <a:pt x="424" y="399"/>
                    </a:lnTo>
                    <a:lnTo>
                      <a:pt x="424" y="401"/>
                    </a:lnTo>
                    <a:lnTo>
                      <a:pt x="426" y="403"/>
                    </a:lnTo>
                    <a:lnTo>
                      <a:pt x="428" y="405"/>
                    </a:lnTo>
                    <a:lnTo>
                      <a:pt x="432" y="405"/>
                    </a:lnTo>
                    <a:lnTo>
                      <a:pt x="434" y="405"/>
                    </a:lnTo>
                    <a:lnTo>
                      <a:pt x="436" y="407"/>
                    </a:lnTo>
                    <a:lnTo>
                      <a:pt x="438" y="407"/>
                    </a:lnTo>
                    <a:lnTo>
                      <a:pt x="438" y="409"/>
                    </a:lnTo>
                    <a:lnTo>
                      <a:pt x="442" y="409"/>
                    </a:lnTo>
                    <a:lnTo>
                      <a:pt x="444" y="411"/>
                    </a:lnTo>
                    <a:lnTo>
                      <a:pt x="446" y="409"/>
                    </a:lnTo>
                    <a:lnTo>
                      <a:pt x="447" y="409"/>
                    </a:lnTo>
                    <a:lnTo>
                      <a:pt x="455" y="405"/>
                    </a:lnTo>
                    <a:lnTo>
                      <a:pt x="457" y="405"/>
                    </a:lnTo>
                    <a:lnTo>
                      <a:pt x="453" y="413"/>
                    </a:lnTo>
                    <a:lnTo>
                      <a:pt x="457" y="417"/>
                    </a:lnTo>
                    <a:lnTo>
                      <a:pt x="465" y="422"/>
                    </a:lnTo>
                    <a:lnTo>
                      <a:pt x="467" y="422"/>
                    </a:lnTo>
                    <a:lnTo>
                      <a:pt x="469" y="421"/>
                    </a:lnTo>
                    <a:lnTo>
                      <a:pt x="470" y="421"/>
                    </a:lnTo>
                    <a:lnTo>
                      <a:pt x="470" y="422"/>
                    </a:lnTo>
                    <a:lnTo>
                      <a:pt x="472" y="422"/>
                    </a:lnTo>
                    <a:lnTo>
                      <a:pt x="474" y="422"/>
                    </a:lnTo>
                    <a:lnTo>
                      <a:pt x="476" y="421"/>
                    </a:lnTo>
                    <a:lnTo>
                      <a:pt x="474" y="421"/>
                    </a:lnTo>
                    <a:lnTo>
                      <a:pt x="467" y="415"/>
                    </a:lnTo>
                    <a:lnTo>
                      <a:pt x="478" y="421"/>
                    </a:lnTo>
                    <a:lnTo>
                      <a:pt x="480" y="421"/>
                    </a:lnTo>
                    <a:lnTo>
                      <a:pt x="482" y="421"/>
                    </a:lnTo>
                    <a:lnTo>
                      <a:pt x="484" y="422"/>
                    </a:lnTo>
                    <a:lnTo>
                      <a:pt x="484" y="424"/>
                    </a:lnTo>
                    <a:lnTo>
                      <a:pt x="486" y="428"/>
                    </a:lnTo>
                    <a:lnTo>
                      <a:pt x="488" y="432"/>
                    </a:lnTo>
                    <a:lnTo>
                      <a:pt x="486" y="442"/>
                    </a:lnTo>
                    <a:lnTo>
                      <a:pt x="486" y="432"/>
                    </a:lnTo>
                    <a:lnTo>
                      <a:pt x="480" y="432"/>
                    </a:lnTo>
                    <a:lnTo>
                      <a:pt x="474" y="434"/>
                    </a:lnTo>
                    <a:lnTo>
                      <a:pt x="480" y="461"/>
                    </a:lnTo>
                    <a:lnTo>
                      <a:pt x="482" y="461"/>
                    </a:lnTo>
                    <a:lnTo>
                      <a:pt x="484" y="459"/>
                    </a:lnTo>
                    <a:lnTo>
                      <a:pt x="486" y="455"/>
                    </a:lnTo>
                    <a:lnTo>
                      <a:pt x="486" y="459"/>
                    </a:lnTo>
                    <a:lnTo>
                      <a:pt x="486" y="467"/>
                    </a:lnTo>
                    <a:lnTo>
                      <a:pt x="488" y="472"/>
                    </a:lnTo>
                    <a:lnTo>
                      <a:pt x="486" y="469"/>
                    </a:lnTo>
                    <a:lnTo>
                      <a:pt x="484" y="469"/>
                    </a:lnTo>
                    <a:lnTo>
                      <a:pt x="482" y="470"/>
                    </a:lnTo>
                    <a:lnTo>
                      <a:pt x="480" y="474"/>
                    </a:lnTo>
                    <a:lnTo>
                      <a:pt x="480" y="478"/>
                    </a:lnTo>
                    <a:lnTo>
                      <a:pt x="480" y="482"/>
                    </a:lnTo>
                    <a:lnTo>
                      <a:pt x="480" y="484"/>
                    </a:lnTo>
                    <a:lnTo>
                      <a:pt x="482" y="486"/>
                    </a:lnTo>
                    <a:lnTo>
                      <a:pt x="484" y="490"/>
                    </a:lnTo>
                    <a:lnTo>
                      <a:pt x="488" y="492"/>
                    </a:lnTo>
                    <a:lnTo>
                      <a:pt x="490" y="490"/>
                    </a:lnTo>
                    <a:lnTo>
                      <a:pt x="492" y="490"/>
                    </a:lnTo>
                    <a:lnTo>
                      <a:pt x="492" y="486"/>
                    </a:lnTo>
                    <a:lnTo>
                      <a:pt x="490" y="484"/>
                    </a:lnTo>
                    <a:lnTo>
                      <a:pt x="492" y="484"/>
                    </a:lnTo>
                    <a:lnTo>
                      <a:pt x="492" y="486"/>
                    </a:lnTo>
                    <a:lnTo>
                      <a:pt x="492" y="490"/>
                    </a:lnTo>
                    <a:lnTo>
                      <a:pt x="492" y="492"/>
                    </a:lnTo>
                    <a:lnTo>
                      <a:pt x="492" y="494"/>
                    </a:lnTo>
                    <a:lnTo>
                      <a:pt x="492" y="495"/>
                    </a:lnTo>
                    <a:lnTo>
                      <a:pt x="492" y="497"/>
                    </a:lnTo>
                    <a:lnTo>
                      <a:pt x="492" y="499"/>
                    </a:lnTo>
                    <a:lnTo>
                      <a:pt x="492" y="501"/>
                    </a:lnTo>
                    <a:lnTo>
                      <a:pt x="490" y="501"/>
                    </a:lnTo>
                    <a:lnTo>
                      <a:pt x="488" y="503"/>
                    </a:lnTo>
                    <a:lnTo>
                      <a:pt x="486" y="503"/>
                    </a:lnTo>
                    <a:lnTo>
                      <a:pt x="484" y="499"/>
                    </a:lnTo>
                    <a:lnTo>
                      <a:pt x="480" y="495"/>
                    </a:lnTo>
                    <a:lnTo>
                      <a:pt x="480" y="494"/>
                    </a:lnTo>
                    <a:lnTo>
                      <a:pt x="478" y="494"/>
                    </a:lnTo>
                    <a:lnTo>
                      <a:pt x="478" y="492"/>
                    </a:lnTo>
                    <a:lnTo>
                      <a:pt x="476" y="494"/>
                    </a:lnTo>
                    <a:lnTo>
                      <a:pt x="476" y="495"/>
                    </a:lnTo>
                    <a:lnTo>
                      <a:pt x="474" y="494"/>
                    </a:lnTo>
                    <a:lnTo>
                      <a:pt x="474" y="492"/>
                    </a:lnTo>
                    <a:lnTo>
                      <a:pt x="476" y="492"/>
                    </a:lnTo>
                    <a:lnTo>
                      <a:pt x="472" y="490"/>
                    </a:lnTo>
                    <a:lnTo>
                      <a:pt x="470" y="488"/>
                    </a:lnTo>
                    <a:lnTo>
                      <a:pt x="465" y="488"/>
                    </a:lnTo>
                    <a:lnTo>
                      <a:pt x="463" y="486"/>
                    </a:lnTo>
                    <a:lnTo>
                      <a:pt x="461" y="486"/>
                    </a:lnTo>
                    <a:lnTo>
                      <a:pt x="461" y="484"/>
                    </a:lnTo>
                    <a:lnTo>
                      <a:pt x="457" y="480"/>
                    </a:lnTo>
                    <a:lnTo>
                      <a:pt x="451" y="467"/>
                    </a:lnTo>
                    <a:lnTo>
                      <a:pt x="426" y="438"/>
                    </a:lnTo>
                    <a:lnTo>
                      <a:pt x="417" y="430"/>
                    </a:lnTo>
                    <a:lnTo>
                      <a:pt x="396" y="411"/>
                    </a:lnTo>
                    <a:lnTo>
                      <a:pt x="396" y="409"/>
                    </a:lnTo>
                    <a:lnTo>
                      <a:pt x="396" y="407"/>
                    </a:lnTo>
                    <a:lnTo>
                      <a:pt x="396" y="405"/>
                    </a:lnTo>
                    <a:lnTo>
                      <a:pt x="405" y="397"/>
                    </a:lnTo>
                    <a:lnTo>
                      <a:pt x="413" y="394"/>
                    </a:lnTo>
                    <a:lnTo>
                      <a:pt x="422" y="394"/>
                    </a:lnTo>
                    <a:lnTo>
                      <a:pt x="424" y="394"/>
                    </a:lnTo>
                    <a:close/>
                    <a:moveTo>
                      <a:pt x="574" y="382"/>
                    </a:moveTo>
                    <a:lnTo>
                      <a:pt x="582" y="388"/>
                    </a:lnTo>
                    <a:lnTo>
                      <a:pt x="595" y="386"/>
                    </a:lnTo>
                    <a:lnTo>
                      <a:pt x="603" y="397"/>
                    </a:lnTo>
                    <a:lnTo>
                      <a:pt x="607" y="409"/>
                    </a:lnTo>
                    <a:lnTo>
                      <a:pt x="603" y="415"/>
                    </a:lnTo>
                    <a:lnTo>
                      <a:pt x="595" y="407"/>
                    </a:lnTo>
                    <a:lnTo>
                      <a:pt x="584" y="401"/>
                    </a:lnTo>
                    <a:lnTo>
                      <a:pt x="580" y="405"/>
                    </a:lnTo>
                    <a:lnTo>
                      <a:pt x="574" y="396"/>
                    </a:lnTo>
                    <a:lnTo>
                      <a:pt x="566" y="394"/>
                    </a:lnTo>
                    <a:lnTo>
                      <a:pt x="555" y="380"/>
                    </a:lnTo>
                    <a:lnTo>
                      <a:pt x="557" y="373"/>
                    </a:lnTo>
                    <a:lnTo>
                      <a:pt x="563" y="373"/>
                    </a:lnTo>
                    <a:lnTo>
                      <a:pt x="565" y="380"/>
                    </a:lnTo>
                    <a:lnTo>
                      <a:pt x="574" y="382"/>
                    </a:lnTo>
                    <a:close/>
                    <a:moveTo>
                      <a:pt x="453" y="315"/>
                    </a:moveTo>
                    <a:lnTo>
                      <a:pt x="463" y="326"/>
                    </a:lnTo>
                    <a:lnTo>
                      <a:pt x="470" y="321"/>
                    </a:lnTo>
                    <a:lnTo>
                      <a:pt x="482" y="321"/>
                    </a:lnTo>
                    <a:lnTo>
                      <a:pt x="484" y="319"/>
                    </a:lnTo>
                    <a:lnTo>
                      <a:pt x="488" y="317"/>
                    </a:lnTo>
                    <a:lnTo>
                      <a:pt x="486" y="315"/>
                    </a:lnTo>
                    <a:lnTo>
                      <a:pt x="486" y="313"/>
                    </a:lnTo>
                    <a:lnTo>
                      <a:pt x="482" y="311"/>
                    </a:lnTo>
                    <a:lnTo>
                      <a:pt x="480" y="313"/>
                    </a:lnTo>
                    <a:lnTo>
                      <a:pt x="480" y="315"/>
                    </a:lnTo>
                    <a:lnTo>
                      <a:pt x="480" y="311"/>
                    </a:lnTo>
                    <a:lnTo>
                      <a:pt x="482" y="309"/>
                    </a:lnTo>
                    <a:lnTo>
                      <a:pt x="484" y="307"/>
                    </a:lnTo>
                    <a:lnTo>
                      <a:pt x="486" y="307"/>
                    </a:lnTo>
                    <a:lnTo>
                      <a:pt x="490" y="307"/>
                    </a:lnTo>
                    <a:lnTo>
                      <a:pt x="495" y="305"/>
                    </a:lnTo>
                    <a:lnTo>
                      <a:pt x="497" y="305"/>
                    </a:lnTo>
                    <a:lnTo>
                      <a:pt x="509" y="303"/>
                    </a:lnTo>
                    <a:lnTo>
                      <a:pt x="518" y="303"/>
                    </a:lnTo>
                    <a:lnTo>
                      <a:pt x="526" y="301"/>
                    </a:lnTo>
                    <a:lnTo>
                      <a:pt x="545" y="301"/>
                    </a:lnTo>
                    <a:lnTo>
                      <a:pt x="549" y="300"/>
                    </a:lnTo>
                    <a:lnTo>
                      <a:pt x="553" y="298"/>
                    </a:lnTo>
                    <a:lnTo>
                      <a:pt x="555" y="298"/>
                    </a:lnTo>
                    <a:lnTo>
                      <a:pt x="557" y="300"/>
                    </a:lnTo>
                    <a:lnTo>
                      <a:pt x="559" y="301"/>
                    </a:lnTo>
                    <a:lnTo>
                      <a:pt x="561" y="307"/>
                    </a:lnTo>
                    <a:lnTo>
                      <a:pt x="559" y="311"/>
                    </a:lnTo>
                    <a:lnTo>
                      <a:pt x="559" y="313"/>
                    </a:lnTo>
                    <a:lnTo>
                      <a:pt x="555" y="321"/>
                    </a:lnTo>
                    <a:lnTo>
                      <a:pt x="553" y="324"/>
                    </a:lnTo>
                    <a:lnTo>
                      <a:pt x="551" y="326"/>
                    </a:lnTo>
                    <a:lnTo>
                      <a:pt x="549" y="328"/>
                    </a:lnTo>
                    <a:lnTo>
                      <a:pt x="545" y="332"/>
                    </a:lnTo>
                    <a:lnTo>
                      <a:pt x="524" y="340"/>
                    </a:lnTo>
                    <a:lnTo>
                      <a:pt x="520" y="340"/>
                    </a:lnTo>
                    <a:lnTo>
                      <a:pt x="520" y="338"/>
                    </a:lnTo>
                    <a:lnTo>
                      <a:pt x="526" y="338"/>
                    </a:lnTo>
                    <a:lnTo>
                      <a:pt x="524" y="334"/>
                    </a:lnTo>
                    <a:lnTo>
                      <a:pt x="522" y="332"/>
                    </a:lnTo>
                    <a:lnTo>
                      <a:pt x="518" y="332"/>
                    </a:lnTo>
                    <a:lnTo>
                      <a:pt x="515" y="332"/>
                    </a:lnTo>
                    <a:lnTo>
                      <a:pt x="511" y="334"/>
                    </a:lnTo>
                    <a:lnTo>
                      <a:pt x="507" y="338"/>
                    </a:lnTo>
                    <a:lnTo>
                      <a:pt x="505" y="344"/>
                    </a:lnTo>
                    <a:lnTo>
                      <a:pt x="505" y="348"/>
                    </a:lnTo>
                    <a:lnTo>
                      <a:pt x="505" y="353"/>
                    </a:lnTo>
                    <a:lnTo>
                      <a:pt x="507" y="361"/>
                    </a:lnTo>
                    <a:lnTo>
                      <a:pt x="511" y="367"/>
                    </a:lnTo>
                    <a:lnTo>
                      <a:pt x="511" y="369"/>
                    </a:lnTo>
                    <a:lnTo>
                      <a:pt x="513" y="371"/>
                    </a:lnTo>
                    <a:lnTo>
                      <a:pt x="518" y="373"/>
                    </a:lnTo>
                    <a:lnTo>
                      <a:pt x="520" y="373"/>
                    </a:lnTo>
                    <a:lnTo>
                      <a:pt x="522" y="373"/>
                    </a:lnTo>
                    <a:lnTo>
                      <a:pt x="524" y="373"/>
                    </a:lnTo>
                    <a:lnTo>
                      <a:pt x="526" y="371"/>
                    </a:lnTo>
                    <a:lnTo>
                      <a:pt x="528" y="369"/>
                    </a:lnTo>
                    <a:lnTo>
                      <a:pt x="526" y="367"/>
                    </a:lnTo>
                    <a:lnTo>
                      <a:pt x="524" y="367"/>
                    </a:lnTo>
                    <a:lnTo>
                      <a:pt x="524" y="365"/>
                    </a:lnTo>
                    <a:lnTo>
                      <a:pt x="530" y="367"/>
                    </a:lnTo>
                    <a:lnTo>
                      <a:pt x="532" y="367"/>
                    </a:lnTo>
                    <a:lnTo>
                      <a:pt x="534" y="371"/>
                    </a:lnTo>
                    <a:lnTo>
                      <a:pt x="532" y="378"/>
                    </a:lnTo>
                    <a:lnTo>
                      <a:pt x="536" y="392"/>
                    </a:lnTo>
                    <a:lnTo>
                      <a:pt x="551" y="405"/>
                    </a:lnTo>
                    <a:lnTo>
                      <a:pt x="561" y="415"/>
                    </a:lnTo>
                    <a:lnTo>
                      <a:pt x="561" y="419"/>
                    </a:lnTo>
                    <a:lnTo>
                      <a:pt x="551" y="426"/>
                    </a:lnTo>
                    <a:lnTo>
                      <a:pt x="549" y="436"/>
                    </a:lnTo>
                    <a:lnTo>
                      <a:pt x="553" y="453"/>
                    </a:lnTo>
                    <a:lnTo>
                      <a:pt x="549" y="457"/>
                    </a:lnTo>
                    <a:lnTo>
                      <a:pt x="543" y="449"/>
                    </a:lnTo>
                    <a:lnTo>
                      <a:pt x="538" y="447"/>
                    </a:lnTo>
                    <a:lnTo>
                      <a:pt x="507" y="419"/>
                    </a:lnTo>
                    <a:lnTo>
                      <a:pt x="497" y="407"/>
                    </a:lnTo>
                    <a:lnTo>
                      <a:pt x="494" y="386"/>
                    </a:lnTo>
                    <a:lnTo>
                      <a:pt x="476" y="374"/>
                    </a:lnTo>
                    <a:lnTo>
                      <a:pt x="474" y="371"/>
                    </a:lnTo>
                    <a:lnTo>
                      <a:pt x="472" y="367"/>
                    </a:lnTo>
                    <a:lnTo>
                      <a:pt x="478" y="359"/>
                    </a:lnTo>
                    <a:lnTo>
                      <a:pt x="490" y="367"/>
                    </a:lnTo>
                    <a:lnTo>
                      <a:pt x="494" y="361"/>
                    </a:lnTo>
                    <a:lnTo>
                      <a:pt x="492" y="346"/>
                    </a:lnTo>
                    <a:lnTo>
                      <a:pt x="472" y="348"/>
                    </a:lnTo>
                    <a:lnTo>
                      <a:pt x="472" y="334"/>
                    </a:lnTo>
                    <a:lnTo>
                      <a:pt x="469" y="338"/>
                    </a:lnTo>
                    <a:lnTo>
                      <a:pt x="449" y="357"/>
                    </a:lnTo>
                    <a:lnTo>
                      <a:pt x="446" y="361"/>
                    </a:lnTo>
                    <a:lnTo>
                      <a:pt x="440" y="363"/>
                    </a:lnTo>
                    <a:lnTo>
                      <a:pt x="436" y="363"/>
                    </a:lnTo>
                    <a:lnTo>
                      <a:pt x="436" y="361"/>
                    </a:lnTo>
                    <a:lnTo>
                      <a:pt x="434" y="361"/>
                    </a:lnTo>
                    <a:lnTo>
                      <a:pt x="434" y="355"/>
                    </a:lnTo>
                    <a:lnTo>
                      <a:pt x="457" y="342"/>
                    </a:lnTo>
                    <a:lnTo>
                      <a:pt x="461" y="328"/>
                    </a:lnTo>
                    <a:lnTo>
                      <a:pt x="451" y="315"/>
                    </a:lnTo>
                    <a:lnTo>
                      <a:pt x="449" y="317"/>
                    </a:lnTo>
                    <a:lnTo>
                      <a:pt x="444" y="323"/>
                    </a:lnTo>
                    <a:lnTo>
                      <a:pt x="421" y="301"/>
                    </a:lnTo>
                    <a:lnTo>
                      <a:pt x="422" y="296"/>
                    </a:lnTo>
                    <a:lnTo>
                      <a:pt x="455" y="307"/>
                    </a:lnTo>
                    <a:lnTo>
                      <a:pt x="453" y="315"/>
                    </a:lnTo>
                    <a:close/>
                    <a:moveTo>
                      <a:pt x="357" y="338"/>
                    </a:moveTo>
                    <a:lnTo>
                      <a:pt x="353" y="340"/>
                    </a:lnTo>
                    <a:lnTo>
                      <a:pt x="342" y="328"/>
                    </a:lnTo>
                    <a:lnTo>
                      <a:pt x="338" y="324"/>
                    </a:lnTo>
                    <a:lnTo>
                      <a:pt x="334" y="317"/>
                    </a:lnTo>
                    <a:lnTo>
                      <a:pt x="326" y="307"/>
                    </a:lnTo>
                    <a:lnTo>
                      <a:pt x="325" y="300"/>
                    </a:lnTo>
                    <a:lnTo>
                      <a:pt x="321" y="290"/>
                    </a:lnTo>
                    <a:lnTo>
                      <a:pt x="319" y="284"/>
                    </a:lnTo>
                    <a:lnTo>
                      <a:pt x="326" y="290"/>
                    </a:lnTo>
                    <a:lnTo>
                      <a:pt x="330" y="298"/>
                    </a:lnTo>
                    <a:lnTo>
                      <a:pt x="340" y="313"/>
                    </a:lnTo>
                    <a:lnTo>
                      <a:pt x="353" y="323"/>
                    </a:lnTo>
                    <a:lnTo>
                      <a:pt x="357" y="332"/>
                    </a:lnTo>
                    <a:lnTo>
                      <a:pt x="357" y="338"/>
                    </a:lnTo>
                    <a:close/>
                    <a:moveTo>
                      <a:pt x="242" y="205"/>
                    </a:moveTo>
                    <a:lnTo>
                      <a:pt x="244" y="207"/>
                    </a:lnTo>
                    <a:lnTo>
                      <a:pt x="246" y="207"/>
                    </a:lnTo>
                    <a:lnTo>
                      <a:pt x="246" y="209"/>
                    </a:lnTo>
                    <a:lnTo>
                      <a:pt x="246" y="211"/>
                    </a:lnTo>
                    <a:lnTo>
                      <a:pt x="244" y="211"/>
                    </a:lnTo>
                    <a:lnTo>
                      <a:pt x="242" y="211"/>
                    </a:lnTo>
                    <a:lnTo>
                      <a:pt x="234" y="205"/>
                    </a:lnTo>
                    <a:lnTo>
                      <a:pt x="234" y="203"/>
                    </a:lnTo>
                    <a:lnTo>
                      <a:pt x="234" y="202"/>
                    </a:lnTo>
                    <a:lnTo>
                      <a:pt x="234" y="200"/>
                    </a:lnTo>
                    <a:lnTo>
                      <a:pt x="236" y="200"/>
                    </a:lnTo>
                    <a:lnTo>
                      <a:pt x="238" y="200"/>
                    </a:lnTo>
                    <a:lnTo>
                      <a:pt x="238" y="202"/>
                    </a:lnTo>
                    <a:lnTo>
                      <a:pt x="238" y="203"/>
                    </a:lnTo>
                    <a:lnTo>
                      <a:pt x="242" y="205"/>
                    </a:lnTo>
                    <a:close/>
                    <a:moveTo>
                      <a:pt x="171" y="136"/>
                    </a:moveTo>
                    <a:lnTo>
                      <a:pt x="173" y="136"/>
                    </a:lnTo>
                    <a:lnTo>
                      <a:pt x="175" y="136"/>
                    </a:lnTo>
                    <a:lnTo>
                      <a:pt x="177" y="136"/>
                    </a:lnTo>
                    <a:lnTo>
                      <a:pt x="175" y="138"/>
                    </a:lnTo>
                    <a:lnTo>
                      <a:pt x="175" y="140"/>
                    </a:lnTo>
                    <a:lnTo>
                      <a:pt x="169" y="140"/>
                    </a:lnTo>
                    <a:lnTo>
                      <a:pt x="159" y="132"/>
                    </a:lnTo>
                    <a:lnTo>
                      <a:pt x="158" y="130"/>
                    </a:lnTo>
                    <a:lnTo>
                      <a:pt x="158" y="129"/>
                    </a:lnTo>
                    <a:lnTo>
                      <a:pt x="158" y="127"/>
                    </a:lnTo>
                    <a:lnTo>
                      <a:pt x="159" y="125"/>
                    </a:lnTo>
                    <a:lnTo>
                      <a:pt x="161" y="125"/>
                    </a:lnTo>
                    <a:lnTo>
                      <a:pt x="163" y="127"/>
                    </a:lnTo>
                    <a:lnTo>
                      <a:pt x="167" y="130"/>
                    </a:lnTo>
                    <a:lnTo>
                      <a:pt x="171" y="136"/>
                    </a:lnTo>
                    <a:close/>
                    <a:moveTo>
                      <a:pt x="104" y="121"/>
                    </a:moveTo>
                    <a:lnTo>
                      <a:pt x="102" y="123"/>
                    </a:lnTo>
                    <a:lnTo>
                      <a:pt x="100" y="123"/>
                    </a:lnTo>
                    <a:lnTo>
                      <a:pt x="98" y="119"/>
                    </a:lnTo>
                    <a:lnTo>
                      <a:pt x="94" y="117"/>
                    </a:lnTo>
                    <a:lnTo>
                      <a:pt x="90" y="117"/>
                    </a:lnTo>
                    <a:lnTo>
                      <a:pt x="88" y="115"/>
                    </a:lnTo>
                    <a:lnTo>
                      <a:pt x="88" y="113"/>
                    </a:lnTo>
                    <a:lnTo>
                      <a:pt x="88" y="111"/>
                    </a:lnTo>
                    <a:lnTo>
                      <a:pt x="90" y="111"/>
                    </a:lnTo>
                    <a:lnTo>
                      <a:pt x="92" y="111"/>
                    </a:lnTo>
                    <a:lnTo>
                      <a:pt x="94" y="113"/>
                    </a:lnTo>
                    <a:lnTo>
                      <a:pt x="96" y="113"/>
                    </a:lnTo>
                    <a:lnTo>
                      <a:pt x="98" y="113"/>
                    </a:lnTo>
                    <a:lnTo>
                      <a:pt x="98" y="115"/>
                    </a:lnTo>
                    <a:lnTo>
                      <a:pt x="100" y="115"/>
                    </a:lnTo>
                    <a:lnTo>
                      <a:pt x="102" y="117"/>
                    </a:lnTo>
                    <a:lnTo>
                      <a:pt x="102" y="119"/>
                    </a:lnTo>
                    <a:lnTo>
                      <a:pt x="104" y="121"/>
                    </a:lnTo>
                    <a:close/>
                    <a:moveTo>
                      <a:pt x="85" y="81"/>
                    </a:moveTo>
                    <a:lnTo>
                      <a:pt x="92" y="84"/>
                    </a:lnTo>
                    <a:lnTo>
                      <a:pt x="92" y="82"/>
                    </a:lnTo>
                    <a:lnTo>
                      <a:pt x="94" y="82"/>
                    </a:lnTo>
                    <a:lnTo>
                      <a:pt x="94" y="84"/>
                    </a:lnTo>
                    <a:lnTo>
                      <a:pt x="94" y="86"/>
                    </a:lnTo>
                    <a:lnTo>
                      <a:pt x="92" y="88"/>
                    </a:lnTo>
                    <a:lnTo>
                      <a:pt x="90" y="88"/>
                    </a:lnTo>
                    <a:lnTo>
                      <a:pt x="85" y="84"/>
                    </a:lnTo>
                    <a:lnTo>
                      <a:pt x="83" y="84"/>
                    </a:lnTo>
                    <a:lnTo>
                      <a:pt x="83" y="82"/>
                    </a:lnTo>
                    <a:lnTo>
                      <a:pt x="83" y="81"/>
                    </a:lnTo>
                    <a:lnTo>
                      <a:pt x="83" y="79"/>
                    </a:lnTo>
                    <a:lnTo>
                      <a:pt x="85" y="79"/>
                    </a:lnTo>
                    <a:lnTo>
                      <a:pt x="86" y="79"/>
                    </a:lnTo>
                    <a:lnTo>
                      <a:pt x="86" y="81"/>
                    </a:lnTo>
                    <a:lnTo>
                      <a:pt x="85" y="81"/>
                    </a:lnTo>
                    <a:close/>
                    <a:moveTo>
                      <a:pt x="71" y="67"/>
                    </a:moveTo>
                    <a:lnTo>
                      <a:pt x="71" y="69"/>
                    </a:lnTo>
                    <a:lnTo>
                      <a:pt x="69" y="69"/>
                    </a:lnTo>
                    <a:lnTo>
                      <a:pt x="71" y="71"/>
                    </a:lnTo>
                    <a:lnTo>
                      <a:pt x="73" y="75"/>
                    </a:lnTo>
                    <a:lnTo>
                      <a:pt x="75" y="75"/>
                    </a:lnTo>
                    <a:lnTo>
                      <a:pt x="77" y="73"/>
                    </a:lnTo>
                    <a:lnTo>
                      <a:pt x="77" y="75"/>
                    </a:lnTo>
                    <a:lnTo>
                      <a:pt x="77" y="77"/>
                    </a:lnTo>
                    <a:lnTo>
                      <a:pt x="73" y="77"/>
                    </a:lnTo>
                    <a:lnTo>
                      <a:pt x="71" y="77"/>
                    </a:lnTo>
                    <a:lnTo>
                      <a:pt x="69" y="77"/>
                    </a:lnTo>
                    <a:lnTo>
                      <a:pt x="69" y="75"/>
                    </a:lnTo>
                    <a:lnTo>
                      <a:pt x="65" y="71"/>
                    </a:lnTo>
                    <a:lnTo>
                      <a:pt x="65" y="69"/>
                    </a:lnTo>
                    <a:lnTo>
                      <a:pt x="67" y="67"/>
                    </a:lnTo>
                    <a:lnTo>
                      <a:pt x="69" y="67"/>
                    </a:lnTo>
                    <a:lnTo>
                      <a:pt x="71" y="67"/>
                    </a:lnTo>
                    <a:close/>
                    <a:moveTo>
                      <a:pt x="56" y="59"/>
                    </a:moveTo>
                    <a:lnTo>
                      <a:pt x="60" y="61"/>
                    </a:lnTo>
                    <a:lnTo>
                      <a:pt x="60" y="59"/>
                    </a:lnTo>
                    <a:lnTo>
                      <a:pt x="62" y="59"/>
                    </a:lnTo>
                    <a:lnTo>
                      <a:pt x="62" y="61"/>
                    </a:lnTo>
                    <a:lnTo>
                      <a:pt x="60" y="63"/>
                    </a:lnTo>
                    <a:lnTo>
                      <a:pt x="62" y="63"/>
                    </a:lnTo>
                    <a:lnTo>
                      <a:pt x="60" y="65"/>
                    </a:lnTo>
                    <a:lnTo>
                      <a:pt x="58" y="65"/>
                    </a:lnTo>
                    <a:lnTo>
                      <a:pt x="56" y="65"/>
                    </a:lnTo>
                    <a:lnTo>
                      <a:pt x="54" y="63"/>
                    </a:lnTo>
                    <a:lnTo>
                      <a:pt x="54" y="61"/>
                    </a:lnTo>
                    <a:lnTo>
                      <a:pt x="52" y="59"/>
                    </a:lnTo>
                    <a:lnTo>
                      <a:pt x="50" y="57"/>
                    </a:lnTo>
                    <a:lnTo>
                      <a:pt x="52" y="56"/>
                    </a:lnTo>
                    <a:lnTo>
                      <a:pt x="54" y="56"/>
                    </a:lnTo>
                    <a:lnTo>
                      <a:pt x="56" y="56"/>
                    </a:lnTo>
                    <a:lnTo>
                      <a:pt x="54" y="56"/>
                    </a:lnTo>
                    <a:lnTo>
                      <a:pt x="54" y="57"/>
                    </a:lnTo>
                    <a:lnTo>
                      <a:pt x="56" y="57"/>
                    </a:lnTo>
                    <a:lnTo>
                      <a:pt x="56" y="59"/>
                    </a:lnTo>
                    <a:close/>
                    <a:moveTo>
                      <a:pt x="46" y="56"/>
                    </a:moveTo>
                    <a:lnTo>
                      <a:pt x="44" y="57"/>
                    </a:lnTo>
                    <a:lnTo>
                      <a:pt x="44" y="56"/>
                    </a:lnTo>
                    <a:lnTo>
                      <a:pt x="42" y="54"/>
                    </a:lnTo>
                    <a:lnTo>
                      <a:pt x="42" y="52"/>
                    </a:lnTo>
                    <a:lnTo>
                      <a:pt x="44" y="52"/>
                    </a:lnTo>
                    <a:lnTo>
                      <a:pt x="46" y="52"/>
                    </a:lnTo>
                    <a:lnTo>
                      <a:pt x="48" y="50"/>
                    </a:lnTo>
                    <a:lnTo>
                      <a:pt x="50" y="52"/>
                    </a:lnTo>
                    <a:lnTo>
                      <a:pt x="48" y="54"/>
                    </a:lnTo>
                    <a:lnTo>
                      <a:pt x="46" y="54"/>
                    </a:lnTo>
                    <a:lnTo>
                      <a:pt x="46" y="56"/>
                    </a:lnTo>
                    <a:close/>
                    <a:moveTo>
                      <a:pt x="27" y="0"/>
                    </a:moveTo>
                    <a:lnTo>
                      <a:pt x="58" y="9"/>
                    </a:lnTo>
                    <a:lnTo>
                      <a:pt x="69" y="11"/>
                    </a:lnTo>
                    <a:lnTo>
                      <a:pt x="79" y="11"/>
                    </a:lnTo>
                    <a:lnTo>
                      <a:pt x="85" y="11"/>
                    </a:lnTo>
                    <a:lnTo>
                      <a:pt x="88" y="11"/>
                    </a:lnTo>
                    <a:lnTo>
                      <a:pt x="92" y="9"/>
                    </a:lnTo>
                    <a:lnTo>
                      <a:pt x="110" y="2"/>
                    </a:lnTo>
                    <a:lnTo>
                      <a:pt x="117" y="2"/>
                    </a:lnTo>
                    <a:lnTo>
                      <a:pt x="127" y="0"/>
                    </a:lnTo>
                    <a:lnTo>
                      <a:pt x="133" y="4"/>
                    </a:lnTo>
                    <a:lnTo>
                      <a:pt x="136" y="6"/>
                    </a:lnTo>
                    <a:lnTo>
                      <a:pt x="138" y="8"/>
                    </a:lnTo>
                    <a:lnTo>
                      <a:pt x="140" y="8"/>
                    </a:lnTo>
                    <a:lnTo>
                      <a:pt x="142" y="8"/>
                    </a:lnTo>
                    <a:lnTo>
                      <a:pt x="144" y="13"/>
                    </a:lnTo>
                    <a:lnTo>
                      <a:pt x="148" y="11"/>
                    </a:lnTo>
                    <a:lnTo>
                      <a:pt x="146" y="9"/>
                    </a:lnTo>
                    <a:lnTo>
                      <a:pt x="148" y="8"/>
                    </a:lnTo>
                    <a:lnTo>
                      <a:pt x="154" y="13"/>
                    </a:lnTo>
                    <a:lnTo>
                      <a:pt x="156" y="17"/>
                    </a:lnTo>
                    <a:lnTo>
                      <a:pt x="156" y="21"/>
                    </a:lnTo>
                    <a:lnTo>
                      <a:pt x="158" y="23"/>
                    </a:lnTo>
                    <a:lnTo>
                      <a:pt x="159" y="23"/>
                    </a:lnTo>
                    <a:lnTo>
                      <a:pt x="161" y="19"/>
                    </a:lnTo>
                    <a:lnTo>
                      <a:pt x="182" y="29"/>
                    </a:lnTo>
                    <a:lnTo>
                      <a:pt x="184" y="34"/>
                    </a:lnTo>
                    <a:lnTo>
                      <a:pt x="190" y="36"/>
                    </a:lnTo>
                    <a:lnTo>
                      <a:pt x="192" y="42"/>
                    </a:lnTo>
                    <a:lnTo>
                      <a:pt x="198" y="46"/>
                    </a:lnTo>
                    <a:lnTo>
                      <a:pt x="206" y="54"/>
                    </a:lnTo>
                    <a:lnTo>
                      <a:pt x="217" y="57"/>
                    </a:lnTo>
                    <a:lnTo>
                      <a:pt x="230" y="59"/>
                    </a:lnTo>
                    <a:lnTo>
                      <a:pt x="244" y="59"/>
                    </a:lnTo>
                    <a:lnTo>
                      <a:pt x="254" y="59"/>
                    </a:lnTo>
                    <a:lnTo>
                      <a:pt x="265" y="57"/>
                    </a:lnTo>
                    <a:lnTo>
                      <a:pt x="271" y="57"/>
                    </a:lnTo>
                    <a:lnTo>
                      <a:pt x="278" y="57"/>
                    </a:lnTo>
                    <a:lnTo>
                      <a:pt x="284" y="59"/>
                    </a:lnTo>
                    <a:lnTo>
                      <a:pt x="292" y="65"/>
                    </a:lnTo>
                    <a:lnTo>
                      <a:pt x="298" y="71"/>
                    </a:lnTo>
                    <a:lnTo>
                      <a:pt x="307" y="73"/>
                    </a:lnTo>
                    <a:lnTo>
                      <a:pt x="317" y="75"/>
                    </a:lnTo>
                    <a:lnTo>
                      <a:pt x="326" y="73"/>
                    </a:lnTo>
                    <a:lnTo>
                      <a:pt x="338" y="69"/>
                    </a:lnTo>
                    <a:lnTo>
                      <a:pt x="342" y="65"/>
                    </a:lnTo>
                    <a:lnTo>
                      <a:pt x="344" y="65"/>
                    </a:lnTo>
                    <a:lnTo>
                      <a:pt x="351" y="65"/>
                    </a:lnTo>
                    <a:lnTo>
                      <a:pt x="363" y="69"/>
                    </a:lnTo>
                    <a:lnTo>
                      <a:pt x="369" y="71"/>
                    </a:lnTo>
                    <a:lnTo>
                      <a:pt x="374" y="69"/>
                    </a:lnTo>
                    <a:lnTo>
                      <a:pt x="378" y="67"/>
                    </a:lnTo>
                    <a:lnTo>
                      <a:pt x="380" y="69"/>
                    </a:lnTo>
                    <a:lnTo>
                      <a:pt x="382" y="73"/>
                    </a:lnTo>
                    <a:lnTo>
                      <a:pt x="382" y="77"/>
                    </a:lnTo>
                    <a:lnTo>
                      <a:pt x="380" y="79"/>
                    </a:lnTo>
                    <a:lnTo>
                      <a:pt x="380" y="84"/>
                    </a:lnTo>
                    <a:lnTo>
                      <a:pt x="382" y="84"/>
                    </a:lnTo>
                    <a:lnTo>
                      <a:pt x="382" y="86"/>
                    </a:lnTo>
                    <a:lnTo>
                      <a:pt x="386" y="86"/>
                    </a:lnTo>
                    <a:lnTo>
                      <a:pt x="386" y="84"/>
                    </a:lnTo>
                    <a:lnTo>
                      <a:pt x="388" y="84"/>
                    </a:lnTo>
                    <a:lnTo>
                      <a:pt x="396" y="84"/>
                    </a:lnTo>
                    <a:lnTo>
                      <a:pt x="411" y="81"/>
                    </a:lnTo>
                    <a:lnTo>
                      <a:pt x="417" y="75"/>
                    </a:lnTo>
                    <a:lnTo>
                      <a:pt x="422" y="73"/>
                    </a:lnTo>
                    <a:lnTo>
                      <a:pt x="428" y="71"/>
                    </a:lnTo>
                    <a:lnTo>
                      <a:pt x="434" y="73"/>
                    </a:lnTo>
                    <a:lnTo>
                      <a:pt x="453" y="84"/>
                    </a:lnTo>
                    <a:lnTo>
                      <a:pt x="451" y="96"/>
                    </a:lnTo>
                    <a:lnTo>
                      <a:pt x="449" y="98"/>
                    </a:lnTo>
                    <a:lnTo>
                      <a:pt x="442" y="109"/>
                    </a:lnTo>
                    <a:lnTo>
                      <a:pt x="438" y="117"/>
                    </a:lnTo>
                    <a:lnTo>
                      <a:pt x="428" y="130"/>
                    </a:lnTo>
                    <a:lnTo>
                      <a:pt x="422" y="140"/>
                    </a:lnTo>
                    <a:lnTo>
                      <a:pt x="417" y="146"/>
                    </a:lnTo>
                    <a:lnTo>
                      <a:pt x="413" y="150"/>
                    </a:lnTo>
                    <a:lnTo>
                      <a:pt x="407" y="161"/>
                    </a:lnTo>
                    <a:lnTo>
                      <a:pt x="403" y="165"/>
                    </a:lnTo>
                    <a:lnTo>
                      <a:pt x="390" y="178"/>
                    </a:lnTo>
                    <a:lnTo>
                      <a:pt x="382" y="184"/>
                    </a:lnTo>
                    <a:lnTo>
                      <a:pt x="378" y="192"/>
                    </a:lnTo>
                    <a:lnTo>
                      <a:pt x="378" y="190"/>
                    </a:lnTo>
                    <a:lnTo>
                      <a:pt x="380" y="186"/>
                    </a:lnTo>
                    <a:lnTo>
                      <a:pt x="378" y="182"/>
                    </a:lnTo>
                    <a:lnTo>
                      <a:pt x="380" y="173"/>
                    </a:lnTo>
                    <a:lnTo>
                      <a:pt x="380" y="167"/>
                    </a:lnTo>
                    <a:lnTo>
                      <a:pt x="384" y="163"/>
                    </a:lnTo>
                    <a:lnTo>
                      <a:pt x="382" y="161"/>
                    </a:lnTo>
                    <a:lnTo>
                      <a:pt x="380" y="159"/>
                    </a:lnTo>
                    <a:lnTo>
                      <a:pt x="378" y="150"/>
                    </a:lnTo>
                    <a:lnTo>
                      <a:pt x="382" y="136"/>
                    </a:lnTo>
                    <a:lnTo>
                      <a:pt x="374" y="129"/>
                    </a:lnTo>
                    <a:lnTo>
                      <a:pt x="369" y="134"/>
                    </a:lnTo>
                    <a:lnTo>
                      <a:pt x="363" y="144"/>
                    </a:lnTo>
                    <a:lnTo>
                      <a:pt x="363" y="148"/>
                    </a:lnTo>
                    <a:lnTo>
                      <a:pt x="363" y="155"/>
                    </a:lnTo>
                    <a:lnTo>
                      <a:pt x="365" y="163"/>
                    </a:lnTo>
                    <a:lnTo>
                      <a:pt x="361" y="173"/>
                    </a:lnTo>
                    <a:lnTo>
                      <a:pt x="359" y="184"/>
                    </a:lnTo>
                    <a:lnTo>
                      <a:pt x="355" y="188"/>
                    </a:lnTo>
                    <a:lnTo>
                      <a:pt x="369" y="194"/>
                    </a:lnTo>
                    <a:lnTo>
                      <a:pt x="371" y="190"/>
                    </a:lnTo>
                    <a:lnTo>
                      <a:pt x="373" y="190"/>
                    </a:lnTo>
                    <a:lnTo>
                      <a:pt x="374" y="194"/>
                    </a:lnTo>
                    <a:lnTo>
                      <a:pt x="373" y="198"/>
                    </a:lnTo>
                    <a:lnTo>
                      <a:pt x="357" y="213"/>
                    </a:lnTo>
                    <a:lnTo>
                      <a:pt x="351" y="215"/>
                    </a:lnTo>
                    <a:lnTo>
                      <a:pt x="344" y="223"/>
                    </a:lnTo>
                    <a:lnTo>
                      <a:pt x="338" y="227"/>
                    </a:lnTo>
                    <a:lnTo>
                      <a:pt x="334" y="228"/>
                    </a:lnTo>
                    <a:lnTo>
                      <a:pt x="325" y="230"/>
                    </a:lnTo>
                    <a:lnTo>
                      <a:pt x="323" y="230"/>
                    </a:lnTo>
                    <a:lnTo>
                      <a:pt x="328" y="228"/>
                    </a:lnTo>
                    <a:lnTo>
                      <a:pt x="330" y="225"/>
                    </a:lnTo>
                    <a:lnTo>
                      <a:pt x="330" y="223"/>
                    </a:lnTo>
                    <a:lnTo>
                      <a:pt x="330" y="221"/>
                    </a:lnTo>
                    <a:lnTo>
                      <a:pt x="326" y="221"/>
                    </a:lnTo>
                    <a:lnTo>
                      <a:pt x="326" y="223"/>
                    </a:lnTo>
                    <a:lnTo>
                      <a:pt x="325" y="225"/>
                    </a:lnTo>
                    <a:lnTo>
                      <a:pt x="323" y="227"/>
                    </a:lnTo>
                    <a:lnTo>
                      <a:pt x="319" y="227"/>
                    </a:lnTo>
                    <a:lnTo>
                      <a:pt x="311" y="227"/>
                    </a:lnTo>
                    <a:lnTo>
                      <a:pt x="307" y="227"/>
                    </a:lnTo>
                    <a:lnTo>
                      <a:pt x="303" y="228"/>
                    </a:lnTo>
                    <a:lnTo>
                      <a:pt x="300" y="232"/>
                    </a:lnTo>
                    <a:lnTo>
                      <a:pt x="296" y="236"/>
                    </a:lnTo>
                    <a:lnTo>
                      <a:pt x="288" y="238"/>
                    </a:lnTo>
                    <a:lnTo>
                      <a:pt x="284" y="240"/>
                    </a:lnTo>
                    <a:lnTo>
                      <a:pt x="277" y="236"/>
                    </a:lnTo>
                    <a:lnTo>
                      <a:pt x="269" y="230"/>
                    </a:lnTo>
                    <a:lnTo>
                      <a:pt x="261" y="221"/>
                    </a:lnTo>
                    <a:lnTo>
                      <a:pt x="259" y="219"/>
                    </a:lnTo>
                    <a:lnTo>
                      <a:pt x="255" y="219"/>
                    </a:lnTo>
                    <a:lnTo>
                      <a:pt x="252" y="219"/>
                    </a:lnTo>
                    <a:lnTo>
                      <a:pt x="252" y="215"/>
                    </a:lnTo>
                    <a:lnTo>
                      <a:pt x="255" y="217"/>
                    </a:lnTo>
                    <a:lnTo>
                      <a:pt x="259" y="215"/>
                    </a:lnTo>
                    <a:lnTo>
                      <a:pt x="259" y="209"/>
                    </a:lnTo>
                    <a:lnTo>
                      <a:pt x="255" y="205"/>
                    </a:lnTo>
                    <a:lnTo>
                      <a:pt x="254" y="203"/>
                    </a:lnTo>
                    <a:lnTo>
                      <a:pt x="250" y="202"/>
                    </a:lnTo>
                    <a:lnTo>
                      <a:pt x="248" y="202"/>
                    </a:lnTo>
                    <a:lnTo>
                      <a:pt x="244" y="202"/>
                    </a:lnTo>
                    <a:lnTo>
                      <a:pt x="244" y="198"/>
                    </a:lnTo>
                    <a:lnTo>
                      <a:pt x="240" y="190"/>
                    </a:lnTo>
                    <a:lnTo>
                      <a:pt x="236" y="186"/>
                    </a:lnTo>
                    <a:lnTo>
                      <a:pt x="232" y="186"/>
                    </a:lnTo>
                    <a:lnTo>
                      <a:pt x="229" y="186"/>
                    </a:lnTo>
                    <a:lnTo>
                      <a:pt x="227" y="186"/>
                    </a:lnTo>
                    <a:lnTo>
                      <a:pt x="223" y="190"/>
                    </a:lnTo>
                    <a:lnTo>
                      <a:pt x="223" y="192"/>
                    </a:lnTo>
                    <a:lnTo>
                      <a:pt x="225" y="190"/>
                    </a:lnTo>
                    <a:lnTo>
                      <a:pt x="227" y="192"/>
                    </a:lnTo>
                    <a:lnTo>
                      <a:pt x="225" y="196"/>
                    </a:lnTo>
                    <a:lnTo>
                      <a:pt x="221" y="190"/>
                    </a:lnTo>
                    <a:lnTo>
                      <a:pt x="184" y="154"/>
                    </a:lnTo>
                    <a:lnTo>
                      <a:pt x="184" y="150"/>
                    </a:lnTo>
                    <a:lnTo>
                      <a:pt x="182" y="148"/>
                    </a:lnTo>
                    <a:lnTo>
                      <a:pt x="182" y="146"/>
                    </a:lnTo>
                    <a:lnTo>
                      <a:pt x="184" y="146"/>
                    </a:lnTo>
                    <a:lnTo>
                      <a:pt x="188" y="148"/>
                    </a:lnTo>
                    <a:lnTo>
                      <a:pt x="188" y="150"/>
                    </a:lnTo>
                    <a:lnTo>
                      <a:pt x="192" y="152"/>
                    </a:lnTo>
                    <a:lnTo>
                      <a:pt x="194" y="150"/>
                    </a:lnTo>
                    <a:lnTo>
                      <a:pt x="196" y="146"/>
                    </a:lnTo>
                    <a:lnTo>
                      <a:pt x="196" y="144"/>
                    </a:lnTo>
                    <a:lnTo>
                      <a:pt x="192" y="142"/>
                    </a:lnTo>
                    <a:lnTo>
                      <a:pt x="190" y="140"/>
                    </a:lnTo>
                    <a:lnTo>
                      <a:pt x="188" y="136"/>
                    </a:lnTo>
                    <a:lnTo>
                      <a:pt x="186" y="132"/>
                    </a:lnTo>
                    <a:lnTo>
                      <a:pt x="181" y="130"/>
                    </a:lnTo>
                    <a:lnTo>
                      <a:pt x="173" y="130"/>
                    </a:lnTo>
                    <a:lnTo>
                      <a:pt x="171" y="127"/>
                    </a:lnTo>
                    <a:lnTo>
                      <a:pt x="167" y="125"/>
                    </a:lnTo>
                    <a:lnTo>
                      <a:pt x="165" y="123"/>
                    </a:lnTo>
                    <a:lnTo>
                      <a:pt x="163" y="115"/>
                    </a:lnTo>
                    <a:lnTo>
                      <a:pt x="156" y="111"/>
                    </a:lnTo>
                    <a:lnTo>
                      <a:pt x="152" y="109"/>
                    </a:lnTo>
                    <a:lnTo>
                      <a:pt x="148" y="113"/>
                    </a:lnTo>
                    <a:lnTo>
                      <a:pt x="152" y="117"/>
                    </a:lnTo>
                    <a:lnTo>
                      <a:pt x="146" y="119"/>
                    </a:lnTo>
                    <a:lnTo>
                      <a:pt x="146" y="121"/>
                    </a:lnTo>
                    <a:lnTo>
                      <a:pt x="140" y="119"/>
                    </a:lnTo>
                    <a:lnTo>
                      <a:pt x="134" y="115"/>
                    </a:lnTo>
                    <a:lnTo>
                      <a:pt x="121" y="107"/>
                    </a:lnTo>
                    <a:lnTo>
                      <a:pt x="117" y="104"/>
                    </a:lnTo>
                    <a:lnTo>
                      <a:pt x="115" y="104"/>
                    </a:lnTo>
                    <a:lnTo>
                      <a:pt x="115" y="102"/>
                    </a:lnTo>
                    <a:lnTo>
                      <a:pt x="117" y="102"/>
                    </a:lnTo>
                    <a:lnTo>
                      <a:pt x="117" y="100"/>
                    </a:lnTo>
                    <a:lnTo>
                      <a:pt x="115" y="98"/>
                    </a:lnTo>
                    <a:lnTo>
                      <a:pt x="110" y="96"/>
                    </a:lnTo>
                    <a:lnTo>
                      <a:pt x="108" y="94"/>
                    </a:lnTo>
                    <a:lnTo>
                      <a:pt x="106" y="94"/>
                    </a:lnTo>
                    <a:lnTo>
                      <a:pt x="104" y="94"/>
                    </a:lnTo>
                    <a:lnTo>
                      <a:pt x="104" y="92"/>
                    </a:lnTo>
                    <a:lnTo>
                      <a:pt x="106" y="90"/>
                    </a:lnTo>
                    <a:lnTo>
                      <a:pt x="106" y="88"/>
                    </a:lnTo>
                    <a:lnTo>
                      <a:pt x="102" y="84"/>
                    </a:lnTo>
                    <a:lnTo>
                      <a:pt x="100" y="82"/>
                    </a:lnTo>
                    <a:lnTo>
                      <a:pt x="96" y="81"/>
                    </a:lnTo>
                    <a:lnTo>
                      <a:pt x="94" y="81"/>
                    </a:lnTo>
                    <a:lnTo>
                      <a:pt x="92" y="82"/>
                    </a:lnTo>
                    <a:lnTo>
                      <a:pt x="90" y="82"/>
                    </a:lnTo>
                    <a:lnTo>
                      <a:pt x="90" y="81"/>
                    </a:lnTo>
                    <a:lnTo>
                      <a:pt x="90" y="79"/>
                    </a:lnTo>
                    <a:lnTo>
                      <a:pt x="90" y="77"/>
                    </a:lnTo>
                    <a:lnTo>
                      <a:pt x="90" y="75"/>
                    </a:lnTo>
                    <a:lnTo>
                      <a:pt x="88" y="71"/>
                    </a:lnTo>
                    <a:lnTo>
                      <a:pt x="85" y="67"/>
                    </a:lnTo>
                    <a:lnTo>
                      <a:pt x="81" y="67"/>
                    </a:lnTo>
                    <a:lnTo>
                      <a:pt x="77" y="67"/>
                    </a:lnTo>
                    <a:lnTo>
                      <a:pt x="75" y="67"/>
                    </a:lnTo>
                    <a:lnTo>
                      <a:pt x="75" y="63"/>
                    </a:lnTo>
                    <a:lnTo>
                      <a:pt x="75" y="61"/>
                    </a:lnTo>
                    <a:lnTo>
                      <a:pt x="71" y="57"/>
                    </a:lnTo>
                    <a:lnTo>
                      <a:pt x="69" y="56"/>
                    </a:lnTo>
                    <a:lnTo>
                      <a:pt x="65" y="54"/>
                    </a:lnTo>
                    <a:lnTo>
                      <a:pt x="63" y="54"/>
                    </a:lnTo>
                    <a:lnTo>
                      <a:pt x="62" y="54"/>
                    </a:lnTo>
                    <a:lnTo>
                      <a:pt x="60" y="54"/>
                    </a:lnTo>
                    <a:lnTo>
                      <a:pt x="60" y="52"/>
                    </a:lnTo>
                    <a:lnTo>
                      <a:pt x="58" y="50"/>
                    </a:lnTo>
                    <a:lnTo>
                      <a:pt x="56" y="46"/>
                    </a:lnTo>
                    <a:lnTo>
                      <a:pt x="54" y="46"/>
                    </a:lnTo>
                    <a:lnTo>
                      <a:pt x="52" y="44"/>
                    </a:lnTo>
                    <a:lnTo>
                      <a:pt x="50" y="42"/>
                    </a:lnTo>
                    <a:lnTo>
                      <a:pt x="48" y="42"/>
                    </a:lnTo>
                    <a:lnTo>
                      <a:pt x="48" y="40"/>
                    </a:lnTo>
                    <a:lnTo>
                      <a:pt x="44" y="40"/>
                    </a:lnTo>
                    <a:lnTo>
                      <a:pt x="40" y="40"/>
                    </a:lnTo>
                    <a:lnTo>
                      <a:pt x="38" y="42"/>
                    </a:lnTo>
                    <a:lnTo>
                      <a:pt x="38" y="46"/>
                    </a:lnTo>
                    <a:lnTo>
                      <a:pt x="40" y="48"/>
                    </a:lnTo>
                    <a:lnTo>
                      <a:pt x="38" y="48"/>
                    </a:lnTo>
                    <a:lnTo>
                      <a:pt x="35" y="46"/>
                    </a:lnTo>
                    <a:lnTo>
                      <a:pt x="31" y="40"/>
                    </a:lnTo>
                    <a:lnTo>
                      <a:pt x="27" y="32"/>
                    </a:lnTo>
                    <a:lnTo>
                      <a:pt x="23" y="29"/>
                    </a:lnTo>
                    <a:lnTo>
                      <a:pt x="14" y="19"/>
                    </a:lnTo>
                    <a:lnTo>
                      <a:pt x="8" y="15"/>
                    </a:lnTo>
                    <a:lnTo>
                      <a:pt x="4" y="9"/>
                    </a:lnTo>
                    <a:lnTo>
                      <a:pt x="2" y="6"/>
                    </a:lnTo>
                    <a:lnTo>
                      <a:pt x="0" y="4"/>
                    </a:lnTo>
                    <a:lnTo>
                      <a:pt x="6" y="0"/>
                    </a:lnTo>
                    <a:lnTo>
                      <a:pt x="12" y="0"/>
                    </a:lnTo>
                    <a:lnTo>
                      <a:pt x="15" y="2"/>
                    </a:lnTo>
                    <a:lnTo>
                      <a:pt x="21" y="0"/>
                    </a:lnTo>
                    <a:lnTo>
                      <a:pt x="25" y="0"/>
                    </a:lnTo>
                    <a:lnTo>
                      <a:pt x="2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14">
                <a:extLst>
                  <a:ext uri="{FF2B5EF4-FFF2-40B4-BE49-F238E27FC236}">
                    <a16:creationId xmlns:a16="http://schemas.microsoft.com/office/drawing/2014/main" id="{F9E6E23B-57F5-83AB-B90F-A299D9F13C26}"/>
                  </a:ext>
                </a:extLst>
              </p:cNvPr>
              <p:cNvSpPr>
                <a:spLocks/>
              </p:cNvSpPr>
              <p:nvPr/>
            </p:nvSpPr>
            <p:spPr bwMode="gray">
              <a:xfrm>
                <a:off x="4689855" y="4270207"/>
                <a:ext cx="134208" cy="164658"/>
              </a:xfrm>
              <a:custGeom>
                <a:avLst/>
                <a:gdLst>
                  <a:gd name="T0" fmla="*/ 119 w 119"/>
                  <a:gd name="T1" fmla="*/ 58 h 146"/>
                  <a:gd name="T2" fmla="*/ 83 w 119"/>
                  <a:gd name="T3" fmla="*/ 84 h 146"/>
                  <a:gd name="T4" fmla="*/ 87 w 119"/>
                  <a:gd name="T5" fmla="*/ 88 h 146"/>
                  <a:gd name="T6" fmla="*/ 50 w 119"/>
                  <a:gd name="T7" fmla="*/ 113 h 146"/>
                  <a:gd name="T8" fmla="*/ 69 w 119"/>
                  <a:gd name="T9" fmla="*/ 140 h 146"/>
                  <a:gd name="T10" fmla="*/ 60 w 119"/>
                  <a:gd name="T11" fmla="*/ 146 h 146"/>
                  <a:gd name="T12" fmla="*/ 39 w 119"/>
                  <a:gd name="T13" fmla="*/ 121 h 146"/>
                  <a:gd name="T14" fmla="*/ 27 w 119"/>
                  <a:gd name="T15" fmla="*/ 107 h 146"/>
                  <a:gd name="T16" fmla="*/ 27 w 119"/>
                  <a:gd name="T17" fmla="*/ 102 h 146"/>
                  <a:gd name="T18" fmla="*/ 35 w 119"/>
                  <a:gd name="T19" fmla="*/ 96 h 146"/>
                  <a:gd name="T20" fmla="*/ 0 w 119"/>
                  <a:gd name="T21" fmla="*/ 77 h 146"/>
                  <a:gd name="T22" fmla="*/ 8 w 119"/>
                  <a:gd name="T23" fmla="*/ 65 h 146"/>
                  <a:gd name="T24" fmla="*/ 6 w 119"/>
                  <a:gd name="T25" fmla="*/ 65 h 146"/>
                  <a:gd name="T26" fmla="*/ 2 w 119"/>
                  <a:gd name="T27" fmla="*/ 63 h 146"/>
                  <a:gd name="T28" fmla="*/ 2 w 119"/>
                  <a:gd name="T29" fmla="*/ 61 h 146"/>
                  <a:gd name="T30" fmla="*/ 37 w 119"/>
                  <a:gd name="T31" fmla="*/ 0 h 146"/>
                  <a:gd name="T32" fmla="*/ 50 w 119"/>
                  <a:gd name="T33" fmla="*/ 15 h 146"/>
                  <a:gd name="T34" fmla="*/ 98 w 119"/>
                  <a:gd name="T35" fmla="*/ 44 h 146"/>
                  <a:gd name="T36" fmla="*/ 119 w 119"/>
                  <a:gd name="T37"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46">
                    <a:moveTo>
                      <a:pt x="119" y="58"/>
                    </a:moveTo>
                    <a:lnTo>
                      <a:pt x="83" y="84"/>
                    </a:lnTo>
                    <a:lnTo>
                      <a:pt x="87" y="88"/>
                    </a:lnTo>
                    <a:lnTo>
                      <a:pt x="50" y="113"/>
                    </a:lnTo>
                    <a:lnTo>
                      <a:pt x="69" y="140"/>
                    </a:lnTo>
                    <a:lnTo>
                      <a:pt x="60" y="146"/>
                    </a:lnTo>
                    <a:lnTo>
                      <a:pt x="39" y="121"/>
                    </a:lnTo>
                    <a:lnTo>
                      <a:pt x="27" y="107"/>
                    </a:lnTo>
                    <a:lnTo>
                      <a:pt x="27" y="102"/>
                    </a:lnTo>
                    <a:lnTo>
                      <a:pt x="35" y="96"/>
                    </a:lnTo>
                    <a:lnTo>
                      <a:pt x="0" y="77"/>
                    </a:lnTo>
                    <a:lnTo>
                      <a:pt x="8" y="65"/>
                    </a:lnTo>
                    <a:lnTo>
                      <a:pt x="6" y="65"/>
                    </a:lnTo>
                    <a:lnTo>
                      <a:pt x="2" y="63"/>
                    </a:lnTo>
                    <a:lnTo>
                      <a:pt x="2" y="61"/>
                    </a:lnTo>
                    <a:lnTo>
                      <a:pt x="37" y="0"/>
                    </a:lnTo>
                    <a:lnTo>
                      <a:pt x="50" y="15"/>
                    </a:lnTo>
                    <a:lnTo>
                      <a:pt x="98" y="44"/>
                    </a:lnTo>
                    <a:lnTo>
                      <a:pt x="119"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15">
                <a:extLst>
                  <a:ext uri="{FF2B5EF4-FFF2-40B4-BE49-F238E27FC236}">
                    <a16:creationId xmlns:a16="http://schemas.microsoft.com/office/drawing/2014/main" id="{688CC1D4-15F8-4952-A6C8-7F5C2508EEE1}"/>
                  </a:ext>
                </a:extLst>
              </p:cNvPr>
              <p:cNvSpPr>
                <a:spLocks/>
              </p:cNvSpPr>
              <p:nvPr/>
            </p:nvSpPr>
            <p:spPr bwMode="gray">
              <a:xfrm>
                <a:off x="4386479" y="4051415"/>
                <a:ext cx="249243" cy="131952"/>
              </a:xfrm>
              <a:custGeom>
                <a:avLst/>
                <a:gdLst>
                  <a:gd name="T0" fmla="*/ 127 w 221"/>
                  <a:gd name="T1" fmla="*/ 23 h 117"/>
                  <a:gd name="T2" fmla="*/ 146 w 221"/>
                  <a:gd name="T3" fmla="*/ 36 h 117"/>
                  <a:gd name="T4" fmla="*/ 150 w 221"/>
                  <a:gd name="T5" fmla="*/ 40 h 117"/>
                  <a:gd name="T6" fmla="*/ 192 w 221"/>
                  <a:gd name="T7" fmla="*/ 67 h 117"/>
                  <a:gd name="T8" fmla="*/ 192 w 221"/>
                  <a:gd name="T9" fmla="*/ 71 h 117"/>
                  <a:gd name="T10" fmla="*/ 204 w 221"/>
                  <a:gd name="T11" fmla="*/ 77 h 117"/>
                  <a:gd name="T12" fmla="*/ 221 w 221"/>
                  <a:gd name="T13" fmla="*/ 109 h 117"/>
                  <a:gd name="T14" fmla="*/ 208 w 221"/>
                  <a:gd name="T15" fmla="*/ 117 h 117"/>
                  <a:gd name="T16" fmla="*/ 190 w 221"/>
                  <a:gd name="T17" fmla="*/ 107 h 117"/>
                  <a:gd name="T18" fmla="*/ 189 w 221"/>
                  <a:gd name="T19" fmla="*/ 106 h 117"/>
                  <a:gd name="T20" fmla="*/ 181 w 221"/>
                  <a:gd name="T21" fmla="*/ 117 h 117"/>
                  <a:gd name="T22" fmla="*/ 162 w 221"/>
                  <a:gd name="T23" fmla="*/ 106 h 117"/>
                  <a:gd name="T24" fmla="*/ 160 w 221"/>
                  <a:gd name="T25" fmla="*/ 106 h 117"/>
                  <a:gd name="T26" fmla="*/ 146 w 221"/>
                  <a:gd name="T27" fmla="*/ 96 h 117"/>
                  <a:gd name="T28" fmla="*/ 139 w 221"/>
                  <a:gd name="T29" fmla="*/ 92 h 117"/>
                  <a:gd name="T30" fmla="*/ 131 w 221"/>
                  <a:gd name="T31" fmla="*/ 90 h 117"/>
                  <a:gd name="T32" fmla="*/ 127 w 221"/>
                  <a:gd name="T33" fmla="*/ 88 h 117"/>
                  <a:gd name="T34" fmla="*/ 121 w 221"/>
                  <a:gd name="T35" fmla="*/ 82 h 117"/>
                  <a:gd name="T36" fmla="*/ 104 w 221"/>
                  <a:gd name="T37" fmla="*/ 75 h 117"/>
                  <a:gd name="T38" fmla="*/ 93 w 221"/>
                  <a:gd name="T39" fmla="*/ 81 h 117"/>
                  <a:gd name="T40" fmla="*/ 81 w 221"/>
                  <a:gd name="T41" fmla="*/ 81 h 117"/>
                  <a:gd name="T42" fmla="*/ 81 w 221"/>
                  <a:gd name="T43" fmla="*/ 86 h 117"/>
                  <a:gd name="T44" fmla="*/ 79 w 221"/>
                  <a:gd name="T45" fmla="*/ 88 h 117"/>
                  <a:gd name="T46" fmla="*/ 73 w 221"/>
                  <a:gd name="T47" fmla="*/ 90 h 117"/>
                  <a:gd name="T48" fmla="*/ 69 w 221"/>
                  <a:gd name="T49" fmla="*/ 92 h 117"/>
                  <a:gd name="T50" fmla="*/ 68 w 221"/>
                  <a:gd name="T51" fmla="*/ 98 h 117"/>
                  <a:gd name="T52" fmla="*/ 64 w 221"/>
                  <a:gd name="T53" fmla="*/ 100 h 117"/>
                  <a:gd name="T54" fmla="*/ 58 w 221"/>
                  <a:gd name="T55" fmla="*/ 96 h 117"/>
                  <a:gd name="T56" fmla="*/ 52 w 221"/>
                  <a:gd name="T57" fmla="*/ 94 h 117"/>
                  <a:gd name="T58" fmla="*/ 50 w 221"/>
                  <a:gd name="T59" fmla="*/ 75 h 117"/>
                  <a:gd name="T60" fmla="*/ 43 w 221"/>
                  <a:gd name="T61" fmla="*/ 61 h 117"/>
                  <a:gd name="T62" fmla="*/ 35 w 221"/>
                  <a:gd name="T63" fmla="*/ 42 h 117"/>
                  <a:gd name="T64" fmla="*/ 33 w 221"/>
                  <a:gd name="T65" fmla="*/ 42 h 117"/>
                  <a:gd name="T66" fmla="*/ 16 w 221"/>
                  <a:gd name="T67" fmla="*/ 44 h 117"/>
                  <a:gd name="T68" fmla="*/ 2 w 221"/>
                  <a:gd name="T69" fmla="*/ 11 h 117"/>
                  <a:gd name="T70" fmla="*/ 0 w 221"/>
                  <a:gd name="T71" fmla="*/ 6 h 117"/>
                  <a:gd name="T72" fmla="*/ 12 w 221"/>
                  <a:gd name="T73" fmla="*/ 4 h 117"/>
                  <a:gd name="T74" fmla="*/ 16 w 221"/>
                  <a:gd name="T75" fmla="*/ 2 h 117"/>
                  <a:gd name="T76" fmla="*/ 27 w 221"/>
                  <a:gd name="T77" fmla="*/ 0 h 117"/>
                  <a:gd name="T78" fmla="*/ 23 w 221"/>
                  <a:gd name="T79" fmla="*/ 11 h 117"/>
                  <a:gd name="T80" fmla="*/ 41 w 221"/>
                  <a:gd name="T81" fmla="*/ 42 h 117"/>
                  <a:gd name="T82" fmla="*/ 54 w 221"/>
                  <a:gd name="T83" fmla="*/ 40 h 117"/>
                  <a:gd name="T84" fmla="*/ 58 w 221"/>
                  <a:gd name="T85" fmla="*/ 42 h 117"/>
                  <a:gd name="T86" fmla="*/ 64 w 221"/>
                  <a:gd name="T87" fmla="*/ 40 h 117"/>
                  <a:gd name="T88" fmla="*/ 73 w 221"/>
                  <a:gd name="T89" fmla="*/ 40 h 117"/>
                  <a:gd name="T90" fmla="*/ 87 w 221"/>
                  <a:gd name="T91" fmla="*/ 50 h 117"/>
                  <a:gd name="T92" fmla="*/ 91 w 221"/>
                  <a:gd name="T93" fmla="*/ 57 h 117"/>
                  <a:gd name="T94" fmla="*/ 96 w 221"/>
                  <a:gd name="T95" fmla="*/ 54 h 117"/>
                  <a:gd name="T96" fmla="*/ 112 w 221"/>
                  <a:gd name="T97" fmla="*/ 46 h 117"/>
                  <a:gd name="T98" fmla="*/ 127 w 221"/>
                  <a:gd name="T99" fmla="*/ 2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1" h="117">
                    <a:moveTo>
                      <a:pt x="127" y="23"/>
                    </a:moveTo>
                    <a:lnTo>
                      <a:pt x="146" y="36"/>
                    </a:lnTo>
                    <a:lnTo>
                      <a:pt x="150" y="40"/>
                    </a:lnTo>
                    <a:lnTo>
                      <a:pt x="192" y="67"/>
                    </a:lnTo>
                    <a:lnTo>
                      <a:pt x="192" y="71"/>
                    </a:lnTo>
                    <a:lnTo>
                      <a:pt x="204" y="77"/>
                    </a:lnTo>
                    <a:lnTo>
                      <a:pt x="221" y="109"/>
                    </a:lnTo>
                    <a:lnTo>
                      <a:pt x="208" y="117"/>
                    </a:lnTo>
                    <a:lnTo>
                      <a:pt x="190" y="107"/>
                    </a:lnTo>
                    <a:lnTo>
                      <a:pt x="189" y="106"/>
                    </a:lnTo>
                    <a:lnTo>
                      <a:pt x="181" y="117"/>
                    </a:lnTo>
                    <a:lnTo>
                      <a:pt x="162" y="106"/>
                    </a:lnTo>
                    <a:lnTo>
                      <a:pt x="160" y="106"/>
                    </a:lnTo>
                    <a:lnTo>
                      <a:pt x="146" y="96"/>
                    </a:lnTo>
                    <a:lnTo>
                      <a:pt x="139" y="92"/>
                    </a:lnTo>
                    <a:lnTo>
                      <a:pt x="131" y="90"/>
                    </a:lnTo>
                    <a:lnTo>
                      <a:pt x="127" y="88"/>
                    </a:lnTo>
                    <a:lnTo>
                      <a:pt x="121" y="82"/>
                    </a:lnTo>
                    <a:lnTo>
                      <a:pt x="104" y="75"/>
                    </a:lnTo>
                    <a:lnTo>
                      <a:pt x="93" y="81"/>
                    </a:lnTo>
                    <a:lnTo>
                      <a:pt x="81" y="81"/>
                    </a:lnTo>
                    <a:lnTo>
                      <a:pt x="81" y="86"/>
                    </a:lnTo>
                    <a:lnTo>
                      <a:pt x="79" y="88"/>
                    </a:lnTo>
                    <a:lnTo>
                      <a:pt x="73" y="90"/>
                    </a:lnTo>
                    <a:lnTo>
                      <a:pt x="69" y="92"/>
                    </a:lnTo>
                    <a:lnTo>
                      <a:pt x="68" y="98"/>
                    </a:lnTo>
                    <a:lnTo>
                      <a:pt x="64" y="100"/>
                    </a:lnTo>
                    <a:lnTo>
                      <a:pt x="58" y="96"/>
                    </a:lnTo>
                    <a:lnTo>
                      <a:pt x="52" y="94"/>
                    </a:lnTo>
                    <a:lnTo>
                      <a:pt x="50" y="75"/>
                    </a:lnTo>
                    <a:lnTo>
                      <a:pt x="43" y="61"/>
                    </a:lnTo>
                    <a:lnTo>
                      <a:pt x="35" y="42"/>
                    </a:lnTo>
                    <a:lnTo>
                      <a:pt x="33" y="42"/>
                    </a:lnTo>
                    <a:lnTo>
                      <a:pt x="16" y="44"/>
                    </a:lnTo>
                    <a:lnTo>
                      <a:pt x="2" y="11"/>
                    </a:lnTo>
                    <a:lnTo>
                      <a:pt x="0" y="6"/>
                    </a:lnTo>
                    <a:lnTo>
                      <a:pt x="12" y="4"/>
                    </a:lnTo>
                    <a:lnTo>
                      <a:pt x="16" y="2"/>
                    </a:lnTo>
                    <a:lnTo>
                      <a:pt x="27" y="0"/>
                    </a:lnTo>
                    <a:lnTo>
                      <a:pt x="23" y="11"/>
                    </a:lnTo>
                    <a:lnTo>
                      <a:pt x="41" y="42"/>
                    </a:lnTo>
                    <a:lnTo>
                      <a:pt x="54" y="40"/>
                    </a:lnTo>
                    <a:lnTo>
                      <a:pt x="58" y="42"/>
                    </a:lnTo>
                    <a:lnTo>
                      <a:pt x="64" y="40"/>
                    </a:lnTo>
                    <a:lnTo>
                      <a:pt x="73" y="40"/>
                    </a:lnTo>
                    <a:lnTo>
                      <a:pt x="87" y="50"/>
                    </a:lnTo>
                    <a:lnTo>
                      <a:pt x="91" y="57"/>
                    </a:lnTo>
                    <a:lnTo>
                      <a:pt x="96" y="54"/>
                    </a:lnTo>
                    <a:lnTo>
                      <a:pt x="112" y="46"/>
                    </a:lnTo>
                    <a:lnTo>
                      <a:pt x="127"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16">
                <a:extLst>
                  <a:ext uri="{FF2B5EF4-FFF2-40B4-BE49-F238E27FC236}">
                    <a16:creationId xmlns:a16="http://schemas.microsoft.com/office/drawing/2014/main" id="{47CDAEFA-7F61-A6DF-17C6-75A62899F3B5}"/>
                  </a:ext>
                </a:extLst>
              </p:cNvPr>
              <p:cNvSpPr>
                <a:spLocks/>
              </p:cNvSpPr>
              <p:nvPr/>
            </p:nvSpPr>
            <p:spPr bwMode="gray">
              <a:xfrm>
                <a:off x="4440613" y="4135999"/>
                <a:ext cx="182703" cy="186086"/>
              </a:xfrm>
              <a:custGeom>
                <a:avLst/>
                <a:gdLst>
                  <a:gd name="T0" fmla="*/ 133 w 162"/>
                  <a:gd name="T1" fmla="*/ 42 h 165"/>
                  <a:gd name="T2" fmla="*/ 135 w 162"/>
                  <a:gd name="T3" fmla="*/ 44 h 165"/>
                  <a:gd name="T4" fmla="*/ 156 w 162"/>
                  <a:gd name="T5" fmla="*/ 55 h 165"/>
                  <a:gd name="T6" fmla="*/ 162 w 162"/>
                  <a:gd name="T7" fmla="*/ 61 h 165"/>
                  <a:gd name="T8" fmla="*/ 152 w 162"/>
                  <a:gd name="T9" fmla="*/ 71 h 165"/>
                  <a:gd name="T10" fmla="*/ 148 w 162"/>
                  <a:gd name="T11" fmla="*/ 77 h 165"/>
                  <a:gd name="T12" fmla="*/ 158 w 162"/>
                  <a:gd name="T13" fmla="*/ 82 h 165"/>
                  <a:gd name="T14" fmla="*/ 154 w 162"/>
                  <a:gd name="T15" fmla="*/ 92 h 165"/>
                  <a:gd name="T16" fmla="*/ 152 w 162"/>
                  <a:gd name="T17" fmla="*/ 90 h 165"/>
                  <a:gd name="T18" fmla="*/ 142 w 162"/>
                  <a:gd name="T19" fmla="*/ 107 h 165"/>
                  <a:gd name="T20" fmla="*/ 135 w 162"/>
                  <a:gd name="T21" fmla="*/ 104 h 165"/>
                  <a:gd name="T22" fmla="*/ 125 w 162"/>
                  <a:gd name="T23" fmla="*/ 100 h 165"/>
                  <a:gd name="T24" fmla="*/ 119 w 162"/>
                  <a:gd name="T25" fmla="*/ 92 h 165"/>
                  <a:gd name="T26" fmla="*/ 114 w 162"/>
                  <a:gd name="T27" fmla="*/ 98 h 165"/>
                  <a:gd name="T28" fmla="*/ 114 w 162"/>
                  <a:gd name="T29" fmla="*/ 94 h 165"/>
                  <a:gd name="T30" fmla="*/ 112 w 162"/>
                  <a:gd name="T31" fmla="*/ 92 h 165"/>
                  <a:gd name="T32" fmla="*/ 110 w 162"/>
                  <a:gd name="T33" fmla="*/ 88 h 165"/>
                  <a:gd name="T34" fmla="*/ 108 w 162"/>
                  <a:gd name="T35" fmla="*/ 86 h 165"/>
                  <a:gd name="T36" fmla="*/ 104 w 162"/>
                  <a:gd name="T37" fmla="*/ 90 h 165"/>
                  <a:gd name="T38" fmla="*/ 98 w 162"/>
                  <a:gd name="T39" fmla="*/ 94 h 165"/>
                  <a:gd name="T40" fmla="*/ 106 w 162"/>
                  <a:gd name="T41" fmla="*/ 102 h 165"/>
                  <a:gd name="T42" fmla="*/ 106 w 162"/>
                  <a:gd name="T43" fmla="*/ 104 h 165"/>
                  <a:gd name="T44" fmla="*/ 110 w 162"/>
                  <a:gd name="T45" fmla="*/ 107 h 165"/>
                  <a:gd name="T46" fmla="*/ 112 w 162"/>
                  <a:gd name="T47" fmla="*/ 109 h 165"/>
                  <a:gd name="T48" fmla="*/ 112 w 162"/>
                  <a:gd name="T49" fmla="*/ 115 h 165"/>
                  <a:gd name="T50" fmla="*/ 110 w 162"/>
                  <a:gd name="T51" fmla="*/ 117 h 165"/>
                  <a:gd name="T52" fmla="*/ 104 w 162"/>
                  <a:gd name="T53" fmla="*/ 148 h 165"/>
                  <a:gd name="T54" fmla="*/ 98 w 162"/>
                  <a:gd name="T55" fmla="*/ 150 h 165"/>
                  <a:gd name="T56" fmla="*/ 93 w 162"/>
                  <a:gd name="T57" fmla="*/ 148 h 165"/>
                  <a:gd name="T58" fmla="*/ 91 w 162"/>
                  <a:gd name="T59" fmla="*/ 150 h 165"/>
                  <a:gd name="T60" fmla="*/ 91 w 162"/>
                  <a:gd name="T61" fmla="*/ 159 h 165"/>
                  <a:gd name="T62" fmla="*/ 89 w 162"/>
                  <a:gd name="T63" fmla="*/ 159 h 165"/>
                  <a:gd name="T64" fmla="*/ 73 w 162"/>
                  <a:gd name="T65" fmla="*/ 155 h 165"/>
                  <a:gd name="T66" fmla="*/ 71 w 162"/>
                  <a:gd name="T67" fmla="*/ 165 h 165"/>
                  <a:gd name="T68" fmla="*/ 66 w 162"/>
                  <a:gd name="T69" fmla="*/ 150 h 165"/>
                  <a:gd name="T70" fmla="*/ 60 w 162"/>
                  <a:gd name="T71" fmla="*/ 123 h 165"/>
                  <a:gd name="T72" fmla="*/ 52 w 162"/>
                  <a:gd name="T73" fmla="*/ 105 h 165"/>
                  <a:gd name="T74" fmla="*/ 50 w 162"/>
                  <a:gd name="T75" fmla="*/ 102 h 165"/>
                  <a:gd name="T76" fmla="*/ 45 w 162"/>
                  <a:gd name="T77" fmla="*/ 88 h 165"/>
                  <a:gd name="T78" fmla="*/ 37 w 162"/>
                  <a:gd name="T79" fmla="*/ 82 h 165"/>
                  <a:gd name="T80" fmla="*/ 12 w 162"/>
                  <a:gd name="T81" fmla="*/ 67 h 165"/>
                  <a:gd name="T82" fmla="*/ 4 w 162"/>
                  <a:gd name="T83" fmla="*/ 50 h 165"/>
                  <a:gd name="T84" fmla="*/ 0 w 162"/>
                  <a:gd name="T85" fmla="*/ 36 h 165"/>
                  <a:gd name="T86" fmla="*/ 4 w 162"/>
                  <a:gd name="T87" fmla="*/ 19 h 165"/>
                  <a:gd name="T88" fmla="*/ 10 w 162"/>
                  <a:gd name="T89" fmla="*/ 21 h 165"/>
                  <a:gd name="T90" fmla="*/ 16 w 162"/>
                  <a:gd name="T91" fmla="*/ 25 h 165"/>
                  <a:gd name="T92" fmla="*/ 20 w 162"/>
                  <a:gd name="T93" fmla="*/ 23 h 165"/>
                  <a:gd name="T94" fmla="*/ 21 w 162"/>
                  <a:gd name="T95" fmla="*/ 17 h 165"/>
                  <a:gd name="T96" fmla="*/ 25 w 162"/>
                  <a:gd name="T97" fmla="*/ 15 h 165"/>
                  <a:gd name="T98" fmla="*/ 31 w 162"/>
                  <a:gd name="T99" fmla="*/ 13 h 165"/>
                  <a:gd name="T100" fmla="*/ 33 w 162"/>
                  <a:gd name="T101" fmla="*/ 11 h 165"/>
                  <a:gd name="T102" fmla="*/ 33 w 162"/>
                  <a:gd name="T103" fmla="*/ 6 h 165"/>
                  <a:gd name="T104" fmla="*/ 45 w 162"/>
                  <a:gd name="T105" fmla="*/ 6 h 165"/>
                  <a:gd name="T106" fmla="*/ 56 w 162"/>
                  <a:gd name="T107" fmla="*/ 0 h 165"/>
                  <a:gd name="T108" fmla="*/ 73 w 162"/>
                  <a:gd name="T109" fmla="*/ 7 h 165"/>
                  <a:gd name="T110" fmla="*/ 79 w 162"/>
                  <a:gd name="T111" fmla="*/ 13 h 165"/>
                  <a:gd name="T112" fmla="*/ 83 w 162"/>
                  <a:gd name="T113" fmla="*/ 15 h 165"/>
                  <a:gd name="T114" fmla="*/ 91 w 162"/>
                  <a:gd name="T115" fmla="*/ 17 h 165"/>
                  <a:gd name="T116" fmla="*/ 98 w 162"/>
                  <a:gd name="T117" fmla="*/ 21 h 165"/>
                  <a:gd name="T118" fmla="*/ 112 w 162"/>
                  <a:gd name="T119" fmla="*/ 31 h 165"/>
                  <a:gd name="T120" fmla="*/ 114 w 162"/>
                  <a:gd name="T121" fmla="*/ 31 h 165"/>
                  <a:gd name="T122" fmla="*/ 133 w 162"/>
                  <a:gd name="T123" fmla="*/ 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65">
                    <a:moveTo>
                      <a:pt x="133" y="42"/>
                    </a:moveTo>
                    <a:lnTo>
                      <a:pt x="135" y="44"/>
                    </a:lnTo>
                    <a:lnTo>
                      <a:pt x="156" y="55"/>
                    </a:lnTo>
                    <a:lnTo>
                      <a:pt x="162" y="61"/>
                    </a:lnTo>
                    <a:lnTo>
                      <a:pt x="152" y="71"/>
                    </a:lnTo>
                    <a:lnTo>
                      <a:pt x="148" y="77"/>
                    </a:lnTo>
                    <a:lnTo>
                      <a:pt x="158" y="82"/>
                    </a:lnTo>
                    <a:lnTo>
                      <a:pt x="154" y="92"/>
                    </a:lnTo>
                    <a:lnTo>
                      <a:pt x="152" y="90"/>
                    </a:lnTo>
                    <a:lnTo>
                      <a:pt x="142" y="107"/>
                    </a:lnTo>
                    <a:lnTo>
                      <a:pt x="135" y="104"/>
                    </a:lnTo>
                    <a:lnTo>
                      <a:pt x="125" y="100"/>
                    </a:lnTo>
                    <a:lnTo>
                      <a:pt x="119" y="92"/>
                    </a:lnTo>
                    <a:lnTo>
                      <a:pt x="114" y="98"/>
                    </a:lnTo>
                    <a:lnTo>
                      <a:pt x="114" y="94"/>
                    </a:lnTo>
                    <a:lnTo>
                      <a:pt x="112" y="92"/>
                    </a:lnTo>
                    <a:lnTo>
                      <a:pt x="110" y="88"/>
                    </a:lnTo>
                    <a:lnTo>
                      <a:pt x="108" y="86"/>
                    </a:lnTo>
                    <a:lnTo>
                      <a:pt x="104" y="90"/>
                    </a:lnTo>
                    <a:lnTo>
                      <a:pt x="98" y="94"/>
                    </a:lnTo>
                    <a:lnTo>
                      <a:pt x="106" y="102"/>
                    </a:lnTo>
                    <a:lnTo>
                      <a:pt x="106" y="104"/>
                    </a:lnTo>
                    <a:lnTo>
                      <a:pt x="110" y="107"/>
                    </a:lnTo>
                    <a:lnTo>
                      <a:pt x="112" y="109"/>
                    </a:lnTo>
                    <a:lnTo>
                      <a:pt x="112" y="115"/>
                    </a:lnTo>
                    <a:lnTo>
                      <a:pt x="110" y="117"/>
                    </a:lnTo>
                    <a:lnTo>
                      <a:pt x="104" y="148"/>
                    </a:lnTo>
                    <a:lnTo>
                      <a:pt x="98" y="150"/>
                    </a:lnTo>
                    <a:lnTo>
                      <a:pt x="93" y="148"/>
                    </a:lnTo>
                    <a:lnTo>
                      <a:pt x="91" y="150"/>
                    </a:lnTo>
                    <a:lnTo>
                      <a:pt x="91" y="159"/>
                    </a:lnTo>
                    <a:lnTo>
                      <a:pt x="89" y="159"/>
                    </a:lnTo>
                    <a:lnTo>
                      <a:pt x="73" y="155"/>
                    </a:lnTo>
                    <a:lnTo>
                      <a:pt x="71" y="165"/>
                    </a:lnTo>
                    <a:lnTo>
                      <a:pt x="66" y="150"/>
                    </a:lnTo>
                    <a:lnTo>
                      <a:pt x="60" y="123"/>
                    </a:lnTo>
                    <a:lnTo>
                      <a:pt x="52" y="105"/>
                    </a:lnTo>
                    <a:lnTo>
                      <a:pt x="50" y="102"/>
                    </a:lnTo>
                    <a:lnTo>
                      <a:pt x="45" y="88"/>
                    </a:lnTo>
                    <a:lnTo>
                      <a:pt x="37" y="82"/>
                    </a:lnTo>
                    <a:lnTo>
                      <a:pt x="12" y="67"/>
                    </a:lnTo>
                    <a:lnTo>
                      <a:pt x="4" y="50"/>
                    </a:lnTo>
                    <a:lnTo>
                      <a:pt x="0" y="36"/>
                    </a:lnTo>
                    <a:lnTo>
                      <a:pt x="4" y="19"/>
                    </a:lnTo>
                    <a:lnTo>
                      <a:pt x="10" y="21"/>
                    </a:lnTo>
                    <a:lnTo>
                      <a:pt x="16" y="25"/>
                    </a:lnTo>
                    <a:lnTo>
                      <a:pt x="20" y="23"/>
                    </a:lnTo>
                    <a:lnTo>
                      <a:pt x="21" y="17"/>
                    </a:lnTo>
                    <a:lnTo>
                      <a:pt x="25" y="15"/>
                    </a:lnTo>
                    <a:lnTo>
                      <a:pt x="31" y="13"/>
                    </a:lnTo>
                    <a:lnTo>
                      <a:pt x="33" y="11"/>
                    </a:lnTo>
                    <a:lnTo>
                      <a:pt x="33" y="6"/>
                    </a:lnTo>
                    <a:lnTo>
                      <a:pt x="45" y="6"/>
                    </a:lnTo>
                    <a:lnTo>
                      <a:pt x="56" y="0"/>
                    </a:lnTo>
                    <a:lnTo>
                      <a:pt x="73" y="7"/>
                    </a:lnTo>
                    <a:lnTo>
                      <a:pt x="79" y="13"/>
                    </a:lnTo>
                    <a:lnTo>
                      <a:pt x="83" y="15"/>
                    </a:lnTo>
                    <a:lnTo>
                      <a:pt x="91" y="17"/>
                    </a:lnTo>
                    <a:lnTo>
                      <a:pt x="98" y="21"/>
                    </a:lnTo>
                    <a:lnTo>
                      <a:pt x="112" y="31"/>
                    </a:lnTo>
                    <a:lnTo>
                      <a:pt x="114" y="31"/>
                    </a:lnTo>
                    <a:lnTo>
                      <a:pt x="133" y="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7">
                <a:extLst>
                  <a:ext uri="{FF2B5EF4-FFF2-40B4-BE49-F238E27FC236}">
                    <a16:creationId xmlns:a16="http://schemas.microsoft.com/office/drawing/2014/main" id="{969D8A6D-672C-81F7-732C-41672F994BE1}"/>
                  </a:ext>
                </a:extLst>
              </p:cNvPr>
              <p:cNvSpPr>
                <a:spLocks noEditPoints="1"/>
              </p:cNvSpPr>
              <p:nvPr/>
            </p:nvSpPr>
            <p:spPr bwMode="gray">
              <a:xfrm>
                <a:off x="4023330" y="4075098"/>
                <a:ext cx="625926" cy="480440"/>
              </a:xfrm>
              <a:custGeom>
                <a:avLst/>
                <a:gdLst>
                  <a:gd name="T0" fmla="*/ 334 w 555"/>
                  <a:gd name="T1" fmla="*/ 407 h 426"/>
                  <a:gd name="T2" fmla="*/ 340 w 555"/>
                  <a:gd name="T3" fmla="*/ 400 h 426"/>
                  <a:gd name="T4" fmla="*/ 326 w 555"/>
                  <a:gd name="T5" fmla="*/ 401 h 426"/>
                  <a:gd name="T6" fmla="*/ 317 w 555"/>
                  <a:gd name="T7" fmla="*/ 405 h 426"/>
                  <a:gd name="T8" fmla="*/ 311 w 555"/>
                  <a:gd name="T9" fmla="*/ 405 h 426"/>
                  <a:gd name="T10" fmla="*/ 280 w 555"/>
                  <a:gd name="T11" fmla="*/ 396 h 426"/>
                  <a:gd name="T12" fmla="*/ 384 w 555"/>
                  <a:gd name="T13" fmla="*/ 328 h 426"/>
                  <a:gd name="T14" fmla="*/ 134 w 555"/>
                  <a:gd name="T15" fmla="*/ 323 h 426"/>
                  <a:gd name="T16" fmla="*/ 142 w 555"/>
                  <a:gd name="T17" fmla="*/ 336 h 426"/>
                  <a:gd name="T18" fmla="*/ 119 w 555"/>
                  <a:gd name="T19" fmla="*/ 342 h 426"/>
                  <a:gd name="T20" fmla="*/ 109 w 555"/>
                  <a:gd name="T21" fmla="*/ 336 h 426"/>
                  <a:gd name="T22" fmla="*/ 109 w 555"/>
                  <a:gd name="T23" fmla="*/ 328 h 426"/>
                  <a:gd name="T24" fmla="*/ 119 w 555"/>
                  <a:gd name="T25" fmla="*/ 319 h 426"/>
                  <a:gd name="T26" fmla="*/ 128 w 555"/>
                  <a:gd name="T27" fmla="*/ 319 h 426"/>
                  <a:gd name="T28" fmla="*/ 338 w 555"/>
                  <a:gd name="T29" fmla="*/ 23 h 426"/>
                  <a:gd name="T30" fmla="*/ 372 w 555"/>
                  <a:gd name="T31" fmla="*/ 54 h 426"/>
                  <a:gd name="T32" fmla="*/ 382 w 555"/>
                  <a:gd name="T33" fmla="*/ 121 h 426"/>
                  <a:gd name="T34" fmla="*/ 422 w 555"/>
                  <a:gd name="T35" fmla="*/ 159 h 426"/>
                  <a:gd name="T36" fmla="*/ 441 w 555"/>
                  <a:gd name="T37" fmla="*/ 221 h 426"/>
                  <a:gd name="T38" fmla="*/ 512 w 555"/>
                  <a:gd name="T39" fmla="*/ 242 h 426"/>
                  <a:gd name="T40" fmla="*/ 547 w 555"/>
                  <a:gd name="T41" fmla="*/ 332 h 426"/>
                  <a:gd name="T42" fmla="*/ 487 w 555"/>
                  <a:gd name="T43" fmla="*/ 298 h 426"/>
                  <a:gd name="T44" fmla="*/ 455 w 555"/>
                  <a:gd name="T45" fmla="*/ 321 h 426"/>
                  <a:gd name="T46" fmla="*/ 259 w 555"/>
                  <a:gd name="T47" fmla="*/ 338 h 426"/>
                  <a:gd name="T48" fmla="*/ 190 w 555"/>
                  <a:gd name="T49" fmla="*/ 327 h 426"/>
                  <a:gd name="T50" fmla="*/ 194 w 555"/>
                  <a:gd name="T51" fmla="*/ 332 h 426"/>
                  <a:gd name="T52" fmla="*/ 176 w 555"/>
                  <a:gd name="T53" fmla="*/ 330 h 426"/>
                  <a:gd name="T54" fmla="*/ 178 w 555"/>
                  <a:gd name="T55" fmla="*/ 319 h 426"/>
                  <a:gd name="T56" fmla="*/ 171 w 555"/>
                  <a:gd name="T57" fmla="*/ 328 h 426"/>
                  <a:gd name="T58" fmla="*/ 115 w 555"/>
                  <a:gd name="T59" fmla="*/ 302 h 426"/>
                  <a:gd name="T60" fmla="*/ 105 w 555"/>
                  <a:gd name="T61" fmla="*/ 317 h 426"/>
                  <a:gd name="T62" fmla="*/ 94 w 555"/>
                  <a:gd name="T63" fmla="*/ 315 h 426"/>
                  <a:gd name="T64" fmla="*/ 79 w 555"/>
                  <a:gd name="T65" fmla="*/ 315 h 426"/>
                  <a:gd name="T66" fmla="*/ 65 w 555"/>
                  <a:gd name="T67" fmla="*/ 315 h 426"/>
                  <a:gd name="T68" fmla="*/ 54 w 555"/>
                  <a:gd name="T69" fmla="*/ 346 h 426"/>
                  <a:gd name="T70" fmla="*/ 0 w 555"/>
                  <a:gd name="T71" fmla="*/ 292 h 426"/>
                  <a:gd name="T72" fmla="*/ 13 w 555"/>
                  <a:gd name="T73" fmla="*/ 263 h 426"/>
                  <a:gd name="T74" fmla="*/ 17 w 555"/>
                  <a:gd name="T75" fmla="*/ 219 h 426"/>
                  <a:gd name="T76" fmla="*/ 29 w 555"/>
                  <a:gd name="T77" fmla="*/ 171 h 426"/>
                  <a:gd name="T78" fmla="*/ 21 w 555"/>
                  <a:gd name="T79" fmla="*/ 146 h 426"/>
                  <a:gd name="T80" fmla="*/ 11 w 555"/>
                  <a:gd name="T81" fmla="*/ 111 h 426"/>
                  <a:gd name="T82" fmla="*/ 32 w 555"/>
                  <a:gd name="T83" fmla="*/ 81 h 426"/>
                  <a:gd name="T84" fmla="*/ 75 w 555"/>
                  <a:gd name="T85" fmla="*/ 40 h 426"/>
                  <a:gd name="T86" fmla="*/ 102 w 555"/>
                  <a:gd name="T87" fmla="*/ 21 h 426"/>
                  <a:gd name="T88" fmla="*/ 163 w 555"/>
                  <a:gd name="T89" fmla="*/ 25 h 426"/>
                  <a:gd name="T90" fmla="*/ 182 w 555"/>
                  <a:gd name="T91" fmla="*/ 0 h 426"/>
                  <a:gd name="T92" fmla="*/ 217 w 555"/>
                  <a:gd name="T93" fmla="*/ 6 h 426"/>
                  <a:gd name="T94" fmla="*/ 251 w 555"/>
                  <a:gd name="T95" fmla="*/ 21 h 426"/>
                  <a:gd name="T96" fmla="*/ 307 w 555"/>
                  <a:gd name="T97" fmla="*/ 19 h 426"/>
                  <a:gd name="T98" fmla="*/ 338 w 555"/>
                  <a:gd name="T99" fmla="*/ 2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5" h="426">
                    <a:moveTo>
                      <a:pt x="453" y="394"/>
                    </a:moveTo>
                    <a:lnTo>
                      <a:pt x="386" y="426"/>
                    </a:lnTo>
                    <a:lnTo>
                      <a:pt x="332" y="407"/>
                    </a:lnTo>
                    <a:lnTo>
                      <a:pt x="334" y="407"/>
                    </a:lnTo>
                    <a:lnTo>
                      <a:pt x="338" y="405"/>
                    </a:lnTo>
                    <a:lnTo>
                      <a:pt x="340" y="403"/>
                    </a:lnTo>
                    <a:lnTo>
                      <a:pt x="338" y="401"/>
                    </a:lnTo>
                    <a:lnTo>
                      <a:pt x="340" y="400"/>
                    </a:lnTo>
                    <a:lnTo>
                      <a:pt x="332" y="398"/>
                    </a:lnTo>
                    <a:lnTo>
                      <a:pt x="330" y="398"/>
                    </a:lnTo>
                    <a:lnTo>
                      <a:pt x="330" y="403"/>
                    </a:lnTo>
                    <a:lnTo>
                      <a:pt x="326" y="401"/>
                    </a:lnTo>
                    <a:lnTo>
                      <a:pt x="326" y="405"/>
                    </a:lnTo>
                    <a:lnTo>
                      <a:pt x="324" y="405"/>
                    </a:lnTo>
                    <a:lnTo>
                      <a:pt x="319" y="405"/>
                    </a:lnTo>
                    <a:lnTo>
                      <a:pt x="317" y="405"/>
                    </a:lnTo>
                    <a:lnTo>
                      <a:pt x="317" y="407"/>
                    </a:lnTo>
                    <a:lnTo>
                      <a:pt x="313" y="407"/>
                    </a:lnTo>
                    <a:lnTo>
                      <a:pt x="311" y="407"/>
                    </a:lnTo>
                    <a:lnTo>
                      <a:pt x="311" y="405"/>
                    </a:lnTo>
                    <a:lnTo>
                      <a:pt x="305" y="403"/>
                    </a:lnTo>
                    <a:lnTo>
                      <a:pt x="305" y="401"/>
                    </a:lnTo>
                    <a:lnTo>
                      <a:pt x="297" y="398"/>
                    </a:lnTo>
                    <a:lnTo>
                      <a:pt x="280" y="396"/>
                    </a:lnTo>
                    <a:lnTo>
                      <a:pt x="263" y="382"/>
                    </a:lnTo>
                    <a:lnTo>
                      <a:pt x="255" y="367"/>
                    </a:lnTo>
                    <a:lnTo>
                      <a:pt x="319" y="330"/>
                    </a:lnTo>
                    <a:lnTo>
                      <a:pt x="384" y="328"/>
                    </a:lnTo>
                    <a:lnTo>
                      <a:pt x="453" y="394"/>
                    </a:lnTo>
                    <a:close/>
                    <a:moveTo>
                      <a:pt x="130" y="325"/>
                    </a:moveTo>
                    <a:lnTo>
                      <a:pt x="132" y="325"/>
                    </a:lnTo>
                    <a:lnTo>
                      <a:pt x="134" y="323"/>
                    </a:lnTo>
                    <a:lnTo>
                      <a:pt x="138" y="328"/>
                    </a:lnTo>
                    <a:lnTo>
                      <a:pt x="138" y="330"/>
                    </a:lnTo>
                    <a:lnTo>
                      <a:pt x="138" y="332"/>
                    </a:lnTo>
                    <a:lnTo>
                      <a:pt x="142" y="336"/>
                    </a:lnTo>
                    <a:lnTo>
                      <a:pt x="140" y="338"/>
                    </a:lnTo>
                    <a:lnTo>
                      <a:pt x="128" y="340"/>
                    </a:lnTo>
                    <a:lnTo>
                      <a:pt x="121" y="340"/>
                    </a:lnTo>
                    <a:lnTo>
                      <a:pt x="119" y="342"/>
                    </a:lnTo>
                    <a:lnTo>
                      <a:pt x="117" y="342"/>
                    </a:lnTo>
                    <a:lnTo>
                      <a:pt x="117" y="338"/>
                    </a:lnTo>
                    <a:lnTo>
                      <a:pt x="113" y="338"/>
                    </a:lnTo>
                    <a:lnTo>
                      <a:pt x="109" y="336"/>
                    </a:lnTo>
                    <a:lnTo>
                      <a:pt x="107" y="334"/>
                    </a:lnTo>
                    <a:lnTo>
                      <a:pt x="107" y="332"/>
                    </a:lnTo>
                    <a:lnTo>
                      <a:pt x="107" y="330"/>
                    </a:lnTo>
                    <a:lnTo>
                      <a:pt x="109" y="328"/>
                    </a:lnTo>
                    <a:lnTo>
                      <a:pt x="113" y="327"/>
                    </a:lnTo>
                    <a:lnTo>
                      <a:pt x="115" y="327"/>
                    </a:lnTo>
                    <a:lnTo>
                      <a:pt x="117" y="323"/>
                    </a:lnTo>
                    <a:lnTo>
                      <a:pt x="119" y="319"/>
                    </a:lnTo>
                    <a:lnTo>
                      <a:pt x="121" y="317"/>
                    </a:lnTo>
                    <a:lnTo>
                      <a:pt x="125" y="317"/>
                    </a:lnTo>
                    <a:lnTo>
                      <a:pt x="127" y="317"/>
                    </a:lnTo>
                    <a:lnTo>
                      <a:pt x="128" y="319"/>
                    </a:lnTo>
                    <a:lnTo>
                      <a:pt x="130" y="321"/>
                    </a:lnTo>
                    <a:lnTo>
                      <a:pt x="130" y="323"/>
                    </a:lnTo>
                    <a:lnTo>
                      <a:pt x="130" y="325"/>
                    </a:lnTo>
                    <a:close/>
                    <a:moveTo>
                      <a:pt x="338" y="23"/>
                    </a:moveTo>
                    <a:lnTo>
                      <a:pt x="355" y="21"/>
                    </a:lnTo>
                    <a:lnTo>
                      <a:pt x="357" y="21"/>
                    </a:lnTo>
                    <a:lnTo>
                      <a:pt x="365" y="40"/>
                    </a:lnTo>
                    <a:lnTo>
                      <a:pt x="372" y="54"/>
                    </a:lnTo>
                    <a:lnTo>
                      <a:pt x="374" y="73"/>
                    </a:lnTo>
                    <a:lnTo>
                      <a:pt x="370" y="90"/>
                    </a:lnTo>
                    <a:lnTo>
                      <a:pt x="374" y="104"/>
                    </a:lnTo>
                    <a:lnTo>
                      <a:pt x="382" y="121"/>
                    </a:lnTo>
                    <a:lnTo>
                      <a:pt x="407" y="136"/>
                    </a:lnTo>
                    <a:lnTo>
                      <a:pt x="415" y="142"/>
                    </a:lnTo>
                    <a:lnTo>
                      <a:pt x="420" y="156"/>
                    </a:lnTo>
                    <a:lnTo>
                      <a:pt x="422" y="159"/>
                    </a:lnTo>
                    <a:lnTo>
                      <a:pt x="430" y="177"/>
                    </a:lnTo>
                    <a:lnTo>
                      <a:pt x="436" y="204"/>
                    </a:lnTo>
                    <a:lnTo>
                      <a:pt x="441" y="219"/>
                    </a:lnTo>
                    <a:lnTo>
                      <a:pt x="441" y="221"/>
                    </a:lnTo>
                    <a:lnTo>
                      <a:pt x="447" y="234"/>
                    </a:lnTo>
                    <a:lnTo>
                      <a:pt x="463" y="234"/>
                    </a:lnTo>
                    <a:lnTo>
                      <a:pt x="487" y="232"/>
                    </a:lnTo>
                    <a:lnTo>
                      <a:pt x="512" y="242"/>
                    </a:lnTo>
                    <a:lnTo>
                      <a:pt x="534" y="254"/>
                    </a:lnTo>
                    <a:lnTo>
                      <a:pt x="551" y="267"/>
                    </a:lnTo>
                    <a:lnTo>
                      <a:pt x="551" y="332"/>
                    </a:lnTo>
                    <a:lnTo>
                      <a:pt x="547" y="332"/>
                    </a:lnTo>
                    <a:lnTo>
                      <a:pt x="541" y="338"/>
                    </a:lnTo>
                    <a:lnTo>
                      <a:pt x="555" y="353"/>
                    </a:lnTo>
                    <a:lnTo>
                      <a:pt x="545" y="363"/>
                    </a:lnTo>
                    <a:lnTo>
                      <a:pt x="487" y="298"/>
                    </a:lnTo>
                    <a:lnTo>
                      <a:pt x="472" y="309"/>
                    </a:lnTo>
                    <a:lnTo>
                      <a:pt x="499" y="344"/>
                    </a:lnTo>
                    <a:lnTo>
                      <a:pt x="489" y="353"/>
                    </a:lnTo>
                    <a:lnTo>
                      <a:pt x="455" y="321"/>
                    </a:lnTo>
                    <a:lnTo>
                      <a:pt x="418" y="286"/>
                    </a:lnTo>
                    <a:lnTo>
                      <a:pt x="342" y="290"/>
                    </a:lnTo>
                    <a:lnTo>
                      <a:pt x="301" y="313"/>
                    </a:lnTo>
                    <a:lnTo>
                      <a:pt x="259" y="338"/>
                    </a:lnTo>
                    <a:lnTo>
                      <a:pt x="207" y="336"/>
                    </a:lnTo>
                    <a:lnTo>
                      <a:pt x="207" y="328"/>
                    </a:lnTo>
                    <a:lnTo>
                      <a:pt x="192" y="327"/>
                    </a:lnTo>
                    <a:lnTo>
                      <a:pt x="190" y="327"/>
                    </a:lnTo>
                    <a:lnTo>
                      <a:pt x="188" y="327"/>
                    </a:lnTo>
                    <a:lnTo>
                      <a:pt x="186" y="327"/>
                    </a:lnTo>
                    <a:lnTo>
                      <a:pt x="184" y="330"/>
                    </a:lnTo>
                    <a:lnTo>
                      <a:pt x="194" y="332"/>
                    </a:lnTo>
                    <a:lnTo>
                      <a:pt x="194" y="334"/>
                    </a:lnTo>
                    <a:lnTo>
                      <a:pt x="184" y="332"/>
                    </a:lnTo>
                    <a:lnTo>
                      <a:pt x="182" y="330"/>
                    </a:lnTo>
                    <a:lnTo>
                      <a:pt x="176" y="330"/>
                    </a:lnTo>
                    <a:lnTo>
                      <a:pt x="176" y="327"/>
                    </a:lnTo>
                    <a:lnTo>
                      <a:pt x="176" y="325"/>
                    </a:lnTo>
                    <a:lnTo>
                      <a:pt x="176" y="323"/>
                    </a:lnTo>
                    <a:lnTo>
                      <a:pt x="178" y="319"/>
                    </a:lnTo>
                    <a:lnTo>
                      <a:pt x="186" y="302"/>
                    </a:lnTo>
                    <a:lnTo>
                      <a:pt x="186" y="300"/>
                    </a:lnTo>
                    <a:lnTo>
                      <a:pt x="184" y="300"/>
                    </a:lnTo>
                    <a:lnTo>
                      <a:pt x="171" y="328"/>
                    </a:lnTo>
                    <a:lnTo>
                      <a:pt x="167" y="328"/>
                    </a:lnTo>
                    <a:lnTo>
                      <a:pt x="163" y="328"/>
                    </a:lnTo>
                    <a:lnTo>
                      <a:pt x="134" y="302"/>
                    </a:lnTo>
                    <a:lnTo>
                      <a:pt x="115" y="302"/>
                    </a:lnTo>
                    <a:lnTo>
                      <a:pt x="105" y="317"/>
                    </a:lnTo>
                    <a:lnTo>
                      <a:pt x="105" y="321"/>
                    </a:lnTo>
                    <a:lnTo>
                      <a:pt x="103" y="319"/>
                    </a:lnTo>
                    <a:lnTo>
                      <a:pt x="105" y="317"/>
                    </a:lnTo>
                    <a:lnTo>
                      <a:pt x="105" y="315"/>
                    </a:lnTo>
                    <a:lnTo>
                      <a:pt x="103" y="313"/>
                    </a:lnTo>
                    <a:lnTo>
                      <a:pt x="102" y="315"/>
                    </a:lnTo>
                    <a:lnTo>
                      <a:pt x="94" y="315"/>
                    </a:lnTo>
                    <a:lnTo>
                      <a:pt x="94" y="317"/>
                    </a:lnTo>
                    <a:lnTo>
                      <a:pt x="86" y="317"/>
                    </a:lnTo>
                    <a:lnTo>
                      <a:pt x="82" y="315"/>
                    </a:lnTo>
                    <a:lnTo>
                      <a:pt x="79" y="315"/>
                    </a:lnTo>
                    <a:lnTo>
                      <a:pt x="77" y="315"/>
                    </a:lnTo>
                    <a:lnTo>
                      <a:pt x="73" y="311"/>
                    </a:lnTo>
                    <a:lnTo>
                      <a:pt x="71" y="311"/>
                    </a:lnTo>
                    <a:lnTo>
                      <a:pt x="65" y="315"/>
                    </a:lnTo>
                    <a:lnTo>
                      <a:pt x="67" y="319"/>
                    </a:lnTo>
                    <a:lnTo>
                      <a:pt x="54" y="330"/>
                    </a:lnTo>
                    <a:lnTo>
                      <a:pt x="55" y="340"/>
                    </a:lnTo>
                    <a:lnTo>
                      <a:pt x="54" y="346"/>
                    </a:lnTo>
                    <a:lnTo>
                      <a:pt x="7" y="305"/>
                    </a:lnTo>
                    <a:lnTo>
                      <a:pt x="9" y="302"/>
                    </a:lnTo>
                    <a:lnTo>
                      <a:pt x="0" y="294"/>
                    </a:lnTo>
                    <a:lnTo>
                      <a:pt x="0" y="292"/>
                    </a:lnTo>
                    <a:lnTo>
                      <a:pt x="7" y="284"/>
                    </a:lnTo>
                    <a:lnTo>
                      <a:pt x="13" y="277"/>
                    </a:lnTo>
                    <a:lnTo>
                      <a:pt x="13" y="269"/>
                    </a:lnTo>
                    <a:lnTo>
                      <a:pt x="13" y="263"/>
                    </a:lnTo>
                    <a:lnTo>
                      <a:pt x="13" y="248"/>
                    </a:lnTo>
                    <a:lnTo>
                      <a:pt x="15" y="236"/>
                    </a:lnTo>
                    <a:lnTo>
                      <a:pt x="19" y="231"/>
                    </a:lnTo>
                    <a:lnTo>
                      <a:pt x="17" y="219"/>
                    </a:lnTo>
                    <a:lnTo>
                      <a:pt x="17" y="209"/>
                    </a:lnTo>
                    <a:lnTo>
                      <a:pt x="17" y="206"/>
                    </a:lnTo>
                    <a:lnTo>
                      <a:pt x="21" y="190"/>
                    </a:lnTo>
                    <a:lnTo>
                      <a:pt x="29" y="171"/>
                    </a:lnTo>
                    <a:lnTo>
                      <a:pt x="31" y="167"/>
                    </a:lnTo>
                    <a:lnTo>
                      <a:pt x="29" y="165"/>
                    </a:lnTo>
                    <a:lnTo>
                      <a:pt x="27" y="156"/>
                    </a:lnTo>
                    <a:lnTo>
                      <a:pt x="21" y="146"/>
                    </a:lnTo>
                    <a:lnTo>
                      <a:pt x="17" y="140"/>
                    </a:lnTo>
                    <a:lnTo>
                      <a:pt x="11" y="127"/>
                    </a:lnTo>
                    <a:lnTo>
                      <a:pt x="7" y="121"/>
                    </a:lnTo>
                    <a:lnTo>
                      <a:pt x="11" y="111"/>
                    </a:lnTo>
                    <a:lnTo>
                      <a:pt x="23" y="94"/>
                    </a:lnTo>
                    <a:lnTo>
                      <a:pt x="27" y="86"/>
                    </a:lnTo>
                    <a:lnTo>
                      <a:pt x="29" y="83"/>
                    </a:lnTo>
                    <a:lnTo>
                      <a:pt x="32" y="81"/>
                    </a:lnTo>
                    <a:lnTo>
                      <a:pt x="44" y="73"/>
                    </a:lnTo>
                    <a:lnTo>
                      <a:pt x="50" y="69"/>
                    </a:lnTo>
                    <a:lnTo>
                      <a:pt x="59" y="60"/>
                    </a:lnTo>
                    <a:lnTo>
                      <a:pt x="75" y="40"/>
                    </a:lnTo>
                    <a:lnTo>
                      <a:pt x="86" y="27"/>
                    </a:lnTo>
                    <a:lnTo>
                      <a:pt x="90" y="23"/>
                    </a:lnTo>
                    <a:lnTo>
                      <a:pt x="94" y="21"/>
                    </a:lnTo>
                    <a:lnTo>
                      <a:pt x="102" y="21"/>
                    </a:lnTo>
                    <a:lnTo>
                      <a:pt x="125" y="23"/>
                    </a:lnTo>
                    <a:lnTo>
                      <a:pt x="148" y="27"/>
                    </a:lnTo>
                    <a:lnTo>
                      <a:pt x="163" y="29"/>
                    </a:lnTo>
                    <a:lnTo>
                      <a:pt x="163" y="25"/>
                    </a:lnTo>
                    <a:lnTo>
                      <a:pt x="167" y="12"/>
                    </a:lnTo>
                    <a:lnTo>
                      <a:pt x="169" y="4"/>
                    </a:lnTo>
                    <a:lnTo>
                      <a:pt x="169" y="0"/>
                    </a:lnTo>
                    <a:lnTo>
                      <a:pt x="182" y="0"/>
                    </a:lnTo>
                    <a:lnTo>
                      <a:pt x="190" y="4"/>
                    </a:lnTo>
                    <a:lnTo>
                      <a:pt x="192" y="6"/>
                    </a:lnTo>
                    <a:lnTo>
                      <a:pt x="201" y="6"/>
                    </a:lnTo>
                    <a:lnTo>
                      <a:pt x="217" y="6"/>
                    </a:lnTo>
                    <a:lnTo>
                      <a:pt x="219" y="6"/>
                    </a:lnTo>
                    <a:lnTo>
                      <a:pt x="224" y="6"/>
                    </a:lnTo>
                    <a:lnTo>
                      <a:pt x="247" y="19"/>
                    </a:lnTo>
                    <a:lnTo>
                      <a:pt x="251" y="21"/>
                    </a:lnTo>
                    <a:lnTo>
                      <a:pt x="263" y="27"/>
                    </a:lnTo>
                    <a:lnTo>
                      <a:pt x="274" y="21"/>
                    </a:lnTo>
                    <a:lnTo>
                      <a:pt x="292" y="17"/>
                    </a:lnTo>
                    <a:lnTo>
                      <a:pt x="307" y="19"/>
                    </a:lnTo>
                    <a:lnTo>
                      <a:pt x="315" y="19"/>
                    </a:lnTo>
                    <a:lnTo>
                      <a:pt x="317" y="21"/>
                    </a:lnTo>
                    <a:lnTo>
                      <a:pt x="330" y="23"/>
                    </a:lnTo>
                    <a:lnTo>
                      <a:pt x="338"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8">
                <a:extLst>
                  <a:ext uri="{FF2B5EF4-FFF2-40B4-BE49-F238E27FC236}">
                    <a16:creationId xmlns:a16="http://schemas.microsoft.com/office/drawing/2014/main" id="{E98C6D82-8748-BE67-01AC-CE609B9BD26C}"/>
                  </a:ext>
                </a:extLst>
              </p:cNvPr>
              <p:cNvSpPr>
                <a:spLocks/>
              </p:cNvSpPr>
              <p:nvPr/>
            </p:nvSpPr>
            <p:spPr bwMode="gray">
              <a:xfrm>
                <a:off x="4731584" y="4174344"/>
                <a:ext cx="162402" cy="161275"/>
              </a:xfrm>
              <a:custGeom>
                <a:avLst/>
                <a:gdLst>
                  <a:gd name="T0" fmla="*/ 82 w 144"/>
                  <a:gd name="T1" fmla="*/ 143 h 143"/>
                  <a:gd name="T2" fmla="*/ 61 w 144"/>
                  <a:gd name="T3" fmla="*/ 129 h 143"/>
                  <a:gd name="T4" fmla="*/ 13 w 144"/>
                  <a:gd name="T5" fmla="*/ 100 h 143"/>
                  <a:gd name="T6" fmla="*/ 0 w 144"/>
                  <a:gd name="T7" fmla="*/ 85 h 143"/>
                  <a:gd name="T8" fmla="*/ 13 w 144"/>
                  <a:gd name="T9" fmla="*/ 62 h 143"/>
                  <a:gd name="T10" fmla="*/ 28 w 144"/>
                  <a:gd name="T11" fmla="*/ 29 h 143"/>
                  <a:gd name="T12" fmla="*/ 30 w 144"/>
                  <a:gd name="T13" fmla="*/ 0 h 143"/>
                  <a:gd name="T14" fmla="*/ 86 w 144"/>
                  <a:gd name="T15" fmla="*/ 21 h 143"/>
                  <a:gd name="T16" fmla="*/ 99 w 144"/>
                  <a:gd name="T17" fmla="*/ 31 h 143"/>
                  <a:gd name="T18" fmla="*/ 121 w 144"/>
                  <a:gd name="T19" fmla="*/ 45 h 143"/>
                  <a:gd name="T20" fmla="*/ 130 w 144"/>
                  <a:gd name="T21" fmla="*/ 54 h 143"/>
                  <a:gd name="T22" fmla="*/ 136 w 144"/>
                  <a:gd name="T23" fmla="*/ 64 h 143"/>
                  <a:gd name="T24" fmla="*/ 144 w 144"/>
                  <a:gd name="T25" fmla="*/ 79 h 143"/>
                  <a:gd name="T26" fmla="*/ 144 w 144"/>
                  <a:gd name="T27" fmla="*/ 91 h 143"/>
                  <a:gd name="T28" fmla="*/ 136 w 144"/>
                  <a:gd name="T29" fmla="*/ 104 h 143"/>
                  <a:gd name="T30" fmla="*/ 82 w 144"/>
                  <a:gd name="T3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3">
                    <a:moveTo>
                      <a:pt x="82" y="143"/>
                    </a:moveTo>
                    <a:lnTo>
                      <a:pt x="61" y="129"/>
                    </a:lnTo>
                    <a:lnTo>
                      <a:pt x="13" y="100"/>
                    </a:lnTo>
                    <a:lnTo>
                      <a:pt x="0" y="85"/>
                    </a:lnTo>
                    <a:lnTo>
                      <a:pt x="13" y="62"/>
                    </a:lnTo>
                    <a:lnTo>
                      <a:pt x="28" y="29"/>
                    </a:lnTo>
                    <a:lnTo>
                      <a:pt x="30" y="0"/>
                    </a:lnTo>
                    <a:lnTo>
                      <a:pt x="86" y="21"/>
                    </a:lnTo>
                    <a:lnTo>
                      <a:pt x="99" y="31"/>
                    </a:lnTo>
                    <a:lnTo>
                      <a:pt x="121" y="45"/>
                    </a:lnTo>
                    <a:lnTo>
                      <a:pt x="130" y="54"/>
                    </a:lnTo>
                    <a:lnTo>
                      <a:pt x="136" y="64"/>
                    </a:lnTo>
                    <a:lnTo>
                      <a:pt x="144" y="79"/>
                    </a:lnTo>
                    <a:lnTo>
                      <a:pt x="144" y="91"/>
                    </a:lnTo>
                    <a:lnTo>
                      <a:pt x="136" y="104"/>
                    </a:lnTo>
                    <a:lnTo>
                      <a:pt x="82" y="1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9">
                <a:extLst>
                  <a:ext uri="{FF2B5EF4-FFF2-40B4-BE49-F238E27FC236}">
                    <a16:creationId xmlns:a16="http://schemas.microsoft.com/office/drawing/2014/main" id="{40E015F0-0E9A-6FCD-42E8-F989289613EA}"/>
                  </a:ext>
                </a:extLst>
              </p:cNvPr>
              <p:cNvSpPr>
                <a:spLocks/>
              </p:cNvSpPr>
              <p:nvPr/>
            </p:nvSpPr>
            <p:spPr bwMode="gray">
              <a:xfrm>
                <a:off x="4824063" y="4060437"/>
                <a:ext cx="171425" cy="196236"/>
              </a:xfrm>
              <a:custGeom>
                <a:avLst/>
                <a:gdLst>
                  <a:gd name="T0" fmla="*/ 152 w 152"/>
                  <a:gd name="T1" fmla="*/ 122 h 174"/>
                  <a:gd name="T2" fmla="*/ 140 w 152"/>
                  <a:gd name="T3" fmla="*/ 132 h 174"/>
                  <a:gd name="T4" fmla="*/ 98 w 152"/>
                  <a:gd name="T5" fmla="*/ 161 h 174"/>
                  <a:gd name="T6" fmla="*/ 96 w 152"/>
                  <a:gd name="T7" fmla="*/ 159 h 174"/>
                  <a:gd name="T8" fmla="*/ 75 w 152"/>
                  <a:gd name="T9" fmla="*/ 174 h 174"/>
                  <a:gd name="T10" fmla="*/ 71 w 152"/>
                  <a:gd name="T11" fmla="*/ 165 h 174"/>
                  <a:gd name="T12" fmla="*/ 87 w 152"/>
                  <a:gd name="T13" fmla="*/ 151 h 174"/>
                  <a:gd name="T14" fmla="*/ 79 w 152"/>
                  <a:gd name="T15" fmla="*/ 146 h 174"/>
                  <a:gd name="T16" fmla="*/ 71 w 152"/>
                  <a:gd name="T17" fmla="*/ 138 h 174"/>
                  <a:gd name="T18" fmla="*/ 62 w 152"/>
                  <a:gd name="T19" fmla="*/ 128 h 174"/>
                  <a:gd name="T20" fmla="*/ 37 w 152"/>
                  <a:gd name="T21" fmla="*/ 99 h 174"/>
                  <a:gd name="T22" fmla="*/ 23 w 152"/>
                  <a:gd name="T23" fmla="*/ 74 h 174"/>
                  <a:gd name="T24" fmla="*/ 2 w 152"/>
                  <a:gd name="T25" fmla="*/ 26 h 174"/>
                  <a:gd name="T26" fmla="*/ 0 w 152"/>
                  <a:gd name="T27" fmla="*/ 15 h 174"/>
                  <a:gd name="T28" fmla="*/ 52 w 152"/>
                  <a:gd name="T29" fmla="*/ 1 h 174"/>
                  <a:gd name="T30" fmla="*/ 73 w 152"/>
                  <a:gd name="T31" fmla="*/ 1 h 174"/>
                  <a:gd name="T32" fmla="*/ 121 w 152"/>
                  <a:gd name="T33" fmla="*/ 0 h 174"/>
                  <a:gd name="T34" fmla="*/ 102 w 152"/>
                  <a:gd name="T35" fmla="*/ 25 h 174"/>
                  <a:gd name="T36" fmla="*/ 98 w 152"/>
                  <a:gd name="T37" fmla="*/ 44 h 174"/>
                  <a:gd name="T38" fmla="*/ 100 w 152"/>
                  <a:gd name="T39" fmla="*/ 55 h 174"/>
                  <a:gd name="T40" fmla="*/ 152 w 152"/>
                  <a:gd name="T41" fmla="*/ 12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74">
                    <a:moveTo>
                      <a:pt x="152" y="122"/>
                    </a:moveTo>
                    <a:lnTo>
                      <a:pt x="140" y="132"/>
                    </a:lnTo>
                    <a:lnTo>
                      <a:pt x="98" y="161"/>
                    </a:lnTo>
                    <a:lnTo>
                      <a:pt x="96" y="159"/>
                    </a:lnTo>
                    <a:lnTo>
                      <a:pt x="75" y="174"/>
                    </a:lnTo>
                    <a:lnTo>
                      <a:pt x="71" y="165"/>
                    </a:lnTo>
                    <a:lnTo>
                      <a:pt x="87" y="151"/>
                    </a:lnTo>
                    <a:lnTo>
                      <a:pt x="79" y="146"/>
                    </a:lnTo>
                    <a:lnTo>
                      <a:pt x="71" y="138"/>
                    </a:lnTo>
                    <a:lnTo>
                      <a:pt x="62" y="128"/>
                    </a:lnTo>
                    <a:lnTo>
                      <a:pt x="37" y="99"/>
                    </a:lnTo>
                    <a:lnTo>
                      <a:pt x="23" y="74"/>
                    </a:lnTo>
                    <a:lnTo>
                      <a:pt x="2" y="26"/>
                    </a:lnTo>
                    <a:lnTo>
                      <a:pt x="0" y="15"/>
                    </a:lnTo>
                    <a:lnTo>
                      <a:pt x="52" y="1"/>
                    </a:lnTo>
                    <a:lnTo>
                      <a:pt x="73" y="1"/>
                    </a:lnTo>
                    <a:lnTo>
                      <a:pt x="121" y="0"/>
                    </a:lnTo>
                    <a:lnTo>
                      <a:pt x="102" y="25"/>
                    </a:lnTo>
                    <a:lnTo>
                      <a:pt x="98" y="44"/>
                    </a:lnTo>
                    <a:lnTo>
                      <a:pt x="100" y="55"/>
                    </a:lnTo>
                    <a:lnTo>
                      <a:pt x="152" y="1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20">
                <a:extLst>
                  <a:ext uri="{FF2B5EF4-FFF2-40B4-BE49-F238E27FC236}">
                    <a16:creationId xmlns:a16="http://schemas.microsoft.com/office/drawing/2014/main" id="{8617FFC4-7A45-5B9E-28F2-82431D15BA0A}"/>
                  </a:ext>
                </a:extLst>
              </p:cNvPr>
              <p:cNvSpPr>
                <a:spLocks/>
              </p:cNvSpPr>
              <p:nvPr/>
            </p:nvSpPr>
            <p:spPr bwMode="gray">
              <a:xfrm>
                <a:off x="4520686" y="3957808"/>
                <a:ext cx="288715" cy="418412"/>
              </a:xfrm>
              <a:custGeom>
                <a:avLst/>
                <a:gdLst>
                  <a:gd name="T0" fmla="*/ 200 w 256"/>
                  <a:gd name="T1" fmla="*/ 254 h 371"/>
                  <a:gd name="T2" fmla="*/ 152 w 256"/>
                  <a:gd name="T3" fmla="*/ 340 h 371"/>
                  <a:gd name="T4" fmla="*/ 110 w 256"/>
                  <a:gd name="T5" fmla="*/ 331 h 371"/>
                  <a:gd name="T6" fmla="*/ 71 w 256"/>
                  <a:gd name="T7" fmla="*/ 346 h 371"/>
                  <a:gd name="T8" fmla="*/ 6 w 256"/>
                  <a:gd name="T9" fmla="*/ 338 h 371"/>
                  <a:gd name="T10" fmla="*/ 2 w 256"/>
                  <a:gd name="T11" fmla="*/ 313 h 371"/>
                  <a:gd name="T12" fmla="*/ 20 w 256"/>
                  <a:gd name="T13" fmla="*/ 308 h 371"/>
                  <a:gd name="T14" fmla="*/ 33 w 256"/>
                  <a:gd name="T15" fmla="*/ 306 h 371"/>
                  <a:gd name="T16" fmla="*/ 41 w 256"/>
                  <a:gd name="T17" fmla="*/ 267 h 371"/>
                  <a:gd name="T18" fmla="*/ 35 w 256"/>
                  <a:gd name="T19" fmla="*/ 260 h 371"/>
                  <a:gd name="T20" fmla="*/ 37 w 256"/>
                  <a:gd name="T21" fmla="*/ 244 h 371"/>
                  <a:gd name="T22" fmla="*/ 43 w 256"/>
                  <a:gd name="T23" fmla="*/ 252 h 371"/>
                  <a:gd name="T24" fmla="*/ 54 w 256"/>
                  <a:gd name="T25" fmla="*/ 258 h 371"/>
                  <a:gd name="T26" fmla="*/ 81 w 256"/>
                  <a:gd name="T27" fmla="*/ 248 h 371"/>
                  <a:gd name="T28" fmla="*/ 77 w 256"/>
                  <a:gd name="T29" fmla="*/ 235 h 371"/>
                  <a:gd name="T30" fmla="*/ 85 w 256"/>
                  <a:gd name="T31" fmla="*/ 213 h 371"/>
                  <a:gd name="T32" fmla="*/ 70 w 256"/>
                  <a:gd name="T33" fmla="*/ 189 h 371"/>
                  <a:gd name="T34" fmla="*/ 102 w 256"/>
                  <a:gd name="T35" fmla="*/ 192 h 371"/>
                  <a:gd name="T36" fmla="*/ 73 w 256"/>
                  <a:gd name="T37" fmla="*/ 150 h 371"/>
                  <a:gd name="T38" fmla="*/ 98 w 256"/>
                  <a:gd name="T39" fmla="*/ 102 h 371"/>
                  <a:gd name="T40" fmla="*/ 119 w 256"/>
                  <a:gd name="T41" fmla="*/ 79 h 371"/>
                  <a:gd name="T42" fmla="*/ 133 w 256"/>
                  <a:gd name="T43" fmla="*/ 10 h 371"/>
                  <a:gd name="T44" fmla="*/ 139 w 256"/>
                  <a:gd name="T45" fmla="*/ 2 h 371"/>
                  <a:gd name="T46" fmla="*/ 167 w 256"/>
                  <a:gd name="T47" fmla="*/ 21 h 371"/>
                  <a:gd name="T48" fmla="*/ 194 w 256"/>
                  <a:gd name="T49" fmla="*/ 46 h 371"/>
                  <a:gd name="T50" fmla="*/ 212 w 256"/>
                  <a:gd name="T51" fmla="*/ 66 h 371"/>
                  <a:gd name="T52" fmla="*/ 225 w 256"/>
                  <a:gd name="T53" fmla="*/ 104 h 371"/>
                  <a:gd name="T54" fmla="*/ 256 w 256"/>
                  <a:gd name="T55" fmla="*/ 158 h 371"/>
                  <a:gd name="T56" fmla="*/ 219 w 256"/>
                  <a:gd name="T57" fmla="*/ 167 h 371"/>
                  <a:gd name="T58" fmla="*/ 194 w 256"/>
                  <a:gd name="T59" fmla="*/ 175 h 371"/>
                  <a:gd name="T60" fmla="*/ 179 w 256"/>
                  <a:gd name="T61" fmla="*/ 165 h 371"/>
                  <a:gd name="T62" fmla="*/ 158 w 256"/>
                  <a:gd name="T63" fmla="*/ 165 h 371"/>
                  <a:gd name="T64" fmla="*/ 150 w 256"/>
                  <a:gd name="T65" fmla="*/ 164 h 371"/>
                  <a:gd name="T66" fmla="*/ 141 w 256"/>
                  <a:gd name="T67" fmla="*/ 164 h 371"/>
                  <a:gd name="T68" fmla="*/ 123 w 256"/>
                  <a:gd name="T69" fmla="*/ 177 h 371"/>
                  <a:gd name="T70" fmla="*/ 142 w 256"/>
                  <a:gd name="T71" fmla="*/ 183 h 371"/>
                  <a:gd name="T72" fmla="*/ 135 w 256"/>
                  <a:gd name="T73" fmla="*/ 233 h 371"/>
                  <a:gd name="T74" fmla="*/ 125 w 256"/>
                  <a:gd name="T75" fmla="*/ 235 h 371"/>
                  <a:gd name="T76" fmla="*/ 133 w 256"/>
                  <a:gd name="T77" fmla="*/ 235 h 371"/>
                  <a:gd name="T78" fmla="*/ 144 w 256"/>
                  <a:gd name="T79" fmla="*/ 242 h 371"/>
                  <a:gd name="T80" fmla="*/ 154 w 256"/>
                  <a:gd name="T81" fmla="*/ 256 h 371"/>
                  <a:gd name="T82" fmla="*/ 158 w 256"/>
                  <a:gd name="T83" fmla="*/ 250 h 371"/>
                  <a:gd name="T84" fmla="*/ 162 w 256"/>
                  <a:gd name="T85" fmla="*/ 248 h 371"/>
                  <a:gd name="T86" fmla="*/ 166 w 256"/>
                  <a:gd name="T87" fmla="*/ 240 h 371"/>
                  <a:gd name="T88" fmla="*/ 166 w 256"/>
                  <a:gd name="T89" fmla="*/ 237 h 371"/>
                  <a:gd name="T90" fmla="*/ 169 w 256"/>
                  <a:gd name="T91" fmla="*/ 233 h 371"/>
                  <a:gd name="T92" fmla="*/ 169 w 256"/>
                  <a:gd name="T93" fmla="*/ 227 h 371"/>
                  <a:gd name="T94" fmla="*/ 167 w 256"/>
                  <a:gd name="T95" fmla="*/ 219 h 371"/>
                  <a:gd name="T96" fmla="*/ 175 w 256"/>
                  <a:gd name="T97" fmla="*/ 217 h 371"/>
                  <a:gd name="T98" fmla="*/ 181 w 256"/>
                  <a:gd name="T99" fmla="*/ 213 h 371"/>
                  <a:gd name="T100" fmla="*/ 185 w 256"/>
                  <a:gd name="T101" fmla="*/ 210 h 371"/>
                  <a:gd name="T102" fmla="*/ 181 w 256"/>
                  <a:gd name="T103" fmla="*/ 198 h 371"/>
                  <a:gd name="T104" fmla="*/ 187 w 256"/>
                  <a:gd name="T105" fmla="*/ 190 h 371"/>
                  <a:gd name="T106" fmla="*/ 192 w 256"/>
                  <a:gd name="T107" fmla="*/ 185 h 371"/>
                  <a:gd name="T108" fmla="*/ 198 w 256"/>
                  <a:gd name="T109" fmla="*/ 185 h 371"/>
                  <a:gd name="T110" fmla="*/ 208 w 256"/>
                  <a:gd name="T111" fmla="*/ 19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71">
                    <a:moveTo>
                      <a:pt x="217" y="192"/>
                    </a:moveTo>
                    <a:lnTo>
                      <a:pt x="215" y="221"/>
                    </a:lnTo>
                    <a:lnTo>
                      <a:pt x="200" y="254"/>
                    </a:lnTo>
                    <a:lnTo>
                      <a:pt x="187" y="277"/>
                    </a:lnTo>
                    <a:lnTo>
                      <a:pt x="152" y="338"/>
                    </a:lnTo>
                    <a:lnTo>
                      <a:pt x="152" y="340"/>
                    </a:lnTo>
                    <a:lnTo>
                      <a:pt x="104" y="319"/>
                    </a:lnTo>
                    <a:lnTo>
                      <a:pt x="100" y="323"/>
                    </a:lnTo>
                    <a:lnTo>
                      <a:pt x="110" y="331"/>
                    </a:lnTo>
                    <a:lnTo>
                      <a:pt x="110" y="371"/>
                    </a:lnTo>
                    <a:lnTo>
                      <a:pt x="93" y="358"/>
                    </a:lnTo>
                    <a:lnTo>
                      <a:pt x="71" y="346"/>
                    </a:lnTo>
                    <a:lnTo>
                      <a:pt x="46" y="336"/>
                    </a:lnTo>
                    <a:lnTo>
                      <a:pt x="22" y="338"/>
                    </a:lnTo>
                    <a:lnTo>
                      <a:pt x="6" y="338"/>
                    </a:lnTo>
                    <a:lnTo>
                      <a:pt x="0" y="325"/>
                    </a:lnTo>
                    <a:lnTo>
                      <a:pt x="0" y="323"/>
                    </a:lnTo>
                    <a:lnTo>
                      <a:pt x="2" y="313"/>
                    </a:lnTo>
                    <a:lnTo>
                      <a:pt x="18" y="317"/>
                    </a:lnTo>
                    <a:lnTo>
                      <a:pt x="20" y="317"/>
                    </a:lnTo>
                    <a:lnTo>
                      <a:pt x="20" y="308"/>
                    </a:lnTo>
                    <a:lnTo>
                      <a:pt x="22" y="306"/>
                    </a:lnTo>
                    <a:lnTo>
                      <a:pt x="27" y="308"/>
                    </a:lnTo>
                    <a:lnTo>
                      <a:pt x="33" y="306"/>
                    </a:lnTo>
                    <a:lnTo>
                      <a:pt x="39" y="275"/>
                    </a:lnTo>
                    <a:lnTo>
                      <a:pt x="41" y="273"/>
                    </a:lnTo>
                    <a:lnTo>
                      <a:pt x="41" y="267"/>
                    </a:lnTo>
                    <a:lnTo>
                      <a:pt x="39" y="265"/>
                    </a:lnTo>
                    <a:lnTo>
                      <a:pt x="35" y="262"/>
                    </a:lnTo>
                    <a:lnTo>
                      <a:pt x="35" y="260"/>
                    </a:lnTo>
                    <a:lnTo>
                      <a:pt x="27" y="252"/>
                    </a:lnTo>
                    <a:lnTo>
                      <a:pt x="33" y="248"/>
                    </a:lnTo>
                    <a:lnTo>
                      <a:pt x="37" y="244"/>
                    </a:lnTo>
                    <a:lnTo>
                      <a:pt x="39" y="246"/>
                    </a:lnTo>
                    <a:lnTo>
                      <a:pt x="41" y="250"/>
                    </a:lnTo>
                    <a:lnTo>
                      <a:pt x="43" y="252"/>
                    </a:lnTo>
                    <a:lnTo>
                      <a:pt x="43" y="256"/>
                    </a:lnTo>
                    <a:lnTo>
                      <a:pt x="48" y="250"/>
                    </a:lnTo>
                    <a:lnTo>
                      <a:pt x="54" y="258"/>
                    </a:lnTo>
                    <a:lnTo>
                      <a:pt x="64" y="262"/>
                    </a:lnTo>
                    <a:lnTo>
                      <a:pt x="71" y="265"/>
                    </a:lnTo>
                    <a:lnTo>
                      <a:pt x="81" y="248"/>
                    </a:lnTo>
                    <a:lnTo>
                      <a:pt x="83" y="250"/>
                    </a:lnTo>
                    <a:lnTo>
                      <a:pt x="87" y="240"/>
                    </a:lnTo>
                    <a:lnTo>
                      <a:pt x="77" y="235"/>
                    </a:lnTo>
                    <a:lnTo>
                      <a:pt x="81" y="229"/>
                    </a:lnTo>
                    <a:lnTo>
                      <a:pt x="91" y="219"/>
                    </a:lnTo>
                    <a:lnTo>
                      <a:pt x="85" y="213"/>
                    </a:lnTo>
                    <a:lnTo>
                      <a:pt x="64" y="202"/>
                    </a:lnTo>
                    <a:lnTo>
                      <a:pt x="62" y="200"/>
                    </a:lnTo>
                    <a:lnTo>
                      <a:pt x="70" y="189"/>
                    </a:lnTo>
                    <a:lnTo>
                      <a:pt x="71" y="190"/>
                    </a:lnTo>
                    <a:lnTo>
                      <a:pt x="89" y="200"/>
                    </a:lnTo>
                    <a:lnTo>
                      <a:pt x="102" y="192"/>
                    </a:lnTo>
                    <a:lnTo>
                      <a:pt x="85" y="160"/>
                    </a:lnTo>
                    <a:lnTo>
                      <a:pt x="73" y="154"/>
                    </a:lnTo>
                    <a:lnTo>
                      <a:pt x="73" y="150"/>
                    </a:lnTo>
                    <a:lnTo>
                      <a:pt x="79" y="142"/>
                    </a:lnTo>
                    <a:lnTo>
                      <a:pt x="87" y="125"/>
                    </a:lnTo>
                    <a:lnTo>
                      <a:pt x="98" y="102"/>
                    </a:lnTo>
                    <a:lnTo>
                      <a:pt x="104" y="96"/>
                    </a:lnTo>
                    <a:lnTo>
                      <a:pt x="116" y="81"/>
                    </a:lnTo>
                    <a:lnTo>
                      <a:pt x="119" y="79"/>
                    </a:lnTo>
                    <a:lnTo>
                      <a:pt x="123" y="75"/>
                    </a:lnTo>
                    <a:lnTo>
                      <a:pt x="156" y="35"/>
                    </a:lnTo>
                    <a:lnTo>
                      <a:pt x="133" y="10"/>
                    </a:lnTo>
                    <a:lnTo>
                      <a:pt x="133" y="8"/>
                    </a:lnTo>
                    <a:lnTo>
                      <a:pt x="135" y="8"/>
                    </a:lnTo>
                    <a:lnTo>
                      <a:pt x="139" y="2"/>
                    </a:lnTo>
                    <a:lnTo>
                      <a:pt x="141" y="0"/>
                    </a:lnTo>
                    <a:lnTo>
                      <a:pt x="148" y="8"/>
                    </a:lnTo>
                    <a:lnTo>
                      <a:pt x="167" y="21"/>
                    </a:lnTo>
                    <a:lnTo>
                      <a:pt x="189" y="41"/>
                    </a:lnTo>
                    <a:lnTo>
                      <a:pt x="194" y="44"/>
                    </a:lnTo>
                    <a:lnTo>
                      <a:pt x="194" y="46"/>
                    </a:lnTo>
                    <a:lnTo>
                      <a:pt x="204" y="58"/>
                    </a:lnTo>
                    <a:lnTo>
                      <a:pt x="206" y="60"/>
                    </a:lnTo>
                    <a:lnTo>
                      <a:pt x="212" y="66"/>
                    </a:lnTo>
                    <a:lnTo>
                      <a:pt x="214" y="75"/>
                    </a:lnTo>
                    <a:lnTo>
                      <a:pt x="217" y="98"/>
                    </a:lnTo>
                    <a:lnTo>
                      <a:pt x="225" y="104"/>
                    </a:lnTo>
                    <a:lnTo>
                      <a:pt x="246" y="110"/>
                    </a:lnTo>
                    <a:lnTo>
                      <a:pt x="250" y="112"/>
                    </a:lnTo>
                    <a:lnTo>
                      <a:pt x="256" y="158"/>
                    </a:lnTo>
                    <a:lnTo>
                      <a:pt x="250" y="165"/>
                    </a:lnTo>
                    <a:lnTo>
                      <a:pt x="235" y="167"/>
                    </a:lnTo>
                    <a:lnTo>
                      <a:pt x="219" y="167"/>
                    </a:lnTo>
                    <a:lnTo>
                      <a:pt x="217" y="167"/>
                    </a:lnTo>
                    <a:lnTo>
                      <a:pt x="196" y="165"/>
                    </a:lnTo>
                    <a:lnTo>
                      <a:pt x="194" y="175"/>
                    </a:lnTo>
                    <a:lnTo>
                      <a:pt x="183" y="173"/>
                    </a:lnTo>
                    <a:lnTo>
                      <a:pt x="183" y="165"/>
                    </a:lnTo>
                    <a:lnTo>
                      <a:pt x="179" y="165"/>
                    </a:lnTo>
                    <a:lnTo>
                      <a:pt x="162" y="164"/>
                    </a:lnTo>
                    <a:lnTo>
                      <a:pt x="160" y="165"/>
                    </a:lnTo>
                    <a:lnTo>
                      <a:pt x="158" y="165"/>
                    </a:lnTo>
                    <a:lnTo>
                      <a:pt x="154" y="165"/>
                    </a:lnTo>
                    <a:lnTo>
                      <a:pt x="154" y="164"/>
                    </a:lnTo>
                    <a:lnTo>
                      <a:pt x="150" y="164"/>
                    </a:lnTo>
                    <a:lnTo>
                      <a:pt x="146" y="164"/>
                    </a:lnTo>
                    <a:lnTo>
                      <a:pt x="142" y="164"/>
                    </a:lnTo>
                    <a:lnTo>
                      <a:pt x="141" y="164"/>
                    </a:lnTo>
                    <a:lnTo>
                      <a:pt x="137" y="162"/>
                    </a:lnTo>
                    <a:lnTo>
                      <a:pt x="133" y="164"/>
                    </a:lnTo>
                    <a:lnTo>
                      <a:pt x="123" y="177"/>
                    </a:lnTo>
                    <a:lnTo>
                      <a:pt x="127" y="179"/>
                    </a:lnTo>
                    <a:lnTo>
                      <a:pt x="137" y="185"/>
                    </a:lnTo>
                    <a:lnTo>
                      <a:pt x="142" y="183"/>
                    </a:lnTo>
                    <a:lnTo>
                      <a:pt x="144" y="185"/>
                    </a:lnTo>
                    <a:lnTo>
                      <a:pt x="135" y="206"/>
                    </a:lnTo>
                    <a:lnTo>
                      <a:pt x="135" y="233"/>
                    </a:lnTo>
                    <a:lnTo>
                      <a:pt x="127" y="233"/>
                    </a:lnTo>
                    <a:lnTo>
                      <a:pt x="127" y="235"/>
                    </a:lnTo>
                    <a:lnTo>
                      <a:pt x="125" y="235"/>
                    </a:lnTo>
                    <a:lnTo>
                      <a:pt x="125" y="237"/>
                    </a:lnTo>
                    <a:lnTo>
                      <a:pt x="129" y="240"/>
                    </a:lnTo>
                    <a:lnTo>
                      <a:pt x="133" y="235"/>
                    </a:lnTo>
                    <a:lnTo>
                      <a:pt x="135" y="237"/>
                    </a:lnTo>
                    <a:lnTo>
                      <a:pt x="142" y="235"/>
                    </a:lnTo>
                    <a:lnTo>
                      <a:pt x="144" y="242"/>
                    </a:lnTo>
                    <a:lnTo>
                      <a:pt x="146" y="244"/>
                    </a:lnTo>
                    <a:lnTo>
                      <a:pt x="142" y="248"/>
                    </a:lnTo>
                    <a:lnTo>
                      <a:pt x="154" y="256"/>
                    </a:lnTo>
                    <a:lnTo>
                      <a:pt x="156" y="256"/>
                    </a:lnTo>
                    <a:lnTo>
                      <a:pt x="158" y="254"/>
                    </a:lnTo>
                    <a:lnTo>
                      <a:pt x="158" y="250"/>
                    </a:lnTo>
                    <a:lnTo>
                      <a:pt x="158" y="252"/>
                    </a:lnTo>
                    <a:lnTo>
                      <a:pt x="160" y="250"/>
                    </a:lnTo>
                    <a:lnTo>
                      <a:pt x="162" y="248"/>
                    </a:lnTo>
                    <a:lnTo>
                      <a:pt x="162" y="246"/>
                    </a:lnTo>
                    <a:lnTo>
                      <a:pt x="164" y="242"/>
                    </a:lnTo>
                    <a:lnTo>
                      <a:pt x="166" y="240"/>
                    </a:lnTo>
                    <a:lnTo>
                      <a:pt x="167" y="238"/>
                    </a:lnTo>
                    <a:lnTo>
                      <a:pt x="167" y="237"/>
                    </a:lnTo>
                    <a:lnTo>
                      <a:pt x="166" y="237"/>
                    </a:lnTo>
                    <a:lnTo>
                      <a:pt x="166" y="233"/>
                    </a:lnTo>
                    <a:lnTo>
                      <a:pt x="167" y="233"/>
                    </a:lnTo>
                    <a:lnTo>
                      <a:pt x="169" y="233"/>
                    </a:lnTo>
                    <a:lnTo>
                      <a:pt x="169" y="231"/>
                    </a:lnTo>
                    <a:lnTo>
                      <a:pt x="171" y="231"/>
                    </a:lnTo>
                    <a:lnTo>
                      <a:pt x="169" y="227"/>
                    </a:lnTo>
                    <a:lnTo>
                      <a:pt x="167" y="227"/>
                    </a:lnTo>
                    <a:lnTo>
                      <a:pt x="167" y="223"/>
                    </a:lnTo>
                    <a:lnTo>
                      <a:pt x="167" y="219"/>
                    </a:lnTo>
                    <a:lnTo>
                      <a:pt x="169" y="215"/>
                    </a:lnTo>
                    <a:lnTo>
                      <a:pt x="173" y="219"/>
                    </a:lnTo>
                    <a:lnTo>
                      <a:pt x="175" y="217"/>
                    </a:lnTo>
                    <a:lnTo>
                      <a:pt x="179" y="213"/>
                    </a:lnTo>
                    <a:lnTo>
                      <a:pt x="181" y="215"/>
                    </a:lnTo>
                    <a:lnTo>
                      <a:pt x="181" y="213"/>
                    </a:lnTo>
                    <a:lnTo>
                      <a:pt x="183" y="212"/>
                    </a:lnTo>
                    <a:lnTo>
                      <a:pt x="183" y="210"/>
                    </a:lnTo>
                    <a:lnTo>
                      <a:pt x="185" y="210"/>
                    </a:lnTo>
                    <a:lnTo>
                      <a:pt x="179" y="208"/>
                    </a:lnTo>
                    <a:lnTo>
                      <a:pt x="183" y="200"/>
                    </a:lnTo>
                    <a:lnTo>
                      <a:pt x="181" y="198"/>
                    </a:lnTo>
                    <a:lnTo>
                      <a:pt x="185" y="194"/>
                    </a:lnTo>
                    <a:lnTo>
                      <a:pt x="187" y="192"/>
                    </a:lnTo>
                    <a:lnTo>
                      <a:pt x="187" y="190"/>
                    </a:lnTo>
                    <a:lnTo>
                      <a:pt x="189" y="189"/>
                    </a:lnTo>
                    <a:lnTo>
                      <a:pt x="190" y="187"/>
                    </a:lnTo>
                    <a:lnTo>
                      <a:pt x="192" y="185"/>
                    </a:lnTo>
                    <a:lnTo>
                      <a:pt x="196" y="185"/>
                    </a:lnTo>
                    <a:lnTo>
                      <a:pt x="198" y="187"/>
                    </a:lnTo>
                    <a:lnTo>
                      <a:pt x="198" y="185"/>
                    </a:lnTo>
                    <a:lnTo>
                      <a:pt x="204" y="187"/>
                    </a:lnTo>
                    <a:lnTo>
                      <a:pt x="204" y="189"/>
                    </a:lnTo>
                    <a:lnTo>
                      <a:pt x="208" y="190"/>
                    </a:lnTo>
                    <a:lnTo>
                      <a:pt x="212" y="190"/>
                    </a:lnTo>
                    <a:lnTo>
                      <a:pt x="217" y="192"/>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21">
                <a:extLst>
                  <a:ext uri="{FF2B5EF4-FFF2-40B4-BE49-F238E27FC236}">
                    <a16:creationId xmlns:a16="http://schemas.microsoft.com/office/drawing/2014/main" id="{9DDB1088-2918-5418-0A64-E9227868BDB0}"/>
                  </a:ext>
                </a:extLst>
              </p:cNvPr>
              <p:cNvSpPr>
                <a:spLocks/>
              </p:cNvSpPr>
              <p:nvPr/>
            </p:nvSpPr>
            <p:spPr bwMode="gray">
              <a:xfrm>
                <a:off x="4520686" y="3983747"/>
                <a:ext cx="130824" cy="143230"/>
              </a:xfrm>
              <a:custGeom>
                <a:avLst/>
                <a:gdLst>
                  <a:gd name="T0" fmla="*/ 43 w 116"/>
                  <a:gd name="T1" fmla="*/ 4 h 127"/>
                  <a:gd name="T2" fmla="*/ 54 w 116"/>
                  <a:gd name="T3" fmla="*/ 20 h 127"/>
                  <a:gd name="T4" fmla="*/ 60 w 116"/>
                  <a:gd name="T5" fmla="*/ 18 h 127"/>
                  <a:gd name="T6" fmla="*/ 64 w 116"/>
                  <a:gd name="T7" fmla="*/ 21 h 127"/>
                  <a:gd name="T8" fmla="*/ 71 w 116"/>
                  <a:gd name="T9" fmla="*/ 20 h 127"/>
                  <a:gd name="T10" fmla="*/ 71 w 116"/>
                  <a:gd name="T11" fmla="*/ 21 h 127"/>
                  <a:gd name="T12" fmla="*/ 83 w 116"/>
                  <a:gd name="T13" fmla="*/ 20 h 127"/>
                  <a:gd name="T14" fmla="*/ 81 w 116"/>
                  <a:gd name="T15" fmla="*/ 21 h 127"/>
                  <a:gd name="T16" fmla="*/ 85 w 116"/>
                  <a:gd name="T17" fmla="*/ 23 h 127"/>
                  <a:gd name="T18" fmla="*/ 89 w 116"/>
                  <a:gd name="T19" fmla="*/ 23 h 127"/>
                  <a:gd name="T20" fmla="*/ 83 w 116"/>
                  <a:gd name="T21" fmla="*/ 29 h 127"/>
                  <a:gd name="T22" fmla="*/ 87 w 116"/>
                  <a:gd name="T23" fmla="*/ 33 h 127"/>
                  <a:gd name="T24" fmla="*/ 87 w 116"/>
                  <a:gd name="T25" fmla="*/ 35 h 127"/>
                  <a:gd name="T26" fmla="*/ 91 w 116"/>
                  <a:gd name="T27" fmla="*/ 39 h 127"/>
                  <a:gd name="T28" fmla="*/ 93 w 116"/>
                  <a:gd name="T29" fmla="*/ 37 h 127"/>
                  <a:gd name="T30" fmla="*/ 96 w 116"/>
                  <a:gd name="T31" fmla="*/ 39 h 127"/>
                  <a:gd name="T32" fmla="*/ 94 w 116"/>
                  <a:gd name="T33" fmla="*/ 41 h 127"/>
                  <a:gd name="T34" fmla="*/ 100 w 116"/>
                  <a:gd name="T35" fmla="*/ 44 h 127"/>
                  <a:gd name="T36" fmla="*/ 102 w 116"/>
                  <a:gd name="T37" fmla="*/ 43 h 127"/>
                  <a:gd name="T38" fmla="*/ 110 w 116"/>
                  <a:gd name="T39" fmla="*/ 50 h 127"/>
                  <a:gd name="T40" fmla="*/ 108 w 116"/>
                  <a:gd name="T41" fmla="*/ 52 h 127"/>
                  <a:gd name="T42" fmla="*/ 116 w 116"/>
                  <a:gd name="T43" fmla="*/ 58 h 127"/>
                  <a:gd name="T44" fmla="*/ 104 w 116"/>
                  <a:gd name="T45" fmla="*/ 73 h 127"/>
                  <a:gd name="T46" fmla="*/ 98 w 116"/>
                  <a:gd name="T47" fmla="*/ 79 h 127"/>
                  <a:gd name="T48" fmla="*/ 87 w 116"/>
                  <a:gd name="T49" fmla="*/ 102 h 127"/>
                  <a:gd name="T50" fmla="*/ 79 w 116"/>
                  <a:gd name="T51" fmla="*/ 119 h 127"/>
                  <a:gd name="T52" fmla="*/ 73 w 116"/>
                  <a:gd name="T53" fmla="*/ 127 h 127"/>
                  <a:gd name="T54" fmla="*/ 31 w 116"/>
                  <a:gd name="T55" fmla="*/ 100 h 127"/>
                  <a:gd name="T56" fmla="*/ 27 w 116"/>
                  <a:gd name="T57" fmla="*/ 96 h 127"/>
                  <a:gd name="T58" fmla="*/ 8 w 116"/>
                  <a:gd name="T59" fmla="*/ 83 h 127"/>
                  <a:gd name="T60" fmla="*/ 6 w 116"/>
                  <a:gd name="T61" fmla="*/ 79 h 127"/>
                  <a:gd name="T62" fmla="*/ 8 w 116"/>
                  <a:gd name="T63" fmla="*/ 79 h 127"/>
                  <a:gd name="T64" fmla="*/ 8 w 116"/>
                  <a:gd name="T65" fmla="*/ 73 h 127"/>
                  <a:gd name="T66" fmla="*/ 16 w 116"/>
                  <a:gd name="T67" fmla="*/ 66 h 127"/>
                  <a:gd name="T68" fmla="*/ 22 w 116"/>
                  <a:gd name="T69" fmla="*/ 56 h 127"/>
                  <a:gd name="T70" fmla="*/ 8 w 116"/>
                  <a:gd name="T71" fmla="*/ 33 h 127"/>
                  <a:gd name="T72" fmla="*/ 0 w 116"/>
                  <a:gd name="T73" fmla="*/ 29 h 127"/>
                  <a:gd name="T74" fmla="*/ 2 w 116"/>
                  <a:gd name="T75" fmla="*/ 21 h 127"/>
                  <a:gd name="T76" fmla="*/ 16 w 116"/>
                  <a:gd name="T77" fmla="*/ 27 h 127"/>
                  <a:gd name="T78" fmla="*/ 18 w 116"/>
                  <a:gd name="T79" fmla="*/ 20 h 127"/>
                  <a:gd name="T80" fmla="*/ 23 w 116"/>
                  <a:gd name="T81" fmla="*/ 21 h 127"/>
                  <a:gd name="T82" fmla="*/ 31 w 116"/>
                  <a:gd name="T83" fmla="*/ 23 h 127"/>
                  <a:gd name="T84" fmla="*/ 41 w 116"/>
                  <a:gd name="T85" fmla="*/ 0 h 127"/>
                  <a:gd name="T86" fmla="*/ 43 w 116"/>
                  <a:gd name="T87"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 h="127">
                    <a:moveTo>
                      <a:pt x="43" y="4"/>
                    </a:moveTo>
                    <a:lnTo>
                      <a:pt x="54" y="20"/>
                    </a:lnTo>
                    <a:lnTo>
                      <a:pt x="60" y="18"/>
                    </a:lnTo>
                    <a:lnTo>
                      <a:pt x="64" y="21"/>
                    </a:lnTo>
                    <a:lnTo>
                      <a:pt x="71" y="20"/>
                    </a:lnTo>
                    <a:lnTo>
                      <a:pt x="71" y="21"/>
                    </a:lnTo>
                    <a:lnTo>
                      <a:pt x="83" y="20"/>
                    </a:lnTo>
                    <a:lnTo>
                      <a:pt x="81" y="21"/>
                    </a:lnTo>
                    <a:lnTo>
                      <a:pt x="85" y="23"/>
                    </a:lnTo>
                    <a:lnTo>
                      <a:pt x="89" y="23"/>
                    </a:lnTo>
                    <a:lnTo>
                      <a:pt x="83" y="29"/>
                    </a:lnTo>
                    <a:lnTo>
                      <a:pt x="87" y="33"/>
                    </a:lnTo>
                    <a:lnTo>
                      <a:pt x="87" y="35"/>
                    </a:lnTo>
                    <a:lnTo>
                      <a:pt x="91" y="39"/>
                    </a:lnTo>
                    <a:lnTo>
                      <a:pt x="93" y="37"/>
                    </a:lnTo>
                    <a:lnTo>
                      <a:pt x="96" y="39"/>
                    </a:lnTo>
                    <a:lnTo>
                      <a:pt x="94" y="41"/>
                    </a:lnTo>
                    <a:lnTo>
                      <a:pt x="100" y="44"/>
                    </a:lnTo>
                    <a:lnTo>
                      <a:pt x="102" y="43"/>
                    </a:lnTo>
                    <a:lnTo>
                      <a:pt x="110" y="50"/>
                    </a:lnTo>
                    <a:lnTo>
                      <a:pt x="108" y="52"/>
                    </a:lnTo>
                    <a:lnTo>
                      <a:pt x="116" y="58"/>
                    </a:lnTo>
                    <a:lnTo>
                      <a:pt x="104" y="73"/>
                    </a:lnTo>
                    <a:lnTo>
                      <a:pt x="98" y="79"/>
                    </a:lnTo>
                    <a:lnTo>
                      <a:pt x="87" y="102"/>
                    </a:lnTo>
                    <a:lnTo>
                      <a:pt x="79" y="119"/>
                    </a:lnTo>
                    <a:lnTo>
                      <a:pt x="73" y="127"/>
                    </a:lnTo>
                    <a:lnTo>
                      <a:pt x="31" y="100"/>
                    </a:lnTo>
                    <a:lnTo>
                      <a:pt x="27" y="96"/>
                    </a:lnTo>
                    <a:lnTo>
                      <a:pt x="8" y="83"/>
                    </a:lnTo>
                    <a:lnTo>
                      <a:pt x="6" y="79"/>
                    </a:lnTo>
                    <a:lnTo>
                      <a:pt x="8" y="79"/>
                    </a:lnTo>
                    <a:lnTo>
                      <a:pt x="8" y="73"/>
                    </a:lnTo>
                    <a:lnTo>
                      <a:pt x="16" y="66"/>
                    </a:lnTo>
                    <a:lnTo>
                      <a:pt x="22" y="56"/>
                    </a:lnTo>
                    <a:lnTo>
                      <a:pt x="8" y="33"/>
                    </a:lnTo>
                    <a:lnTo>
                      <a:pt x="0" y="29"/>
                    </a:lnTo>
                    <a:lnTo>
                      <a:pt x="2" y="21"/>
                    </a:lnTo>
                    <a:lnTo>
                      <a:pt x="16" y="27"/>
                    </a:lnTo>
                    <a:lnTo>
                      <a:pt x="18" y="20"/>
                    </a:lnTo>
                    <a:lnTo>
                      <a:pt x="23" y="21"/>
                    </a:lnTo>
                    <a:lnTo>
                      <a:pt x="31" y="23"/>
                    </a:lnTo>
                    <a:lnTo>
                      <a:pt x="41" y="0"/>
                    </a:lnTo>
                    <a:lnTo>
                      <a:pt x="4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22">
                <a:extLst>
                  <a:ext uri="{FF2B5EF4-FFF2-40B4-BE49-F238E27FC236}">
                    <a16:creationId xmlns:a16="http://schemas.microsoft.com/office/drawing/2014/main" id="{C380A912-FD6C-F83E-DC0B-A82DB9869BA2}"/>
                  </a:ext>
                </a:extLst>
              </p:cNvPr>
              <p:cNvSpPr>
                <a:spLocks/>
              </p:cNvSpPr>
              <p:nvPr/>
            </p:nvSpPr>
            <p:spPr bwMode="gray">
              <a:xfrm>
                <a:off x="4569182" y="3841646"/>
                <a:ext cx="205258" cy="207514"/>
              </a:xfrm>
              <a:custGeom>
                <a:avLst/>
                <a:gdLst>
                  <a:gd name="T0" fmla="*/ 151 w 182"/>
                  <a:gd name="T1" fmla="*/ 147 h 184"/>
                  <a:gd name="T2" fmla="*/ 124 w 182"/>
                  <a:gd name="T3" fmla="*/ 124 h 184"/>
                  <a:gd name="T4" fmla="*/ 98 w 182"/>
                  <a:gd name="T5" fmla="*/ 103 h 184"/>
                  <a:gd name="T6" fmla="*/ 92 w 182"/>
                  <a:gd name="T7" fmla="*/ 111 h 184"/>
                  <a:gd name="T8" fmla="*/ 90 w 182"/>
                  <a:gd name="T9" fmla="*/ 113 h 184"/>
                  <a:gd name="T10" fmla="*/ 80 w 182"/>
                  <a:gd name="T11" fmla="*/ 178 h 184"/>
                  <a:gd name="T12" fmla="*/ 73 w 182"/>
                  <a:gd name="T13" fmla="*/ 184 h 184"/>
                  <a:gd name="T14" fmla="*/ 67 w 182"/>
                  <a:gd name="T15" fmla="*/ 176 h 184"/>
                  <a:gd name="T16" fmla="*/ 57 w 182"/>
                  <a:gd name="T17" fmla="*/ 170 h 184"/>
                  <a:gd name="T18" fmla="*/ 53 w 182"/>
                  <a:gd name="T19" fmla="*/ 165 h 184"/>
                  <a:gd name="T20" fmla="*/ 48 w 182"/>
                  <a:gd name="T21" fmla="*/ 165 h 184"/>
                  <a:gd name="T22" fmla="*/ 44 w 182"/>
                  <a:gd name="T23" fmla="*/ 159 h 184"/>
                  <a:gd name="T24" fmla="*/ 46 w 182"/>
                  <a:gd name="T25" fmla="*/ 149 h 184"/>
                  <a:gd name="T26" fmla="*/ 38 w 182"/>
                  <a:gd name="T27" fmla="*/ 147 h 184"/>
                  <a:gd name="T28" fmla="*/ 28 w 182"/>
                  <a:gd name="T29" fmla="*/ 147 h 184"/>
                  <a:gd name="T30" fmla="*/ 21 w 182"/>
                  <a:gd name="T31" fmla="*/ 147 h 184"/>
                  <a:gd name="T32" fmla="*/ 11 w 182"/>
                  <a:gd name="T33" fmla="*/ 146 h 184"/>
                  <a:gd name="T34" fmla="*/ 3 w 182"/>
                  <a:gd name="T35" fmla="*/ 124 h 184"/>
                  <a:gd name="T36" fmla="*/ 3 w 182"/>
                  <a:gd name="T37" fmla="*/ 115 h 184"/>
                  <a:gd name="T38" fmla="*/ 5 w 182"/>
                  <a:gd name="T39" fmla="*/ 94 h 184"/>
                  <a:gd name="T40" fmla="*/ 30 w 182"/>
                  <a:gd name="T41" fmla="*/ 107 h 184"/>
                  <a:gd name="T42" fmla="*/ 32 w 182"/>
                  <a:gd name="T43" fmla="*/ 105 h 184"/>
                  <a:gd name="T44" fmla="*/ 32 w 182"/>
                  <a:gd name="T45" fmla="*/ 101 h 184"/>
                  <a:gd name="T46" fmla="*/ 32 w 182"/>
                  <a:gd name="T47" fmla="*/ 97 h 184"/>
                  <a:gd name="T48" fmla="*/ 34 w 182"/>
                  <a:gd name="T49" fmla="*/ 94 h 184"/>
                  <a:gd name="T50" fmla="*/ 34 w 182"/>
                  <a:gd name="T51" fmla="*/ 88 h 184"/>
                  <a:gd name="T52" fmla="*/ 19 w 182"/>
                  <a:gd name="T53" fmla="*/ 61 h 184"/>
                  <a:gd name="T54" fmla="*/ 46 w 182"/>
                  <a:gd name="T55" fmla="*/ 65 h 184"/>
                  <a:gd name="T56" fmla="*/ 76 w 182"/>
                  <a:gd name="T57" fmla="*/ 21 h 184"/>
                  <a:gd name="T58" fmla="*/ 88 w 182"/>
                  <a:gd name="T59" fmla="*/ 7 h 184"/>
                  <a:gd name="T60" fmla="*/ 107 w 182"/>
                  <a:gd name="T61" fmla="*/ 19 h 184"/>
                  <a:gd name="T62" fmla="*/ 98 w 182"/>
                  <a:gd name="T63" fmla="*/ 32 h 184"/>
                  <a:gd name="T64" fmla="*/ 126 w 182"/>
                  <a:gd name="T65" fmla="*/ 57 h 184"/>
                  <a:gd name="T66" fmla="*/ 153 w 182"/>
                  <a:gd name="T67" fmla="*/ 82 h 184"/>
                  <a:gd name="T68" fmla="*/ 182 w 182"/>
                  <a:gd name="T69" fmla="*/ 130 h 184"/>
                  <a:gd name="T70" fmla="*/ 151 w 182"/>
                  <a:gd name="T71" fmla="*/ 14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184">
                    <a:moveTo>
                      <a:pt x="151" y="149"/>
                    </a:moveTo>
                    <a:lnTo>
                      <a:pt x="151" y="147"/>
                    </a:lnTo>
                    <a:lnTo>
                      <a:pt x="146" y="144"/>
                    </a:lnTo>
                    <a:lnTo>
                      <a:pt x="124" y="124"/>
                    </a:lnTo>
                    <a:lnTo>
                      <a:pt x="105" y="111"/>
                    </a:lnTo>
                    <a:lnTo>
                      <a:pt x="98" y="103"/>
                    </a:lnTo>
                    <a:lnTo>
                      <a:pt x="96" y="105"/>
                    </a:lnTo>
                    <a:lnTo>
                      <a:pt x="92" y="111"/>
                    </a:lnTo>
                    <a:lnTo>
                      <a:pt x="90" y="111"/>
                    </a:lnTo>
                    <a:lnTo>
                      <a:pt x="90" y="113"/>
                    </a:lnTo>
                    <a:lnTo>
                      <a:pt x="113" y="138"/>
                    </a:lnTo>
                    <a:lnTo>
                      <a:pt x="80" y="178"/>
                    </a:lnTo>
                    <a:lnTo>
                      <a:pt x="76" y="182"/>
                    </a:lnTo>
                    <a:lnTo>
                      <a:pt x="73" y="184"/>
                    </a:lnTo>
                    <a:lnTo>
                      <a:pt x="65" y="178"/>
                    </a:lnTo>
                    <a:lnTo>
                      <a:pt x="67" y="176"/>
                    </a:lnTo>
                    <a:lnTo>
                      <a:pt x="59" y="169"/>
                    </a:lnTo>
                    <a:lnTo>
                      <a:pt x="57" y="170"/>
                    </a:lnTo>
                    <a:lnTo>
                      <a:pt x="51" y="167"/>
                    </a:lnTo>
                    <a:lnTo>
                      <a:pt x="53" y="165"/>
                    </a:lnTo>
                    <a:lnTo>
                      <a:pt x="50" y="163"/>
                    </a:lnTo>
                    <a:lnTo>
                      <a:pt x="48" y="165"/>
                    </a:lnTo>
                    <a:lnTo>
                      <a:pt x="44" y="161"/>
                    </a:lnTo>
                    <a:lnTo>
                      <a:pt x="44" y="159"/>
                    </a:lnTo>
                    <a:lnTo>
                      <a:pt x="40" y="155"/>
                    </a:lnTo>
                    <a:lnTo>
                      <a:pt x="46" y="149"/>
                    </a:lnTo>
                    <a:lnTo>
                      <a:pt x="42" y="149"/>
                    </a:lnTo>
                    <a:lnTo>
                      <a:pt x="38" y="147"/>
                    </a:lnTo>
                    <a:lnTo>
                      <a:pt x="40" y="146"/>
                    </a:lnTo>
                    <a:lnTo>
                      <a:pt x="28" y="147"/>
                    </a:lnTo>
                    <a:lnTo>
                      <a:pt x="28" y="146"/>
                    </a:lnTo>
                    <a:lnTo>
                      <a:pt x="21" y="147"/>
                    </a:lnTo>
                    <a:lnTo>
                      <a:pt x="17" y="144"/>
                    </a:lnTo>
                    <a:lnTo>
                      <a:pt x="11" y="146"/>
                    </a:lnTo>
                    <a:lnTo>
                      <a:pt x="0" y="130"/>
                    </a:lnTo>
                    <a:lnTo>
                      <a:pt x="3" y="124"/>
                    </a:lnTo>
                    <a:lnTo>
                      <a:pt x="0" y="122"/>
                    </a:lnTo>
                    <a:lnTo>
                      <a:pt x="3" y="115"/>
                    </a:lnTo>
                    <a:lnTo>
                      <a:pt x="0" y="103"/>
                    </a:lnTo>
                    <a:lnTo>
                      <a:pt x="5" y="94"/>
                    </a:lnTo>
                    <a:lnTo>
                      <a:pt x="28" y="107"/>
                    </a:lnTo>
                    <a:lnTo>
                      <a:pt x="30" y="107"/>
                    </a:lnTo>
                    <a:lnTo>
                      <a:pt x="32" y="107"/>
                    </a:lnTo>
                    <a:lnTo>
                      <a:pt x="32" y="105"/>
                    </a:lnTo>
                    <a:lnTo>
                      <a:pt x="32" y="103"/>
                    </a:lnTo>
                    <a:lnTo>
                      <a:pt x="32" y="101"/>
                    </a:lnTo>
                    <a:lnTo>
                      <a:pt x="34" y="101"/>
                    </a:lnTo>
                    <a:lnTo>
                      <a:pt x="32" y="97"/>
                    </a:lnTo>
                    <a:lnTo>
                      <a:pt x="34" y="96"/>
                    </a:lnTo>
                    <a:lnTo>
                      <a:pt x="34" y="94"/>
                    </a:lnTo>
                    <a:lnTo>
                      <a:pt x="30" y="92"/>
                    </a:lnTo>
                    <a:lnTo>
                      <a:pt x="34" y="88"/>
                    </a:lnTo>
                    <a:lnTo>
                      <a:pt x="13" y="71"/>
                    </a:lnTo>
                    <a:lnTo>
                      <a:pt x="19" y="61"/>
                    </a:lnTo>
                    <a:lnTo>
                      <a:pt x="36" y="74"/>
                    </a:lnTo>
                    <a:lnTo>
                      <a:pt x="46" y="65"/>
                    </a:lnTo>
                    <a:lnTo>
                      <a:pt x="53" y="51"/>
                    </a:lnTo>
                    <a:lnTo>
                      <a:pt x="76" y="21"/>
                    </a:lnTo>
                    <a:lnTo>
                      <a:pt x="80" y="21"/>
                    </a:lnTo>
                    <a:lnTo>
                      <a:pt x="88" y="7"/>
                    </a:lnTo>
                    <a:lnTo>
                      <a:pt x="98" y="0"/>
                    </a:lnTo>
                    <a:lnTo>
                      <a:pt x="107" y="19"/>
                    </a:lnTo>
                    <a:lnTo>
                      <a:pt x="103" y="24"/>
                    </a:lnTo>
                    <a:lnTo>
                      <a:pt x="98" y="32"/>
                    </a:lnTo>
                    <a:lnTo>
                      <a:pt x="101" y="34"/>
                    </a:lnTo>
                    <a:lnTo>
                      <a:pt x="126" y="57"/>
                    </a:lnTo>
                    <a:lnTo>
                      <a:pt x="147" y="76"/>
                    </a:lnTo>
                    <a:lnTo>
                      <a:pt x="153" y="82"/>
                    </a:lnTo>
                    <a:lnTo>
                      <a:pt x="159" y="94"/>
                    </a:lnTo>
                    <a:lnTo>
                      <a:pt x="182" y="130"/>
                    </a:lnTo>
                    <a:lnTo>
                      <a:pt x="163" y="140"/>
                    </a:lnTo>
                    <a:lnTo>
                      <a:pt x="151" y="1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23">
                <a:extLst>
                  <a:ext uri="{FF2B5EF4-FFF2-40B4-BE49-F238E27FC236}">
                    <a16:creationId xmlns:a16="http://schemas.microsoft.com/office/drawing/2014/main" id="{A4358B5A-4E86-2D7E-0B55-05D81F8FDE4E}"/>
                  </a:ext>
                </a:extLst>
              </p:cNvPr>
              <p:cNvSpPr>
                <a:spLocks/>
              </p:cNvSpPr>
              <p:nvPr/>
            </p:nvSpPr>
            <p:spPr bwMode="gray">
              <a:xfrm>
                <a:off x="4555648" y="3635259"/>
                <a:ext cx="500740" cy="448862"/>
              </a:xfrm>
              <a:custGeom>
                <a:avLst/>
                <a:gdLst>
                  <a:gd name="T0" fmla="*/ 434 w 444"/>
                  <a:gd name="T1" fmla="*/ 294 h 398"/>
                  <a:gd name="T2" fmla="*/ 440 w 444"/>
                  <a:gd name="T3" fmla="*/ 321 h 398"/>
                  <a:gd name="T4" fmla="*/ 421 w 444"/>
                  <a:gd name="T5" fmla="*/ 375 h 398"/>
                  <a:gd name="T6" fmla="*/ 311 w 444"/>
                  <a:gd name="T7" fmla="*/ 378 h 398"/>
                  <a:gd name="T8" fmla="*/ 238 w 444"/>
                  <a:gd name="T9" fmla="*/ 390 h 398"/>
                  <a:gd name="T10" fmla="*/ 234 w 444"/>
                  <a:gd name="T11" fmla="*/ 367 h 398"/>
                  <a:gd name="T12" fmla="*/ 236 w 444"/>
                  <a:gd name="T13" fmla="*/ 350 h 398"/>
                  <a:gd name="T14" fmla="*/ 244 w 444"/>
                  <a:gd name="T15" fmla="*/ 344 h 398"/>
                  <a:gd name="T16" fmla="*/ 250 w 444"/>
                  <a:gd name="T17" fmla="*/ 348 h 398"/>
                  <a:gd name="T18" fmla="*/ 273 w 444"/>
                  <a:gd name="T19" fmla="*/ 350 h 398"/>
                  <a:gd name="T20" fmla="*/ 298 w 444"/>
                  <a:gd name="T21" fmla="*/ 344 h 398"/>
                  <a:gd name="T22" fmla="*/ 290 w 444"/>
                  <a:gd name="T23" fmla="*/ 338 h 398"/>
                  <a:gd name="T24" fmla="*/ 313 w 444"/>
                  <a:gd name="T25" fmla="*/ 344 h 398"/>
                  <a:gd name="T26" fmla="*/ 327 w 444"/>
                  <a:gd name="T27" fmla="*/ 348 h 398"/>
                  <a:gd name="T28" fmla="*/ 340 w 444"/>
                  <a:gd name="T29" fmla="*/ 350 h 398"/>
                  <a:gd name="T30" fmla="*/ 351 w 444"/>
                  <a:gd name="T31" fmla="*/ 340 h 398"/>
                  <a:gd name="T32" fmla="*/ 340 w 444"/>
                  <a:gd name="T33" fmla="*/ 340 h 398"/>
                  <a:gd name="T34" fmla="*/ 328 w 444"/>
                  <a:gd name="T35" fmla="*/ 338 h 398"/>
                  <a:gd name="T36" fmla="*/ 319 w 444"/>
                  <a:gd name="T37" fmla="*/ 332 h 398"/>
                  <a:gd name="T38" fmla="*/ 305 w 444"/>
                  <a:gd name="T39" fmla="*/ 321 h 398"/>
                  <a:gd name="T40" fmla="*/ 298 w 444"/>
                  <a:gd name="T41" fmla="*/ 323 h 398"/>
                  <a:gd name="T42" fmla="*/ 294 w 444"/>
                  <a:gd name="T43" fmla="*/ 313 h 398"/>
                  <a:gd name="T44" fmla="*/ 298 w 444"/>
                  <a:gd name="T45" fmla="*/ 300 h 398"/>
                  <a:gd name="T46" fmla="*/ 296 w 444"/>
                  <a:gd name="T47" fmla="*/ 284 h 398"/>
                  <a:gd name="T48" fmla="*/ 288 w 444"/>
                  <a:gd name="T49" fmla="*/ 284 h 398"/>
                  <a:gd name="T50" fmla="*/ 277 w 444"/>
                  <a:gd name="T51" fmla="*/ 282 h 398"/>
                  <a:gd name="T52" fmla="*/ 263 w 444"/>
                  <a:gd name="T53" fmla="*/ 282 h 398"/>
                  <a:gd name="T54" fmla="*/ 257 w 444"/>
                  <a:gd name="T55" fmla="*/ 292 h 398"/>
                  <a:gd name="T56" fmla="*/ 259 w 444"/>
                  <a:gd name="T57" fmla="*/ 300 h 398"/>
                  <a:gd name="T58" fmla="*/ 254 w 444"/>
                  <a:gd name="T59" fmla="*/ 296 h 398"/>
                  <a:gd name="T60" fmla="*/ 252 w 444"/>
                  <a:gd name="T61" fmla="*/ 305 h 398"/>
                  <a:gd name="T62" fmla="*/ 252 w 444"/>
                  <a:gd name="T63" fmla="*/ 315 h 398"/>
                  <a:gd name="T64" fmla="*/ 246 w 444"/>
                  <a:gd name="T65" fmla="*/ 319 h 398"/>
                  <a:gd name="T66" fmla="*/ 227 w 444"/>
                  <a:gd name="T67" fmla="*/ 330 h 398"/>
                  <a:gd name="T68" fmla="*/ 213 w 444"/>
                  <a:gd name="T69" fmla="*/ 350 h 398"/>
                  <a:gd name="T70" fmla="*/ 215 w 444"/>
                  <a:gd name="T71" fmla="*/ 367 h 398"/>
                  <a:gd name="T72" fmla="*/ 219 w 444"/>
                  <a:gd name="T73" fmla="*/ 398 h 398"/>
                  <a:gd name="T74" fmla="*/ 186 w 444"/>
                  <a:gd name="T75" fmla="*/ 384 h 398"/>
                  <a:gd name="T76" fmla="*/ 175 w 444"/>
                  <a:gd name="T77" fmla="*/ 346 h 398"/>
                  <a:gd name="T78" fmla="*/ 175 w 444"/>
                  <a:gd name="T79" fmla="*/ 323 h 398"/>
                  <a:gd name="T80" fmla="*/ 165 w 444"/>
                  <a:gd name="T81" fmla="*/ 265 h 398"/>
                  <a:gd name="T82" fmla="*/ 113 w 444"/>
                  <a:gd name="T83" fmla="*/ 217 h 398"/>
                  <a:gd name="T84" fmla="*/ 119 w 444"/>
                  <a:gd name="T85" fmla="*/ 202 h 398"/>
                  <a:gd name="T86" fmla="*/ 92 w 444"/>
                  <a:gd name="T87" fmla="*/ 204 h 398"/>
                  <a:gd name="T88" fmla="*/ 58 w 444"/>
                  <a:gd name="T89" fmla="*/ 248 h 398"/>
                  <a:gd name="T90" fmla="*/ 15 w 444"/>
                  <a:gd name="T91" fmla="*/ 223 h 398"/>
                  <a:gd name="T92" fmla="*/ 14 w 444"/>
                  <a:gd name="T93" fmla="*/ 181 h 398"/>
                  <a:gd name="T94" fmla="*/ 65 w 444"/>
                  <a:gd name="T95" fmla="*/ 136 h 398"/>
                  <a:gd name="T96" fmla="*/ 92 w 444"/>
                  <a:gd name="T97" fmla="*/ 123 h 398"/>
                  <a:gd name="T98" fmla="*/ 184 w 444"/>
                  <a:gd name="T99" fmla="*/ 40 h 398"/>
                  <a:gd name="T100" fmla="*/ 204 w 444"/>
                  <a:gd name="T101" fmla="*/ 4 h 398"/>
                  <a:gd name="T102" fmla="*/ 244 w 444"/>
                  <a:gd name="T103" fmla="*/ 21 h 398"/>
                  <a:gd name="T104" fmla="*/ 265 w 444"/>
                  <a:gd name="T105" fmla="*/ 31 h 398"/>
                  <a:gd name="T106" fmla="*/ 332 w 444"/>
                  <a:gd name="T107" fmla="*/ 119 h 398"/>
                  <a:gd name="T108" fmla="*/ 330 w 444"/>
                  <a:gd name="T109" fmla="*/ 158 h 398"/>
                  <a:gd name="T110" fmla="*/ 332 w 444"/>
                  <a:gd name="T111" fmla="*/ 207 h 398"/>
                  <a:gd name="T112" fmla="*/ 375 w 444"/>
                  <a:gd name="T113" fmla="*/ 248 h 398"/>
                  <a:gd name="T114" fmla="*/ 424 w 444"/>
                  <a:gd name="T115" fmla="*/ 27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4" h="398">
                    <a:moveTo>
                      <a:pt x="424" y="279"/>
                    </a:moveTo>
                    <a:lnTo>
                      <a:pt x="430" y="286"/>
                    </a:lnTo>
                    <a:lnTo>
                      <a:pt x="434" y="294"/>
                    </a:lnTo>
                    <a:lnTo>
                      <a:pt x="434" y="309"/>
                    </a:lnTo>
                    <a:lnTo>
                      <a:pt x="434" y="313"/>
                    </a:lnTo>
                    <a:lnTo>
                      <a:pt x="440" y="321"/>
                    </a:lnTo>
                    <a:lnTo>
                      <a:pt x="444" y="325"/>
                    </a:lnTo>
                    <a:lnTo>
                      <a:pt x="442" y="375"/>
                    </a:lnTo>
                    <a:lnTo>
                      <a:pt x="421" y="375"/>
                    </a:lnTo>
                    <a:lnTo>
                      <a:pt x="380" y="377"/>
                    </a:lnTo>
                    <a:lnTo>
                      <a:pt x="359" y="377"/>
                    </a:lnTo>
                    <a:lnTo>
                      <a:pt x="311" y="378"/>
                    </a:lnTo>
                    <a:lnTo>
                      <a:pt x="290" y="378"/>
                    </a:lnTo>
                    <a:lnTo>
                      <a:pt x="238" y="392"/>
                    </a:lnTo>
                    <a:lnTo>
                      <a:pt x="238" y="390"/>
                    </a:lnTo>
                    <a:lnTo>
                      <a:pt x="236" y="382"/>
                    </a:lnTo>
                    <a:lnTo>
                      <a:pt x="234" y="375"/>
                    </a:lnTo>
                    <a:lnTo>
                      <a:pt x="234" y="367"/>
                    </a:lnTo>
                    <a:lnTo>
                      <a:pt x="234" y="363"/>
                    </a:lnTo>
                    <a:lnTo>
                      <a:pt x="234" y="357"/>
                    </a:lnTo>
                    <a:lnTo>
                      <a:pt x="236" y="350"/>
                    </a:lnTo>
                    <a:lnTo>
                      <a:pt x="238" y="348"/>
                    </a:lnTo>
                    <a:lnTo>
                      <a:pt x="240" y="346"/>
                    </a:lnTo>
                    <a:lnTo>
                      <a:pt x="244" y="344"/>
                    </a:lnTo>
                    <a:lnTo>
                      <a:pt x="246" y="344"/>
                    </a:lnTo>
                    <a:lnTo>
                      <a:pt x="248" y="346"/>
                    </a:lnTo>
                    <a:lnTo>
                      <a:pt x="250" y="348"/>
                    </a:lnTo>
                    <a:lnTo>
                      <a:pt x="250" y="350"/>
                    </a:lnTo>
                    <a:lnTo>
                      <a:pt x="269" y="350"/>
                    </a:lnTo>
                    <a:lnTo>
                      <a:pt x="273" y="350"/>
                    </a:lnTo>
                    <a:lnTo>
                      <a:pt x="279" y="350"/>
                    </a:lnTo>
                    <a:lnTo>
                      <a:pt x="284" y="348"/>
                    </a:lnTo>
                    <a:lnTo>
                      <a:pt x="298" y="344"/>
                    </a:lnTo>
                    <a:lnTo>
                      <a:pt x="296" y="340"/>
                    </a:lnTo>
                    <a:lnTo>
                      <a:pt x="292" y="340"/>
                    </a:lnTo>
                    <a:lnTo>
                      <a:pt x="290" y="338"/>
                    </a:lnTo>
                    <a:lnTo>
                      <a:pt x="300" y="334"/>
                    </a:lnTo>
                    <a:lnTo>
                      <a:pt x="303" y="346"/>
                    </a:lnTo>
                    <a:lnTo>
                      <a:pt x="313" y="344"/>
                    </a:lnTo>
                    <a:lnTo>
                      <a:pt x="313" y="342"/>
                    </a:lnTo>
                    <a:lnTo>
                      <a:pt x="317" y="344"/>
                    </a:lnTo>
                    <a:lnTo>
                      <a:pt x="327" y="348"/>
                    </a:lnTo>
                    <a:lnTo>
                      <a:pt x="330" y="350"/>
                    </a:lnTo>
                    <a:lnTo>
                      <a:pt x="332" y="350"/>
                    </a:lnTo>
                    <a:lnTo>
                      <a:pt x="340" y="350"/>
                    </a:lnTo>
                    <a:lnTo>
                      <a:pt x="346" y="350"/>
                    </a:lnTo>
                    <a:lnTo>
                      <a:pt x="350" y="350"/>
                    </a:lnTo>
                    <a:lnTo>
                      <a:pt x="351" y="340"/>
                    </a:lnTo>
                    <a:lnTo>
                      <a:pt x="350" y="340"/>
                    </a:lnTo>
                    <a:lnTo>
                      <a:pt x="346" y="340"/>
                    </a:lnTo>
                    <a:lnTo>
                      <a:pt x="340" y="340"/>
                    </a:lnTo>
                    <a:lnTo>
                      <a:pt x="334" y="340"/>
                    </a:lnTo>
                    <a:lnTo>
                      <a:pt x="332" y="338"/>
                    </a:lnTo>
                    <a:lnTo>
                      <a:pt x="328" y="338"/>
                    </a:lnTo>
                    <a:lnTo>
                      <a:pt x="327" y="336"/>
                    </a:lnTo>
                    <a:lnTo>
                      <a:pt x="323" y="334"/>
                    </a:lnTo>
                    <a:lnTo>
                      <a:pt x="319" y="332"/>
                    </a:lnTo>
                    <a:lnTo>
                      <a:pt x="313" y="329"/>
                    </a:lnTo>
                    <a:lnTo>
                      <a:pt x="311" y="327"/>
                    </a:lnTo>
                    <a:lnTo>
                      <a:pt x="305" y="321"/>
                    </a:lnTo>
                    <a:lnTo>
                      <a:pt x="302" y="323"/>
                    </a:lnTo>
                    <a:lnTo>
                      <a:pt x="300" y="323"/>
                    </a:lnTo>
                    <a:lnTo>
                      <a:pt x="298" y="323"/>
                    </a:lnTo>
                    <a:lnTo>
                      <a:pt x="294" y="321"/>
                    </a:lnTo>
                    <a:lnTo>
                      <a:pt x="292" y="315"/>
                    </a:lnTo>
                    <a:lnTo>
                      <a:pt x="294" y="313"/>
                    </a:lnTo>
                    <a:lnTo>
                      <a:pt x="296" y="311"/>
                    </a:lnTo>
                    <a:lnTo>
                      <a:pt x="302" y="309"/>
                    </a:lnTo>
                    <a:lnTo>
                      <a:pt x="298" y="300"/>
                    </a:lnTo>
                    <a:lnTo>
                      <a:pt x="296" y="296"/>
                    </a:lnTo>
                    <a:lnTo>
                      <a:pt x="296" y="290"/>
                    </a:lnTo>
                    <a:lnTo>
                      <a:pt x="296" y="284"/>
                    </a:lnTo>
                    <a:lnTo>
                      <a:pt x="294" y="282"/>
                    </a:lnTo>
                    <a:lnTo>
                      <a:pt x="292" y="286"/>
                    </a:lnTo>
                    <a:lnTo>
                      <a:pt x="288" y="284"/>
                    </a:lnTo>
                    <a:lnTo>
                      <a:pt x="290" y="280"/>
                    </a:lnTo>
                    <a:lnTo>
                      <a:pt x="284" y="280"/>
                    </a:lnTo>
                    <a:lnTo>
                      <a:pt x="277" y="282"/>
                    </a:lnTo>
                    <a:lnTo>
                      <a:pt x="271" y="284"/>
                    </a:lnTo>
                    <a:lnTo>
                      <a:pt x="269" y="282"/>
                    </a:lnTo>
                    <a:lnTo>
                      <a:pt x="263" y="282"/>
                    </a:lnTo>
                    <a:lnTo>
                      <a:pt x="261" y="284"/>
                    </a:lnTo>
                    <a:lnTo>
                      <a:pt x="257" y="288"/>
                    </a:lnTo>
                    <a:lnTo>
                      <a:pt x="257" y="292"/>
                    </a:lnTo>
                    <a:lnTo>
                      <a:pt x="259" y="294"/>
                    </a:lnTo>
                    <a:lnTo>
                      <a:pt x="259" y="296"/>
                    </a:lnTo>
                    <a:lnTo>
                      <a:pt x="259" y="300"/>
                    </a:lnTo>
                    <a:lnTo>
                      <a:pt x="257" y="300"/>
                    </a:lnTo>
                    <a:lnTo>
                      <a:pt x="257" y="296"/>
                    </a:lnTo>
                    <a:lnTo>
                      <a:pt x="254" y="296"/>
                    </a:lnTo>
                    <a:lnTo>
                      <a:pt x="252" y="296"/>
                    </a:lnTo>
                    <a:lnTo>
                      <a:pt x="252" y="300"/>
                    </a:lnTo>
                    <a:lnTo>
                      <a:pt x="252" y="305"/>
                    </a:lnTo>
                    <a:lnTo>
                      <a:pt x="252" y="309"/>
                    </a:lnTo>
                    <a:lnTo>
                      <a:pt x="254" y="311"/>
                    </a:lnTo>
                    <a:lnTo>
                      <a:pt x="252" y="315"/>
                    </a:lnTo>
                    <a:lnTo>
                      <a:pt x="250" y="317"/>
                    </a:lnTo>
                    <a:lnTo>
                      <a:pt x="246" y="317"/>
                    </a:lnTo>
                    <a:lnTo>
                      <a:pt x="246" y="319"/>
                    </a:lnTo>
                    <a:lnTo>
                      <a:pt x="242" y="317"/>
                    </a:lnTo>
                    <a:lnTo>
                      <a:pt x="232" y="327"/>
                    </a:lnTo>
                    <a:lnTo>
                      <a:pt x="227" y="330"/>
                    </a:lnTo>
                    <a:lnTo>
                      <a:pt x="223" y="334"/>
                    </a:lnTo>
                    <a:lnTo>
                      <a:pt x="217" y="344"/>
                    </a:lnTo>
                    <a:lnTo>
                      <a:pt x="213" y="350"/>
                    </a:lnTo>
                    <a:lnTo>
                      <a:pt x="211" y="361"/>
                    </a:lnTo>
                    <a:lnTo>
                      <a:pt x="215" y="361"/>
                    </a:lnTo>
                    <a:lnTo>
                      <a:pt x="215" y="367"/>
                    </a:lnTo>
                    <a:lnTo>
                      <a:pt x="213" y="375"/>
                    </a:lnTo>
                    <a:lnTo>
                      <a:pt x="217" y="394"/>
                    </a:lnTo>
                    <a:lnTo>
                      <a:pt x="219" y="398"/>
                    </a:lnTo>
                    <a:lnTo>
                      <a:pt x="215" y="396"/>
                    </a:lnTo>
                    <a:lnTo>
                      <a:pt x="194" y="390"/>
                    </a:lnTo>
                    <a:lnTo>
                      <a:pt x="186" y="384"/>
                    </a:lnTo>
                    <a:lnTo>
                      <a:pt x="183" y="361"/>
                    </a:lnTo>
                    <a:lnTo>
                      <a:pt x="181" y="352"/>
                    </a:lnTo>
                    <a:lnTo>
                      <a:pt x="175" y="346"/>
                    </a:lnTo>
                    <a:lnTo>
                      <a:pt x="173" y="344"/>
                    </a:lnTo>
                    <a:lnTo>
                      <a:pt x="163" y="332"/>
                    </a:lnTo>
                    <a:lnTo>
                      <a:pt x="175" y="323"/>
                    </a:lnTo>
                    <a:lnTo>
                      <a:pt x="194" y="313"/>
                    </a:lnTo>
                    <a:lnTo>
                      <a:pt x="171" y="277"/>
                    </a:lnTo>
                    <a:lnTo>
                      <a:pt x="165" y="265"/>
                    </a:lnTo>
                    <a:lnTo>
                      <a:pt x="159" y="259"/>
                    </a:lnTo>
                    <a:lnTo>
                      <a:pt x="138" y="240"/>
                    </a:lnTo>
                    <a:lnTo>
                      <a:pt x="113" y="217"/>
                    </a:lnTo>
                    <a:lnTo>
                      <a:pt x="110" y="215"/>
                    </a:lnTo>
                    <a:lnTo>
                      <a:pt x="115" y="207"/>
                    </a:lnTo>
                    <a:lnTo>
                      <a:pt x="119" y="202"/>
                    </a:lnTo>
                    <a:lnTo>
                      <a:pt x="110" y="183"/>
                    </a:lnTo>
                    <a:lnTo>
                      <a:pt x="100" y="190"/>
                    </a:lnTo>
                    <a:lnTo>
                      <a:pt x="92" y="204"/>
                    </a:lnTo>
                    <a:lnTo>
                      <a:pt x="88" y="204"/>
                    </a:lnTo>
                    <a:lnTo>
                      <a:pt x="65" y="234"/>
                    </a:lnTo>
                    <a:lnTo>
                      <a:pt x="58" y="248"/>
                    </a:lnTo>
                    <a:lnTo>
                      <a:pt x="48" y="257"/>
                    </a:lnTo>
                    <a:lnTo>
                      <a:pt x="31" y="244"/>
                    </a:lnTo>
                    <a:lnTo>
                      <a:pt x="15" y="223"/>
                    </a:lnTo>
                    <a:lnTo>
                      <a:pt x="0" y="215"/>
                    </a:lnTo>
                    <a:lnTo>
                      <a:pt x="6" y="196"/>
                    </a:lnTo>
                    <a:lnTo>
                      <a:pt x="14" y="181"/>
                    </a:lnTo>
                    <a:lnTo>
                      <a:pt x="23" y="163"/>
                    </a:lnTo>
                    <a:lnTo>
                      <a:pt x="40" y="148"/>
                    </a:lnTo>
                    <a:lnTo>
                      <a:pt x="65" y="136"/>
                    </a:lnTo>
                    <a:lnTo>
                      <a:pt x="75" y="131"/>
                    </a:lnTo>
                    <a:lnTo>
                      <a:pt x="88" y="125"/>
                    </a:lnTo>
                    <a:lnTo>
                      <a:pt x="92" y="123"/>
                    </a:lnTo>
                    <a:lnTo>
                      <a:pt x="100" y="119"/>
                    </a:lnTo>
                    <a:lnTo>
                      <a:pt x="113" y="113"/>
                    </a:lnTo>
                    <a:lnTo>
                      <a:pt x="184" y="40"/>
                    </a:lnTo>
                    <a:lnTo>
                      <a:pt x="194" y="25"/>
                    </a:lnTo>
                    <a:lnTo>
                      <a:pt x="194" y="0"/>
                    </a:lnTo>
                    <a:lnTo>
                      <a:pt x="204" y="4"/>
                    </a:lnTo>
                    <a:lnTo>
                      <a:pt x="209" y="6"/>
                    </a:lnTo>
                    <a:lnTo>
                      <a:pt x="227" y="13"/>
                    </a:lnTo>
                    <a:lnTo>
                      <a:pt x="244" y="21"/>
                    </a:lnTo>
                    <a:lnTo>
                      <a:pt x="252" y="25"/>
                    </a:lnTo>
                    <a:lnTo>
                      <a:pt x="257" y="27"/>
                    </a:lnTo>
                    <a:lnTo>
                      <a:pt x="265" y="31"/>
                    </a:lnTo>
                    <a:lnTo>
                      <a:pt x="288" y="50"/>
                    </a:lnTo>
                    <a:lnTo>
                      <a:pt x="330" y="106"/>
                    </a:lnTo>
                    <a:lnTo>
                      <a:pt x="332" y="119"/>
                    </a:lnTo>
                    <a:lnTo>
                      <a:pt x="332" y="121"/>
                    </a:lnTo>
                    <a:lnTo>
                      <a:pt x="332" y="134"/>
                    </a:lnTo>
                    <a:lnTo>
                      <a:pt x="330" y="158"/>
                    </a:lnTo>
                    <a:lnTo>
                      <a:pt x="330" y="184"/>
                    </a:lnTo>
                    <a:lnTo>
                      <a:pt x="330" y="188"/>
                    </a:lnTo>
                    <a:lnTo>
                      <a:pt x="332" y="207"/>
                    </a:lnTo>
                    <a:lnTo>
                      <a:pt x="338" y="236"/>
                    </a:lnTo>
                    <a:lnTo>
                      <a:pt x="357" y="242"/>
                    </a:lnTo>
                    <a:lnTo>
                      <a:pt x="375" y="248"/>
                    </a:lnTo>
                    <a:lnTo>
                      <a:pt x="398" y="257"/>
                    </a:lnTo>
                    <a:lnTo>
                      <a:pt x="415" y="269"/>
                    </a:lnTo>
                    <a:lnTo>
                      <a:pt x="424" y="2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4">
                <a:extLst>
                  <a:ext uri="{FF2B5EF4-FFF2-40B4-BE49-F238E27FC236}">
                    <a16:creationId xmlns:a16="http://schemas.microsoft.com/office/drawing/2014/main" id="{84B8D263-FCB3-AEFD-7EE8-93DA80C0F54D}"/>
                  </a:ext>
                </a:extLst>
              </p:cNvPr>
              <p:cNvSpPr>
                <a:spLocks/>
              </p:cNvSpPr>
              <p:nvPr/>
            </p:nvSpPr>
            <p:spPr bwMode="gray">
              <a:xfrm>
                <a:off x="4341367" y="3793150"/>
                <a:ext cx="266159" cy="216536"/>
              </a:xfrm>
              <a:custGeom>
                <a:avLst/>
                <a:gdLst>
                  <a:gd name="T0" fmla="*/ 215 w 236"/>
                  <a:gd name="T1" fmla="*/ 114 h 192"/>
                  <a:gd name="T2" fmla="*/ 232 w 236"/>
                  <a:gd name="T3" fmla="*/ 135 h 192"/>
                  <a:gd name="T4" fmla="*/ 236 w 236"/>
                  <a:gd name="T5" fmla="*/ 139 h 192"/>
                  <a:gd name="T6" fmla="*/ 236 w 236"/>
                  <a:gd name="T7" fmla="*/ 144 h 192"/>
                  <a:gd name="T8" fmla="*/ 234 w 236"/>
                  <a:gd name="T9" fmla="*/ 146 h 192"/>
                  <a:gd name="T10" fmla="*/ 234 w 236"/>
                  <a:gd name="T11" fmla="*/ 150 h 192"/>
                  <a:gd name="T12" fmla="*/ 230 w 236"/>
                  <a:gd name="T13" fmla="*/ 150 h 192"/>
                  <a:gd name="T14" fmla="*/ 202 w 236"/>
                  <a:gd name="T15" fmla="*/ 146 h 192"/>
                  <a:gd name="T16" fmla="*/ 202 w 236"/>
                  <a:gd name="T17" fmla="*/ 165 h 192"/>
                  <a:gd name="T18" fmla="*/ 202 w 236"/>
                  <a:gd name="T19" fmla="*/ 173 h 192"/>
                  <a:gd name="T20" fmla="*/ 190 w 236"/>
                  <a:gd name="T21" fmla="*/ 192 h 192"/>
                  <a:gd name="T22" fmla="*/ 179 w 236"/>
                  <a:gd name="T23" fmla="*/ 179 h 192"/>
                  <a:gd name="T24" fmla="*/ 161 w 236"/>
                  <a:gd name="T25" fmla="*/ 164 h 192"/>
                  <a:gd name="T26" fmla="*/ 144 w 236"/>
                  <a:gd name="T27" fmla="*/ 156 h 192"/>
                  <a:gd name="T28" fmla="*/ 140 w 236"/>
                  <a:gd name="T29" fmla="*/ 165 h 192"/>
                  <a:gd name="T30" fmla="*/ 140 w 236"/>
                  <a:gd name="T31" fmla="*/ 173 h 192"/>
                  <a:gd name="T32" fmla="*/ 134 w 236"/>
                  <a:gd name="T33" fmla="*/ 169 h 192"/>
                  <a:gd name="T34" fmla="*/ 131 w 236"/>
                  <a:gd name="T35" fmla="*/ 167 h 192"/>
                  <a:gd name="T36" fmla="*/ 119 w 236"/>
                  <a:gd name="T37" fmla="*/ 164 h 192"/>
                  <a:gd name="T38" fmla="*/ 119 w 236"/>
                  <a:gd name="T39" fmla="*/ 148 h 192"/>
                  <a:gd name="T40" fmla="*/ 108 w 236"/>
                  <a:gd name="T41" fmla="*/ 142 h 192"/>
                  <a:gd name="T42" fmla="*/ 96 w 236"/>
                  <a:gd name="T43" fmla="*/ 144 h 192"/>
                  <a:gd name="T44" fmla="*/ 83 w 236"/>
                  <a:gd name="T45" fmla="*/ 139 h 192"/>
                  <a:gd name="T46" fmla="*/ 75 w 236"/>
                  <a:gd name="T47" fmla="*/ 127 h 192"/>
                  <a:gd name="T48" fmla="*/ 81 w 236"/>
                  <a:gd name="T49" fmla="*/ 123 h 192"/>
                  <a:gd name="T50" fmla="*/ 88 w 236"/>
                  <a:gd name="T51" fmla="*/ 119 h 192"/>
                  <a:gd name="T52" fmla="*/ 100 w 236"/>
                  <a:gd name="T53" fmla="*/ 116 h 192"/>
                  <a:gd name="T54" fmla="*/ 92 w 236"/>
                  <a:gd name="T55" fmla="*/ 98 h 192"/>
                  <a:gd name="T56" fmla="*/ 83 w 236"/>
                  <a:gd name="T57" fmla="*/ 87 h 192"/>
                  <a:gd name="T58" fmla="*/ 75 w 236"/>
                  <a:gd name="T59" fmla="*/ 92 h 192"/>
                  <a:gd name="T60" fmla="*/ 63 w 236"/>
                  <a:gd name="T61" fmla="*/ 100 h 192"/>
                  <a:gd name="T62" fmla="*/ 56 w 236"/>
                  <a:gd name="T63" fmla="*/ 104 h 192"/>
                  <a:gd name="T64" fmla="*/ 50 w 236"/>
                  <a:gd name="T65" fmla="*/ 114 h 192"/>
                  <a:gd name="T66" fmla="*/ 31 w 236"/>
                  <a:gd name="T67" fmla="*/ 104 h 192"/>
                  <a:gd name="T68" fmla="*/ 23 w 236"/>
                  <a:gd name="T69" fmla="*/ 106 h 192"/>
                  <a:gd name="T70" fmla="*/ 17 w 236"/>
                  <a:gd name="T71" fmla="*/ 102 h 192"/>
                  <a:gd name="T72" fmla="*/ 12 w 236"/>
                  <a:gd name="T73" fmla="*/ 102 h 192"/>
                  <a:gd name="T74" fmla="*/ 0 w 236"/>
                  <a:gd name="T75" fmla="*/ 91 h 192"/>
                  <a:gd name="T76" fmla="*/ 13 w 236"/>
                  <a:gd name="T77" fmla="*/ 60 h 192"/>
                  <a:gd name="T78" fmla="*/ 29 w 236"/>
                  <a:gd name="T79" fmla="*/ 54 h 192"/>
                  <a:gd name="T80" fmla="*/ 92 w 236"/>
                  <a:gd name="T81" fmla="*/ 0 h 192"/>
                  <a:gd name="T82" fmla="*/ 138 w 236"/>
                  <a:gd name="T83" fmla="*/ 50 h 192"/>
                  <a:gd name="T84" fmla="*/ 190 w 236"/>
                  <a:gd name="T85" fmla="*/ 75 h 192"/>
                  <a:gd name="T86" fmla="*/ 221 w 236"/>
                  <a:gd name="T87" fmla="*/ 10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6" h="192">
                    <a:moveTo>
                      <a:pt x="221" y="104"/>
                    </a:moveTo>
                    <a:lnTo>
                      <a:pt x="215" y="114"/>
                    </a:lnTo>
                    <a:lnTo>
                      <a:pt x="236" y="131"/>
                    </a:lnTo>
                    <a:lnTo>
                      <a:pt x="232" y="135"/>
                    </a:lnTo>
                    <a:lnTo>
                      <a:pt x="236" y="137"/>
                    </a:lnTo>
                    <a:lnTo>
                      <a:pt x="236" y="139"/>
                    </a:lnTo>
                    <a:lnTo>
                      <a:pt x="234" y="140"/>
                    </a:lnTo>
                    <a:lnTo>
                      <a:pt x="236" y="144"/>
                    </a:lnTo>
                    <a:lnTo>
                      <a:pt x="234" y="144"/>
                    </a:lnTo>
                    <a:lnTo>
                      <a:pt x="234" y="146"/>
                    </a:lnTo>
                    <a:lnTo>
                      <a:pt x="234" y="148"/>
                    </a:lnTo>
                    <a:lnTo>
                      <a:pt x="234" y="150"/>
                    </a:lnTo>
                    <a:lnTo>
                      <a:pt x="232" y="150"/>
                    </a:lnTo>
                    <a:lnTo>
                      <a:pt x="230" y="150"/>
                    </a:lnTo>
                    <a:lnTo>
                      <a:pt x="207" y="137"/>
                    </a:lnTo>
                    <a:lnTo>
                      <a:pt x="202" y="146"/>
                    </a:lnTo>
                    <a:lnTo>
                      <a:pt x="205" y="158"/>
                    </a:lnTo>
                    <a:lnTo>
                      <a:pt x="202" y="165"/>
                    </a:lnTo>
                    <a:lnTo>
                      <a:pt x="205" y="167"/>
                    </a:lnTo>
                    <a:lnTo>
                      <a:pt x="202" y="173"/>
                    </a:lnTo>
                    <a:lnTo>
                      <a:pt x="200" y="169"/>
                    </a:lnTo>
                    <a:lnTo>
                      <a:pt x="190" y="192"/>
                    </a:lnTo>
                    <a:lnTo>
                      <a:pt x="182" y="190"/>
                    </a:lnTo>
                    <a:lnTo>
                      <a:pt x="179" y="179"/>
                    </a:lnTo>
                    <a:lnTo>
                      <a:pt x="173" y="171"/>
                    </a:lnTo>
                    <a:lnTo>
                      <a:pt x="161" y="164"/>
                    </a:lnTo>
                    <a:lnTo>
                      <a:pt x="156" y="160"/>
                    </a:lnTo>
                    <a:lnTo>
                      <a:pt x="144" y="156"/>
                    </a:lnTo>
                    <a:lnTo>
                      <a:pt x="142" y="160"/>
                    </a:lnTo>
                    <a:lnTo>
                      <a:pt x="140" y="165"/>
                    </a:lnTo>
                    <a:lnTo>
                      <a:pt x="140" y="171"/>
                    </a:lnTo>
                    <a:lnTo>
                      <a:pt x="140" y="173"/>
                    </a:lnTo>
                    <a:lnTo>
                      <a:pt x="134" y="171"/>
                    </a:lnTo>
                    <a:lnTo>
                      <a:pt x="134" y="169"/>
                    </a:lnTo>
                    <a:lnTo>
                      <a:pt x="133" y="169"/>
                    </a:lnTo>
                    <a:lnTo>
                      <a:pt x="131" y="167"/>
                    </a:lnTo>
                    <a:lnTo>
                      <a:pt x="127" y="167"/>
                    </a:lnTo>
                    <a:lnTo>
                      <a:pt x="119" y="164"/>
                    </a:lnTo>
                    <a:lnTo>
                      <a:pt x="121" y="158"/>
                    </a:lnTo>
                    <a:lnTo>
                      <a:pt x="119" y="148"/>
                    </a:lnTo>
                    <a:lnTo>
                      <a:pt x="109" y="139"/>
                    </a:lnTo>
                    <a:lnTo>
                      <a:pt x="108" y="142"/>
                    </a:lnTo>
                    <a:lnTo>
                      <a:pt x="100" y="139"/>
                    </a:lnTo>
                    <a:lnTo>
                      <a:pt x="96" y="144"/>
                    </a:lnTo>
                    <a:lnTo>
                      <a:pt x="88" y="144"/>
                    </a:lnTo>
                    <a:lnTo>
                      <a:pt x="83" y="139"/>
                    </a:lnTo>
                    <a:lnTo>
                      <a:pt x="77" y="131"/>
                    </a:lnTo>
                    <a:lnTo>
                      <a:pt x="75" y="127"/>
                    </a:lnTo>
                    <a:lnTo>
                      <a:pt x="81" y="127"/>
                    </a:lnTo>
                    <a:lnTo>
                      <a:pt x="81" y="123"/>
                    </a:lnTo>
                    <a:lnTo>
                      <a:pt x="85" y="119"/>
                    </a:lnTo>
                    <a:lnTo>
                      <a:pt x="88" y="119"/>
                    </a:lnTo>
                    <a:lnTo>
                      <a:pt x="90" y="117"/>
                    </a:lnTo>
                    <a:lnTo>
                      <a:pt x="100" y="116"/>
                    </a:lnTo>
                    <a:lnTo>
                      <a:pt x="98" y="108"/>
                    </a:lnTo>
                    <a:lnTo>
                      <a:pt x="92" y="98"/>
                    </a:lnTo>
                    <a:lnTo>
                      <a:pt x="94" y="92"/>
                    </a:lnTo>
                    <a:lnTo>
                      <a:pt x="83" y="87"/>
                    </a:lnTo>
                    <a:lnTo>
                      <a:pt x="81" y="85"/>
                    </a:lnTo>
                    <a:lnTo>
                      <a:pt x="75" y="92"/>
                    </a:lnTo>
                    <a:lnTo>
                      <a:pt x="71" y="102"/>
                    </a:lnTo>
                    <a:lnTo>
                      <a:pt x="63" y="100"/>
                    </a:lnTo>
                    <a:lnTo>
                      <a:pt x="61" y="106"/>
                    </a:lnTo>
                    <a:lnTo>
                      <a:pt x="56" y="104"/>
                    </a:lnTo>
                    <a:lnTo>
                      <a:pt x="52" y="112"/>
                    </a:lnTo>
                    <a:lnTo>
                      <a:pt x="50" y="114"/>
                    </a:lnTo>
                    <a:lnTo>
                      <a:pt x="40" y="110"/>
                    </a:lnTo>
                    <a:lnTo>
                      <a:pt x="31" y="104"/>
                    </a:lnTo>
                    <a:lnTo>
                      <a:pt x="27" y="108"/>
                    </a:lnTo>
                    <a:lnTo>
                      <a:pt x="23" y="106"/>
                    </a:lnTo>
                    <a:lnTo>
                      <a:pt x="23" y="104"/>
                    </a:lnTo>
                    <a:lnTo>
                      <a:pt x="17" y="102"/>
                    </a:lnTo>
                    <a:lnTo>
                      <a:pt x="13" y="106"/>
                    </a:lnTo>
                    <a:lnTo>
                      <a:pt x="12" y="102"/>
                    </a:lnTo>
                    <a:lnTo>
                      <a:pt x="8" y="98"/>
                    </a:lnTo>
                    <a:lnTo>
                      <a:pt x="0" y="91"/>
                    </a:lnTo>
                    <a:lnTo>
                      <a:pt x="12" y="71"/>
                    </a:lnTo>
                    <a:lnTo>
                      <a:pt x="13" y="60"/>
                    </a:lnTo>
                    <a:lnTo>
                      <a:pt x="19" y="58"/>
                    </a:lnTo>
                    <a:lnTo>
                      <a:pt x="29" y="54"/>
                    </a:lnTo>
                    <a:lnTo>
                      <a:pt x="35" y="50"/>
                    </a:lnTo>
                    <a:lnTo>
                      <a:pt x="92" y="0"/>
                    </a:lnTo>
                    <a:lnTo>
                      <a:pt x="123" y="35"/>
                    </a:lnTo>
                    <a:lnTo>
                      <a:pt x="138" y="50"/>
                    </a:lnTo>
                    <a:lnTo>
                      <a:pt x="171" y="66"/>
                    </a:lnTo>
                    <a:lnTo>
                      <a:pt x="190" y="75"/>
                    </a:lnTo>
                    <a:lnTo>
                      <a:pt x="205" y="83"/>
                    </a:lnTo>
                    <a:lnTo>
                      <a:pt x="221" y="10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5" name="Freeform 25">
                <a:extLst>
                  <a:ext uri="{FF2B5EF4-FFF2-40B4-BE49-F238E27FC236}">
                    <a16:creationId xmlns:a16="http://schemas.microsoft.com/office/drawing/2014/main" id="{20295ECA-FFEC-A40E-2EFC-2989AC1E9C12}"/>
                  </a:ext>
                </a:extLst>
              </p:cNvPr>
              <p:cNvSpPr>
                <a:spLocks/>
              </p:cNvSpPr>
              <p:nvPr/>
            </p:nvSpPr>
            <p:spPr bwMode="gray">
              <a:xfrm>
                <a:off x="4296256" y="3889013"/>
                <a:ext cx="250370" cy="138719"/>
              </a:xfrm>
              <a:custGeom>
                <a:avLst/>
                <a:gdLst>
                  <a:gd name="T0" fmla="*/ 217 w 222"/>
                  <a:gd name="T1" fmla="*/ 104 h 123"/>
                  <a:gd name="T2" fmla="*/ 201 w 222"/>
                  <a:gd name="T3" fmla="*/ 105 h 123"/>
                  <a:gd name="T4" fmla="*/ 190 w 222"/>
                  <a:gd name="T5" fmla="*/ 111 h 123"/>
                  <a:gd name="T6" fmla="*/ 173 w 222"/>
                  <a:gd name="T7" fmla="*/ 123 h 123"/>
                  <a:gd name="T8" fmla="*/ 157 w 222"/>
                  <a:gd name="T9" fmla="*/ 107 h 123"/>
                  <a:gd name="T10" fmla="*/ 130 w 222"/>
                  <a:gd name="T11" fmla="*/ 100 h 123"/>
                  <a:gd name="T12" fmla="*/ 105 w 222"/>
                  <a:gd name="T13" fmla="*/ 79 h 123"/>
                  <a:gd name="T14" fmla="*/ 86 w 222"/>
                  <a:gd name="T15" fmla="*/ 61 h 123"/>
                  <a:gd name="T16" fmla="*/ 77 w 222"/>
                  <a:gd name="T17" fmla="*/ 57 h 123"/>
                  <a:gd name="T18" fmla="*/ 57 w 222"/>
                  <a:gd name="T19" fmla="*/ 54 h 123"/>
                  <a:gd name="T20" fmla="*/ 30 w 222"/>
                  <a:gd name="T21" fmla="*/ 71 h 123"/>
                  <a:gd name="T22" fmla="*/ 5 w 222"/>
                  <a:gd name="T23" fmla="*/ 77 h 123"/>
                  <a:gd name="T24" fmla="*/ 5 w 222"/>
                  <a:gd name="T25" fmla="*/ 61 h 123"/>
                  <a:gd name="T26" fmla="*/ 0 w 222"/>
                  <a:gd name="T27" fmla="*/ 52 h 123"/>
                  <a:gd name="T28" fmla="*/ 23 w 222"/>
                  <a:gd name="T29" fmla="*/ 46 h 123"/>
                  <a:gd name="T30" fmla="*/ 40 w 222"/>
                  <a:gd name="T31" fmla="*/ 34 h 123"/>
                  <a:gd name="T32" fmla="*/ 53 w 222"/>
                  <a:gd name="T33" fmla="*/ 21 h 123"/>
                  <a:gd name="T34" fmla="*/ 63 w 222"/>
                  <a:gd name="T35" fmla="*/ 19 h 123"/>
                  <a:gd name="T36" fmla="*/ 67 w 222"/>
                  <a:gd name="T37" fmla="*/ 23 h 123"/>
                  <a:gd name="T38" fmla="*/ 80 w 222"/>
                  <a:gd name="T39" fmla="*/ 25 h 123"/>
                  <a:gd name="T40" fmla="*/ 92 w 222"/>
                  <a:gd name="T41" fmla="*/ 27 h 123"/>
                  <a:gd name="T42" fmla="*/ 101 w 222"/>
                  <a:gd name="T43" fmla="*/ 21 h 123"/>
                  <a:gd name="T44" fmla="*/ 111 w 222"/>
                  <a:gd name="T45" fmla="*/ 17 h 123"/>
                  <a:gd name="T46" fmla="*/ 121 w 222"/>
                  <a:gd name="T47" fmla="*/ 0 h 123"/>
                  <a:gd name="T48" fmla="*/ 134 w 222"/>
                  <a:gd name="T49" fmla="*/ 7 h 123"/>
                  <a:gd name="T50" fmla="*/ 138 w 222"/>
                  <a:gd name="T51" fmla="*/ 23 h 123"/>
                  <a:gd name="T52" fmla="*/ 130 w 222"/>
                  <a:gd name="T53" fmla="*/ 32 h 123"/>
                  <a:gd name="T54" fmla="*/ 125 w 222"/>
                  <a:gd name="T55" fmla="*/ 34 h 123"/>
                  <a:gd name="T56" fmla="*/ 121 w 222"/>
                  <a:gd name="T57" fmla="*/ 42 h 123"/>
                  <a:gd name="T58" fmla="*/ 117 w 222"/>
                  <a:gd name="T59" fmla="*/ 46 h 123"/>
                  <a:gd name="T60" fmla="*/ 128 w 222"/>
                  <a:gd name="T61" fmla="*/ 59 h 123"/>
                  <a:gd name="T62" fmla="*/ 140 w 222"/>
                  <a:gd name="T63" fmla="*/ 54 h 123"/>
                  <a:gd name="T64" fmla="*/ 149 w 222"/>
                  <a:gd name="T65" fmla="*/ 54 h 123"/>
                  <a:gd name="T66" fmla="*/ 161 w 222"/>
                  <a:gd name="T67" fmla="*/ 73 h 123"/>
                  <a:gd name="T68" fmla="*/ 167 w 222"/>
                  <a:gd name="T69" fmla="*/ 82 h 123"/>
                  <a:gd name="T70" fmla="*/ 173 w 222"/>
                  <a:gd name="T71" fmla="*/ 84 h 123"/>
                  <a:gd name="T72" fmla="*/ 174 w 222"/>
                  <a:gd name="T73" fmla="*/ 86 h 123"/>
                  <a:gd name="T74" fmla="*/ 180 w 222"/>
                  <a:gd name="T75" fmla="*/ 86 h 123"/>
                  <a:gd name="T76" fmla="*/ 182 w 222"/>
                  <a:gd name="T77" fmla="*/ 75 h 123"/>
                  <a:gd name="T78" fmla="*/ 196 w 222"/>
                  <a:gd name="T79" fmla="*/ 75 h 123"/>
                  <a:gd name="T80" fmla="*/ 213 w 222"/>
                  <a:gd name="T81" fmla="*/ 86 h 123"/>
                  <a:gd name="T82" fmla="*/ 222 w 222"/>
                  <a:gd name="T83" fmla="*/ 10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123">
                    <a:moveTo>
                      <a:pt x="222" y="105"/>
                    </a:moveTo>
                    <a:lnTo>
                      <a:pt x="217" y="104"/>
                    </a:lnTo>
                    <a:lnTo>
                      <a:pt x="215" y="111"/>
                    </a:lnTo>
                    <a:lnTo>
                      <a:pt x="201" y="105"/>
                    </a:lnTo>
                    <a:lnTo>
                      <a:pt x="199" y="113"/>
                    </a:lnTo>
                    <a:lnTo>
                      <a:pt x="190" y="111"/>
                    </a:lnTo>
                    <a:lnTo>
                      <a:pt x="182" y="111"/>
                    </a:lnTo>
                    <a:lnTo>
                      <a:pt x="173" y="123"/>
                    </a:lnTo>
                    <a:lnTo>
                      <a:pt x="159" y="121"/>
                    </a:lnTo>
                    <a:lnTo>
                      <a:pt x="157" y="107"/>
                    </a:lnTo>
                    <a:lnTo>
                      <a:pt x="148" y="105"/>
                    </a:lnTo>
                    <a:lnTo>
                      <a:pt x="130" y="100"/>
                    </a:lnTo>
                    <a:lnTo>
                      <a:pt x="121" y="94"/>
                    </a:lnTo>
                    <a:lnTo>
                      <a:pt x="105" y="79"/>
                    </a:lnTo>
                    <a:lnTo>
                      <a:pt x="88" y="63"/>
                    </a:lnTo>
                    <a:lnTo>
                      <a:pt x="86" y="61"/>
                    </a:lnTo>
                    <a:lnTo>
                      <a:pt x="80" y="59"/>
                    </a:lnTo>
                    <a:lnTo>
                      <a:pt x="77" y="57"/>
                    </a:lnTo>
                    <a:lnTo>
                      <a:pt x="69" y="55"/>
                    </a:lnTo>
                    <a:lnTo>
                      <a:pt x="57" y="54"/>
                    </a:lnTo>
                    <a:lnTo>
                      <a:pt x="42" y="61"/>
                    </a:lnTo>
                    <a:lnTo>
                      <a:pt x="30" y="71"/>
                    </a:lnTo>
                    <a:lnTo>
                      <a:pt x="21" y="75"/>
                    </a:lnTo>
                    <a:lnTo>
                      <a:pt x="5" y="77"/>
                    </a:lnTo>
                    <a:lnTo>
                      <a:pt x="5" y="67"/>
                    </a:lnTo>
                    <a:lnTo>
                      <a:pt x="5" y="61"/>
                    </a:lnTo>
                    <a:lnTo>
                      <a:pt x="4" y="55"/>
                    </a:lnTo>
                    <a:lnTo>
                      <a:pt x="0" y="52"/>
                    </a:lnTo>
                    <a:lnTo>
                      <a:pt x="9" y="48"/>
                    </a:lnTo>
                    <a:lnTo>
                      <a:pt x="23" y="46"/>
                    </a:lnTo>
                    <a:lnTo>
                      <a:pt x="27" y="42"/>
                    </a:lnTo>
                    <a:lnTo>
                      <a:pt x="40" y="34"/>
                    </a:lnTo>
                    <a:lnTo>
                      <a:pt x="52" y="27"/>
                    </a:lnTo>
                    <a:lnTo>
                      <a:pt x="53" y="21"/>
                    </a:lnTo>
                    <a:lnTo>
                      <a:pt x="57" y="17"/>
                    </a:lnTo>
                    <a:lnTo>
                      <a:pt x="63" y="19"/>
                    </a:lnTo>
                    <a:lnTo>
                      <a:pt x="63" y="21"/>
                    </a:lnTo>
                    <a:lnTo>
                      <a:pt x="67" y="23"/>
                    </a:lnTo>
                    <a:lnTo>
                      <a:pt x="71" y="19"/>
                    </a:lnTo>
                    <a:lnTo>
                      <a:pt x="80" y="25"/>
                    </a:lnTo>
                    <a:lnTo>
                      <a:pt x="90" y="29"/>
                    </a:lnTo>
                    <a:lnTo>
                      <a:pt x="92" y="27"/>
                    </a:lnTo>
                    <a:lnTo>
                      <a:pt x="96" y="19"/>
                    </a:lnTo>
                    <a:lnTo>
                      <a:pt x="101" y="21"/>
                    </a:lnTo>
                    <a:lnTo>
                      <a:pt x="103" y="15"/>
                    </a:lnTo>
                    <a:lnTo>
                      <a:pt x="111" y="17"/>
                    </a:lnTo>
                    <a:lnTo>
                      <a:pt x="115" y="7"/>
                    </a:lnTo>
                    <a:lnTo>
                      <a:pt x="121" y="0"/>
                    </a:lnTo>
                    <a:lnTo>
                      <a:pt x="123" y="2"/>
                    </a:lnTo>
                    <a:lnTo>
                      <a:pt x="134" y="7"/>
                    </a:lnTo>
                    <a:lnTo>
                      <a:pt x="132" y="13"/>
                    </a:lnTo>
                    <a:lnTo>
                      <a:pt x="138" y="23"/>
                    </a:lnTo>
                    <a:lnTo>
                      <a:pt x="140" y="31"/>
                    </a:lnTo>
                    <a:lnTo>
                      <a:pt x="130" y="32"/>
                    </a:lnTo>
                    <a:lnTo>
                      <a:pt x="128" y="34"/>
                    </a:lnTo>
                    <a:lnTo>
                      <a:pt x="125" y="34"/>
                    </a:lnTo>
                    <a:lnTo>
                      <a:pt x="121" y="38"/>
                    </a:lnTo>
                    <a:lnTo>
                      <a:pt x="121" y="42"/>
                    </a:lnTo>
                    <a:lnTo>
                      <a:pt x="115" y="42"/>
                    </a:lnTo>
                    <a:lnTo>
                      <a:pt x="117" y="46"/>
                    </a:lnTo>
                    <a:lnTo>
                      <a:pt x="123" y="54"/>
                    </a:lnTo>
                    <a:lnTo>
                      <a:pt x="128" y="59"/>
                    </a:lnTo>
                    <a:lnTo>
                      <a:pt x="136" y="59"/>
                    </a:lnTo>
                    <a:lnTo>
                      <a:pt x="140" y="54"/>
                    </a:lnTo>
                    <a:lnTo>
                      <a:pt x="148" y="57"/>
                    </a:lnTo>
                    <a:lnTo>
                      <a:pt x="149" y="54"/>
                    </a:lnTo>
                    <a:lnTo>
                      <a:pt x="159" y="63"/>
                    </a:lnTo>
                    <a:lnTo>
                      <a:pt x="161" y="73"/>
                    </a:lnTo>
                    <a:lnTo>
                      <a:pt x="159" y="79"/>
                    </a:lnTo>
                    <a:lnTo>
                      <a:pt x="167" y="82"/>
                    </a:lnTo>
                    <a:lnTo>
                      <a:pt x="171" y="82"/>
                    </a:lnTo>
                    <a:lnTo>
                      <a:pt x="173" y="84"/>
                    </a:lnTo>
                    <a:lnTo>
                      <a:pt x="174" y="84"/>
                    </a:lnTo>
                    <a:lnTo>
                      <a:pt x="174" y="86"/>
                    </a:lnTo>
                    <a:lnTo>
                      <a:pt x="180" y="88"/>
                    </a:lnTo>
                    <a:lnTo>
                      <a:pt x="180" y="86"/>
                    </a:lnTo>
                    <a:lnTo>
                      <a:pt x="180" y="80"/>
                    </a:lnTo>
                    <a:lnTo>
                      <a:pt x="182" y="75"/>
                    </a:lnTo>
                    <a:lnTo>
                      <a:pt x="184" y="71"/>
                    </a:lnTo>
                    <a:lnTo>
                      <a:pt x="196" y="75"/>
                    </a:lnTo>
                    <a:lnTo>
                      <a:pt x="201" y="79"/>
                    </a:lnTo>
                    <a:lnTo>
                      <a:pt x="213" y="86"/>
                    </a:lnTo>
                    <a:lnTo>
                      <a:pt x="219" y="94"/>
                    </a:lnTo>
                    <a:lnTo>
                      <a:pt x="222"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6" name="Freeform 26">
                <a:extLst>
                  <a:ext uri="{FF2B5EF4-FFF2-40B4-BE49-F238E27FC236}">
                    <a16:creationId xmlns:a16="http://schemas.microsoft.com/office/drawing/2014/main" id="{5045E994-B299-7280-A99F-48F01FD746E2}"/>
                  </a:ext>
                </a:extLst>
              </p:cNvPr>
              <p:cNvSpPr>
                <a:spLocks/>
              </p:cNvSpPr>
              <p:nvPr/>
            </p:nvSpPr>
            <p:spPr bwMode="gray">
              <a:xfrm>
                <a:off x="4300767" y="3949914"/>
                <a:ext cx="244732" cy="165786"/>
              </a:xfrm>
              <a:custGeom>
                <a:avLst/>
                <a:gdLst>
                  <a:gd name="T0" fmla="*/ 195 w 217"/>
                  <a:gd name="T1" fmla="*/ 59 h 147"/>
                  <a:gd name="T2" fmla="*/ 203 w 217"/>
                  <a:gd name="T3" fmla="*/ 63 h 147"/>
                  <a:gd name="T4" fmla="*/ 217 w 217"/>
                  <a:gd name="T5" fmla="*/ 86 h 147"/>
                  <a:gd name="T6" fmla="*/ 211 w 217"/>
                  <a:gd name="T7" fmla="*/ 96 h 147"/>
                  <a:gd name="T8" fmla="*/ 203 w 217"/>
                  <a:gd name="T9" fmla="*/ 103 h 147"/>
                  <a:gd name="T10" fmla="*/ 203 w 217"/>
                  <a:gd name="T11" fmla="*/ 109 h 147"/>
                  <a:gd name="T12" fmla="*/ 201 w 217"/>
                  <a:gd name="T13" fmla="*/ 109 h 147"/>
                  <a:gd name="T14" fmla="*/ 203 w 217"/>
                  <a:gd name="T15" fmla="*/ 113 h 147"/>
                  <a:gd name="T16" fmla="*/ 188 w 217"/>
                  <a:gd name="T17" fmla="*/ 136 h 147"/>
                  <a:gd name="T18" fmla="*/ 172 w 217"/>
                  <a:gd name="T19" fmla="*/ 144 h 147"/>
                  <a:gd name="T20" fmla="*/ 167 w 217"/>
                  <a:gd name="T21" fmla="*/ 147 h 147"/>
                  <a:gd name="T22" fmla="*/ 163 w 217"/>
                  <a:gd name="T23" fmla="*/ 140 h 147"/>
                  <a:gd name="T24" fmla="*/ 149 w 217"/>
                  <a:gd name="T25" fmla="*/ 130 h 147"/>
                  <a:gd name="T26" fmla="*/ 140 w 217"/>
                  <a:gd name="T27" fmla="*/ 130 h 147"/>
                  <a:gd name="T28" fmla="*/ 134 w 217"/>
                  <a:gd name="T29" fmla="*/ 132 h 147"/>
                  <a:gd name="T30" fmla="*/ 130 w 217"/>
                  <a:gd name="T31" fmla="*/ 130 h 147"/>
                  <a:gd name="T32" fmla="*/ 117 w 217"/>
                  <a:gd name="T33" fmla="*/ 132 h 147"/>
                  <a:gd name="T34" fmla="*/ 99 w 217"/>
                  <a:gd name="T35" fmla="*/ 101 h 147"/>
                  <a:gd name="T36" fmla="*/ 103 w 217"/>
                  <a:gd name="T37" fmla="*/ 90 h 147"/>
                  <a:gd name="T38" fmla="*/ 92 w 217"/>
                  <a:gd name="T39" fmla="*/ 92 h 147"/>
                  <a:gd name="T40" fmla="*/ 88 w 217"/>
                  <a:gd name="T41" fmla="*/ 94 h 147"/>
                  <a:gd name="T42" fmla="*/ 76 w 217"/>
                  <a:gd name="T43" fmla="*/ 96 h 147"/>
                  <a:gd name="T44" fmla="*/ 74 w 217"/>
                  <a:gd name="T45" fmla="*/ 92 h 147"/>
                  <a:gd name="T46" fmla="*/ 74 w 217"/>
                  <a:gd name="T47" fmla="*/ 88 h 147"/>
                  <a:gd name="T48" fmla="*/ 74 w 217"/>
                  <a:gd name="T49" fmla="*/ 76 h 147"/>
                  <a:gd name="T50" fmla="*/ 73 w 217"/>
                  <a:gd name="T51" fmla="*/ 65 h 147"/>
                  <a:gd name="T52" fmla="*/ 73 w 217"/>
                  <a:gd name="T53" fmla="*/ 61 h 147"/>
                  <a:gd name="T54" fmla="*/ 73 w 217"/>
                  <a:gd name="T55" fmla="*/ 59 h 147"/>
                  <a:gd name="T56" fmla="*/ 55 w 217"/>
                  <a:gd name="T57" fmla="*/ 61 h 147"/>
                  <a:gd name="T58" fmla="*/ 28 w 217"/>
                  <a:gd name="T59" fmla="*/ 57 h 147"/>
                  <a:gd name="T60" fmla="*/ 13 w 217"/>
                  <a:gd name="T61" fmla="*/ 50 h 147"/>
                  <a:gd name="T62" fmla="*/ 1 w 217"/>
                  <a:gd name="T63" fmla="*/ 44 h 147"/>
                  <a:gd name="T64" fmla="*/ 0 w 217"/>
                  <a:gd name="T65" fmla="*/ 36 h 147"/>
                  <a:gd name="T66" fmla="*/ 1 w 217"/>
                  <a:gd name="T67" fmla="*/ 28 h 147"/>
                  <a:gd name="T68" fmla="*/ 1 w 217"/>
                  <a:gd name="T69" fmla="*/ 23 h 147"/>
                  <a:gd name="T70" fmla="*/ 17 w 217"/>
                  <a:gd name="T71" fmla="*/ 21 h 147"/>
                  <a:gd name="T72" fmla="*/ 26 w 217"/>
                  <a:gd name="T73" fmla="*/ 17 h 147"/>
                  <a:gd name="T74" fmla="*/ 38 w 217"/>
                  <a:gd name="T75" fmla="*/ 7 h 147"/>
                  <a:gd name="T76" fmla="*/ 53 w 217"/>
                  <a:gd name="T77" fmla="*/ 0 h 147"/>
                  <a:gd name="T78" fmla="*/ 65 w 217"/>
                  <a:gd name="T79" fmla="*/ 1 h 147"/>
                  <a:gd name="T80" fmla="*/ 73 w 217"/>
                  <a:gd name="T81" fmla="*/ 3 h 147"/>
                  <a:gd name="T82" fmla="*/ 76 w 217"/>
                  <a:gd name="T83" fmla="*/ 5 h 147"/>
                  <a:gd name="T84" fmla="*/ 82 w 217"/>
                  <a:gd name="T85" fmla="*/ 7 h 147"/>
                  <a:gd name="T86" fmla="*/ 84 w 217"/>
                  <a:gd name="T87" fmla="*/ 9 h 147"/>
                  <a:gd name="T88" fmla="*/ 101 w 217"/>
                  <a:gd name="T89" fmla="*/ 25 h 147"/>
                  <a:gd name="T90" fmla="*/ 117 w 217"/>
                  <a:gd name="T91" fmla="*/ 40 h 147"/>
                  <a:gd name="T92" fmla="*/ 126 w 217"/>
                  <a:gd name="T93" fmla="*/ 46 h 147"/>
                  <a:gd name="T94" fmla="*/ 144 w 217"/>
                  <a:gd name="T95" fmla="*/ 51 h 147"/>
                  <a:gd name="T96" fmla="*/ 153 w 217"/>
                  <a:gd name="T97" fmla="*/ 53 h 147"/>
                  <a:gd name="T98" fmla="*/ 155 w 217"/>
                  <a:gd name="T99" fmla="*/ 67 h 147"/>
                  <a:gd name="T100" fmla="*/ 169 w 217"/>
                  <a:gd name="T101" fmla="*/ 69 h 147"/>
                  <a:gd name="T102" fmla="*/ 178 w 217"/>
                  <a:gd name="T103" fmla="*/ 57 h 147"/>
                  <a:gd name="T104" fmla="*/ 186 w 217"/>
                  <a:gd name="T105" fmla="*/ 57 h 147"/>
                  <a:gd name="T106" fmla="*/ 195 w 217"/>
                  <a:gd name="T107"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 h="147">
                    <a:moveTo>
                      <a:pt x="195" y="59"/>
                    </a:moveTo>
                    <a:lnTo>
                      <a:pt x="203" y="63"/>
                    </a:lnTo>
                    <a:lnTo>
                      <a:pt x="217" y="86"/>
                    </a:lnTo>
                    <a:lnTo>
                      <a:pt x="211" y="96"/>
                    </a:lnTo>
                    <a:lnTo>
                      <a:pt x="203" y="103"/>
                    </a:lnTo>
                    <a:lnTo>
                      <a:pt x="203" y="109"/>
                    </a:lnTo>
                    <a:lnTo>
                      <a:pt x="201" y="109"/>
                    </a:lnTo>
                    <a:lnTo>
                      <a:pt x="203" y="113"/>
                    </a:lnTo>
                    <a:lnTo>
                      <a:pt x="188" y="136"/>
                    </a:lnTo>
                    <a:lnTo>
                      <a:pt x="172" y="144"/>
                    </a:lnTo>
                    <a:lnTo>
                      <a:pt x="167" y="147"/>
                    </a:lnTo>
                    <a:lnTo>
                      <a:pt x="163" y="140"/>
                    </a:lnTo>
                    <a:lnTo>
                      <a:pt x="149" y="130"/>
                    </a:lnTo>
                    <a:lnTo>
                      <a:pt x="140" y="130"/>
                    </a:lnTo>
                    <a:lnTo>
                      <a:pt x="134" y="132"/>
                    </a:lnTo>
                    <a:lnTo>
                      <a:pt x="130" y="130"/>
                    </a:lnTo>
                    <a:lnTo>
                      <a:pt x="117" y="132"/>
                    </a:lnTo>
                    <a:lnTo>
                      <a:pt x="99" y="101"/>
                    </a:lnTo>
                    <a:lnTo>
                      <a:pt x="103" y="90"/>
                    </a:lnTo>
                    <a:lnTo>
                      <a:pt x="92" y="92"/>
                    </a:lnTo>
                    <a:lnTo>
                      <a:pt x="88" y="94"/>
                    </a:lnTo>
                    <a:lnTo>
                      <a:pt x="76" y="96"/>
                    </a:lnTo>
                    <a:lnTo>
                      <a:pt x="74" y="92"/>
                    </a:lnTo>
                    <a:lnTo>
                      <a:pt x="74" y="88"/>
                    </a:lnTo>
                    <a:lnTo>
                      <a:pt x="74" y="76"/>
                    </a:lnTo>
                    <a:lnTo>
                      <a:pt x="73" y="65"/>
                    </a:lnTo>
                    <a:lnTo>
                      <a:pt x="73" y="61"/>
                    </a:lnTo>
                    <a:lnTo>
                      <a:pt x="73" y="59"/>
                    </a:lnTo>
                    <a:lnTo>
                      <a:pt x="55" y="61"/>
                    </a:lnTo>
                    <a:lnTo>
                      <a:pt x="28" y="57"/>
                    </a:lnTo>
                    <a:lnTo>
                      <a:pt x="13" y="50"/>
                    </a:lnTo>
                    <a:lnTo>
                      <a:pt x="1" y="44"/>
                    </a:lnTo>
                    <a:lnTo>
                      <a:pt x="0" y="36"/>
                    </a:lnTo>
                    <a:lnTo>
                      <a:pt x="1" y="28"/>
                    </a:lnTo>
                    <a:lnTo>
                      <a:pt x="1" y="23"/>
                    </a:lnTo>
                    <a:lnTo>
                      <a:pt x="17" y="21"/>
                    </a:lnTo>
                    <a:lnTo>
                      <a:pt x="26" y="17"/>
                    </a:lnTo>
                    <a:lnTo>
                      <a:pt x="38" y="7"/>
                    </a:lnTo>
                    <a:lnTo>
                      <a:pt x="53" y="0"/>
                    </a:lnTo>
                    <a:lnTo>
                      <a:pt x="65" y="1"/>
                    </a:lnTo>
                    <a:lnTo>
                      <a:pt x="73" y="3"/>
                    </a:lnTo>
                    <a:lnTo>
                      <a:pt x="76" y="5"/>
                    </a:lnTo>
                    <a:lnTo>
                      <a:pt x="82" y="7"/>
                    </a:lnTo>
                    <a:lnTo>
                      <a:pt x="84" y="9"/>
                    </a:lnTo>
                    <a:lnTo>
                      <a:pt x="101" y="25"/>
                    </a:lnTo>
                    <a:lnTo>
                      <a:pt x="117" y="40"/>
                    </a:lnTo>
                    <a:lnTo>
                      <a:pt x="126" y="46"/>
                    </a:lnTo>
                    <a:lnTo>
                      <a:pt x="144" y="51"/>
                    </a:lnTo>
                    <a:lnTo>
                      <a:pt x="153" y="53"/>
                    </a:lnTo>
                    <a:lnTo>
                      <a:pt x="155" y="67"/>
                    </a:lnTo>
                    <a:lnTo>
                      <a:pt x="169" y="69"/>
                    </a:lnTo>
                    <a:lnTo>
                      <a:pt x="178" y="57"/>
                    </a:lnTo>
                    <a:lnTo>
                      <a:pt x="186" y="57"/>
                    </a:lnTo>
                    <a:lnTo>
                      <a:pt x="195" y="5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7">
                <a:extLst>
                  <a:ext uri="{FF2B5EF4-FFF2-40B4-BE49-F238E27FC236}">
                    <a16:creationId xmlns:a16="http://schemas.microsoft.com/office/drawing/2014/main" id="{4B5BC5B0-393A-EEF9-1FEC-077F4FB5FED2}"/>
                  </a:ext>
                </a:extLst>
              </p:cNvPr>
              <p:cNvSpPr>
                <a:spLocks/>
              </p:cNvSpPr>
              <p:nvPr/>
            </p:nvSpPr>
            <p:spPr bwMode="gray">
              <a:xfrm>
                <a:off x="4047013" y="3724355"/>
                <a:ext cx="398112" cy="381194"/>
              </a:xfrm>
              <a:custGeom>
                <a:avLst/>
                <a:gdLst>
                  <a:gd name="T0" fmla="*/ 303 w 353"/>
                  <a:gd name="T1" fmla="*/ 301 h 338"/>
                  <a:gd name="T2" fmla="*/ 309 w 353"/>
                  <a:gd name="T3" fmla="*/ 334 h 338"/>
                  <a:gd name="T4" fmla="*/ 294 w 353"/>
                  <a:gd name="T5" fmla="*/ 330 h 338"/>
                  <a:gd name="T6" fmla="*/ 271 w 353"/>
                  <a:gd name="T7" fmla="*/ 328 h 338"/>
                  <a:gd name="T8" fmla="*/ 242 w 353"/>
                  <a:gd name="T9" fmla="*/ 338 h 338"/>
                  <a:gd name="T10" fmla="*/ 226 w 353"/>
                  <a:gd name="T11" fmla="*/ 330 h 338"/>
                  <a:gd name="T12" fmla="*/ 198 w 353"/>
                  <a:gd name="T13" fmla="*/ 317 h 338"/>
                  <a:gd name="T14" fmla="*/ 180 w 353"/>
                  <a:gd name="T15" fmla="*/ 317 h 338"/>
                  <a:gd name="T16" fmla="*/ 169 w 353"/>
                  <a:gd name="T17" fmla="*/ 315 h 338"/>
                  <a:gd name="T18" fmla="*/ 148 w 353"/>
                  <a:gd name="T19" fmla="*/ 311 h 338"/>
                  <a:gd name="T20" fmla="*/ 154 w 353"/>
                  <a:gd name="T21" fmla="*/ 286 h 338"/>
                  <a:gd name="T22" fmla="*/ 84 w 353"/>
                  <a:gd name="T23" fmla="*/ 286 h 338"/>
                  <a:gd name="T24" fmla="*/ 79 w 353"/>
                  <a:gd name="T25" fmla="*/ 278 h 338"/>
                  <a:gd name="T26" fmla="*/ 73 w 353"/>
                  <a:gd name="T27" fmla="*/ 269 h 338"/>
                  <a:gd name="T28" fmla="*/ 71 w 353"/>
                  <a:gd name="T29" fmla="*/ 257 h 338"/>
                  <a:gd name="T30" fmla="*/ 71 w 353"/>
                  <a:gd name="T31" fmla="*/ 253 h 338"/>
                  <a:gd name="T32" fmla="*/ 69 w 353"/>
                  <a:gd name="T33" fmla="*/ 250 h 338"/>
                  <a:gd name="T34" fmla="*/ 59 w 353"/>
                  <a:gd name="T35" fmla="*/ 253 h 338"/>
                  <a:gd name="T36" fmla="*/ 56 w 353"/>
                  <a:gd name="T37" fmla="*/ 251 h 338"/>
                  <a:gd name="T38" fmla="*/ 52 w 353"/>
                  <a:gd name="T39" fmla="*/ 251 h 338"/>
                  <a:gd name="T40" fmla="*/ 42 w 353"/>
                  <a:gd name="T41" fmla="*/ 250 h 338"/>
                  <a:gd name="T42" fmla="*/ 36 w 353"/>
                  <a:gd name="T43" fmla="*/ 248 h 338"/>
                  <a:gd name="T44" fmla="*/ 27 w 353"/>
                  <a:gd name="T45" fmla="*/ 246 h 338"/>
                  <a:gd name="T46" fmla="*/ 19 w 353"/>
                  <a:gd name="T47" fmla="*/ 228 h 338"/>
                  <a:gd name="T48" fmla="*/ 17 w 353"/>
                  <a:gd name="T49" fmla="*/ 217 h 338"/>
                  <a:gd name="T50" fmla="*/ 11 w 353"/>
                  <a:gd name="T51" fmla="*/ 188 h 338"/>
                  <a:gd name="T52" fmla="*/ 11 w 353"/>
                  <a:gd name="T53" fmla="*/ 180 h 338"/>
                  <a:gd name="T54" fmla="*/ 4 w 353"/>
                  <a:gd name="T55" fmla="*/ 175 h 338"/>
                  <a:gd name="T56" fmla="*/ 2 w 353"/>
                  <a:gd name="T57" fmla="*/ 165 h 338"/>
                  <a:gd name="T58" fmla="*/ 15 w 353"/>
                  <a:gd name="T59" fmla="*/ 134 h 338"/>
                  <a:gd name="T60" fmla="*/ 19 w 353"/>
                  <a:gd name="T61" fmla="*/ 125 h 338"/>
                  <a:gd name="T62" fmla="*/ 29 w 353"/>
                  <a:gd name="T63" fmla="*/ 90 h 338"/>
                  <a:gd name="T64" fmla="*/ 48 w 353"/>
                  <a:gd name="T65" fmla="*/ 73 h 338"/>
                  <a:gd name="T66" fmla="*/ 77 w 353"/>
                  <a:gd name="T67" fmla="*/ 48 h 338"/>
                  <a:gd name="T68" fmla="*/ 84 w 353"/>
                  <a:gd name="T69" fmla="*/ 42 h 338"/>
                  <a:gd name="T70" fmla="*/ 96 w 353"/>
                  <a:gd name="T71" fmla="*/ 36 h 338"/>
                  <a:gd name="T72" fmla="*/ 111 w 353"/>
                  <a:gd name="T73" fmla="*/ 23 h 338"/>
                  <a:gd name="T74" fmla="*/ 117 w 353"/>
                  <a:gd name="T75" fmla="*/ 17 h 338"/>
                  <a:gd name="T76" fmla="*/ 121 w 353"/>
                  <a:gd name="T77" fmla="*/ 0 h 338"/>
                  <a:gd name="T78" fmla="*/ 150 w 353"/>
                  <a:gd name="T79" fmla="*/ 4 h 338"/>
                  <a:gd name="T80" fmla="*/ 203 w 353"/>
                  <a:gd name="T81" fmla="*/ 13 h 338"/>
                  <a:gd name="T82" fmla="*/ 248 w 353"/>
                  <a:gd name="T83" fmla="*/ 27 h 338"/>
                  <a:gd name="T84" fmla="*/ 263 w 353"/>
                  <a:gd name="T85" fmla="*/ 31 h 338"/>
                  <a:gd name="T86" fmla="*/ 353 w 353"/>
                  <a:gd name="T87" fmla="*/ 61 h 338"/>
                  <a:gd name="T88" fmla="*/ 290 w 353"/>
                  <a:gd name="T89" fmla="*/ 115 h 338"/>
                  <a:gd name="T90" fmla="*/ 274 w 353"/>
                  <a:gd name="T91" fmla="*/ 121 h 338"/>
                  <a:gd name="T92" fmla="*/ 261 w 353"/>
                  <a:gd name="T93" fmla="*/ 152 h 338"/>
                  <a:gd name="T94" fmla="*/ 273 w 353"/>
                  <a:gd name="T95" fmla="*/ 163 h 338"/>
                  <a:gd name="T96" fmla="*/ 273 w 353"/>
                  <a:gd name="T97" fmla="*/ 173 h 338"/>
                  <a:gd name="T98" fmla="*/ 248 w 353"/>
                  <a:gd name="T99" fmla="*/ 188 h 338"/>
                  <a:gd name="T100" fmla="*/ 230 w 353"/>
                  <a:gd name="T101" fmla="*/ 194 h 338"/>
                  <a:gd name="T102" fmla="*/ 225 w 353"/>
                  <a:gd name="T103" fmla="*/ 201 h 338"/>
                  <a:gd name="T104" fmla="*/ 226 w 353"/>
                  <a:gd name="T105" fmla="*/ 213 h 338"/>
                  <a:gd name="T106" fmla="*/ 226 w 353"/>
                  <a:gd name="T107" fmla="*/ 228 h 338"/>
                  <a:gd name="T108" fmla="*/ 226 w 353"/>
                  <a:gd name="T109" fmla="*/ 244 h 338"/>
                  <a:gd name="T110" fmla="*/ 253 w 353"/>
                  <a:gd name="T111" fmla="*/ 257 h 338"/>
                  <a:gd name="T112" fmla="*/ 298 w 353"/>
                  <a:gd name="T113" fmla="*/ 259 h 338"/>
                  <a:gd name="T114" fmla="*/ 298 w 353"/>
                  <a:gd name="T115" fmla="*/ 265 h 338"/>
                  <a:gd name="T116" fmla="*/ 299 w 353"/>
                  <a:gd name="T117" fmla="*/ 288 h 338"/>
                  <a:gd name="T118" fmla="*/ 301 w 353"/>
                  <a:gd name="T119" fmla="*/ 29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3" h="338">
                    <a:moveTo>
                      <a:pt x="301" y="296"/>
                    </a:moveTo>
                    <a:lnTo>
                      <a:pt x="303" y="301"/>
                    </a:lnTo>
                    <a:lnTo>
                      <a:pt x="317" y="334"/>
                    </a:lnTo>
                    <a:lnTo>
                      <a:pt x="309" y="334"/>
                    </a:lnTo>
                    <a:lnTo>
                      <a:pt x="296" y="332"/>
                    </a:lnTo>
                    <a:lnTo>
                      <a:pt x="294" y="330"/>
                    </a:lnTo>
                    <a:lnTo>
                      <a:pt x="286" y="330"/>
                    </a:lnTo>
                    <a:lnTo>
                      <a:pt x="271" y="328"/>
                    </a:lnTo>
                    <a:lnTo>
                      <a:pt x="253" y="332"/>
                    </a:lnTo>
                    <a:lnTo>
                      <a:pt x="242" y="338"/>
                    </a:lnTo>
                    <a:lnTo>
                      <a:pt x="230" y="332"/>
                    </a:lnTo>
                    <a:lnTo>
                      <a:pt x="226" y="330"/>
                    </a:lnTo>
                    <a:lnTo>
                      <a:pt x="203" y="317"/>
                    </a:lnTo>
                    <a:lnTo>
                      <a:pt x="198" y="317"/>
                    </a:lnTo>
                    <a:lnTo>
                      <a:pt x="196" y="317"/>
                    </a:lnTo>
                    <a:lnTo>
                      <a:pt x="180" y="317"/>
                    </a:lnTo>
                    <a:lnTo>
                      <a:pt x="171" y="317"/>
                    </a:lnTo>
                    <a:lnTo>
                      <a:pt x="169" y="315"/>
                    </a:lnTo>
                    <a:lnTo>
                      <a:pt x="161" y="311"/>
                    </a:lnTo>
                    <a:lnTo>
                      <a:pt x="148" y="311"/>
                    </a:lnTo>
                    <a:lnTo>
                      <a:pt x="148" y="307"/>
                    </a:lnTo>
                    <a:lnTo>
                      <a:pt x="154" y="286"/>
                    </a:lnTo>
                    <a:lnTo>
                      <a:pt x="113" y="284"/>
                    </a:lnTo>
                    <a:lnTo>
                      <a:pt x="84" y="286"/>
                    </a:lnTo>
                    <a:lnTo>
                      <a:pt x="82" y="282"/>
                    </a:lnTo>
                    <a:lnTo>
                      <a:pt x="79" y="278"/>
                    </a:lnTo>
                    <a:lnTo>
                      <a:pt x="77" y="273"/>
                    </a:lnTo>
                    <a:lnTo>
                      <a:pt x="73" y="269"/>
                    </a:lnTo>
                    <a:lnTo>
                      <a:pt x="69" y="265"/>
                    </a:lnTo>
                    <a:lnTo>
                      <a:pt x="71" y="257"/>
                    </a:lnTo>
                    <a:lnTo>
                      <a:pt x="71" y="255"/>
                    </a:lnTo>
                    <a:lnTo>
                      <a:pt x="71" y="253"/>
                    </a:lnTo>
                    <a:lnTo>
                      <a:pt x="71" y="251"/>
                    </a:lnTo>
                    <a:lnTo>
                      <a:pt x="69" y="250"/>
                    </a:lnTo>
                    <a:lnTo>
                      <a:pt x="65" y="248"/>
                    </a:lnTo>
                    <a:lnTo>
                      <a:pt x="59" y="253"/>
                    </a:lnTo>
                    <a:lnTo>
                      <a:pt x="58" y="251"/>
                    </a:lnTo>
                    <a:lnTo>
                      <a:pt x="56" y="251"/>
                    </a:lnTo>
                    <a:lnTo>
                      <a:pt x="54" y="251"/>
                    </a:lnTo>
                    <a:lnTo>
                      <a:pt x="52" y="251"/>
                    </a:lnTo>
                    <a:lnTo>
                      <a:pt x="48" y="251"/>
                    </a:lnTo>
                    <a:lnTo>
                      <a:pt x="42" y="250"/>
                    </a:lnTo>
                    <a:lnTo>
                      <a:pt x="40" y="248"/>
                    </a:lnTo>
                    <a:lnTo>
                      <a:pt x="36" y="248"/>
                    </a:lnTo>
                    <a:lnTo>
                      <a:pt x="31" y="248"/>
                    </a:lnTo>
                    <a:lnTo>
                      <a:pt x="27" y="246"/>
                    </a:lnTo>
                    <a:lnTo>
                      <a:pt x="23" y="240"/>
                    </a:lnTo>
                    <a:lnTo>
                      <a:pt x="19" y="228"/>
                    </a:lnTo>
                    <a:lnTo>
                      <a:pt x="17" y="225"/>
                    </a:lnTo>
                    <a:lnTo>
                      <a:pt x="17" y="217"/>
                    </a:lnTo>
                    <a:lnTo>
                      <a:pt x="13" y="213"/>
                    </a:lnTo>
                    <a:lnTo>
                      <a:pt x="11" y="188"/>
                    </a:lnTo>
                    <a:lnTo>
                      <a:pt x="11" y="184"/>
                    </a:lnTo>
                    <a:lnTo>
                      <a:pt x="11" y="180"/>
                    </a:lnTo>
                    <a:lnTo>
                      <a:pt x="10" y="178"/>
                    </a:lnTo>
                    <a:lnTo>
                      <a:pt x="4" y="175"/>
                    </a:lnTo>
                    <a:lnTo>
                      <a:pt x="0" y="173"/>
                    </a:lnTo>
                    <a:lnTo>
                      <a:pt x="2" y="165"/>
                    </a:lnTo>
                    <a:lnTo>
                      <a:pt x="4" y="159"/>
                    </a:lnTo>
                    <a:lnTo>
                      <a:pt x="15" y="134"/>
                    </a:lnTo>
                    <a:lnTo>
                      <a:pt x="17" y="130"/>
                    </a:lnTo>
                    <a:lnTo>
                      <a:pt x="19" y="125"/>
                    </a:lnTo>
                    <a:lnTo>
                      <a:pt x="21" y="115"/>
                    </a:lnTo>
                    <a:lnTo>
                      <a:pt x="29" y="90"/>
                    </a:lnTo>
                    <a:lnTo>
                      <a:pt x="42" y="79"/>
                    </a:lnTo>
                    <a:lnTo>
                      <a:pt x="48" y="73"/>
                    </a:lnTo>
                    <a:lnTo>
                      <a:pt x="67" y="55"/>
                    </a:lnTo>
                    <a:lnTo>
                      <a:pt x="77" y="48"/>
                    </a:lnTo>
                    <a:lnTo>
                      <a:pt x="82" y="44"/>
                    </a:lnTo>
                    <a:lnTo>
                      <a:pt x="84" y="42"/>
                    </a:lnTo>
                    <a:lnTo>
                      <a:pt x="92" y="38"/>
                    </a:lnTo>
                    <a:lnTo>
                      <a:pt x="96" y="36"/>
                    </a:lnTo>
                    <a:lnTo>
                      <a:pt x="102" y="32"/>
                    </a:lnTo>
                    <a:lnTo>
                      <a:pt x="111" y="23"/>
                    </a:lnTo>
                    <a:lnTo>
                      <a:pt x="113" y="19"/>
                    </a:lnTo>
                    <a:lnTo>
                      <a:pt x="117" y="17"/>
                    </a:lnTo>
                    <a:lnTo>
                      <a:pt x="119" y="11"/>
                    </a:lnTo>
                    <a:lnTo>
                      <a:pt x="121" y="0"/>
                    </a:lnTo>
                    <a:lnTo>
                      <a:pt x="127" y="0"/>
                    </a:lnTo>
                    <a:lnTo>
                      <a:pt x="150" y="4"/>
                    </a:lnTo>
                    <a:lnTo>
                      <a:pt x="178" y="7"/>
                    </a:lnTo>
                    <a:lnTo>
                      <a:pt x="203" y="13"/>
                    </a:lnTo>
                    <a:lnTo>
                      <a:pt x="217" y="17"/>
                    </a:lnTo>
                    <a:lnTo>
                      <a:pt x="248" y="27"/>
                    </a:lnTo>
                    <a:lnTo>
                      <a:pt x="250" y="27"/>
                    </a:lnTo>
                    <a:lnTo>
                      <a:pt x="263" y="31"/>
                    </a:lnTo>
                    <a:lnTo>
                      <a:pt x="315" y="50"/>
                    </a:lnTo>
                    <a:lnTo>
                      <a:pt x="353" y="61"/>
                    </a:lnTo>
                    <a:lnTo>
                      <a:pt x="296" y="111"/>
                    </a:lnTo>
                    <a:lnTo>
                      <a:pt x="290" y="115"/>
                    </a:lnTo>
                    <a:lnTo>
                      <a:pt x="280" y="119"/>
                    </a:lnTo>
                    <a:lnTo>
                      <a:pt x="274" y="121"/>
                    </a:lnTo>
                    <a:lnTo>
                      <a:pt x="273" y="132"/>
                    </a:lnTo>
                    <a:lnTo>
                      <a:pt x="261" y="152"/>
                    </a:lnTo>
                    <a:lnTo>
                      <a:pt x="269" y="159"/>
                    </a:lnTo>
                    <a:lnTo>
                      <a:pt x="273" y="163"/>
                    </a:lnTo>
                    <a:lnTo>
                      <a:pt x="274" y="167"/>
                    </a:lnTo>
                    <a:lnTo>
                      <a:pt x="273" y="173"/>
                    </a:lnTo>
                    <a:lnTo>
                      <a:pt x="261" y="180"/>
                    </a:lnTo>
                    <a:lnTo>
                      <a:pt x="248" y="188"/>
                    </a:lnTo>
                    <a:lnTo>
                      <a:pt x="244" y="192"/>
                    </a:lnTo>
                    <a:lnTo>
                      <a:pt x="230" y="194"/>
                    </a:lnTo>
                    <a:lnTo>
                      <a:pt x="221" y="198"/>
                    </a:lnTo>
                    <a:lnTo>
                      <a:pt x="225" y="201"/>
                    </a:lnTo>
                    <a:lnTo>
                      <a:pt x="226" y="207"/>
                    </a:lnTo>
                    <a:lnTo>
                      <a:pt x="226" y="213"/>
                    </a:lnTo>
                    <a:lnTo>
                      <a:pt x="226" y="223"/>
                    </a:lnTo>
                    <a:lnTo>
                      <a:pt x="226" y="228"/>
                    </a:lnTo>
                    <a:lnTo>
                      <a:pt x="225" y="236"/>
                    </a:lnTo>
                    <a:lnTo>
                      <a:pt x="226" y="244"/>
                    </a:lnTo>
                    <a:lnTo>
                      <a:pt x="238" y="250"/>
                    </a:lnTo>
                    <a:lnTo>
                      <a:pt x="253" y="257"/>
                    </a:lnTo>
                    <a:lnTo>
                      <a:pt x="280" y="261"/>
                    </a:lnTo>
                    <a:lnTo>
                      <a:pt x="298" y="259"/>
                    </a:lnTo>
                    <a:lnTo>
                      <a:pt x="298" y="261"/>
                    </a:lnTo>
                    <a:lnTo>
                      <a:pt x="298" y="265"/>
                    </a:lnTo>
                    <a:lnTo>
                      <a:pt x="299" y="276"/>
                    </a:lnTo>
                    <a:lnTo>
                      <a:pt x="299" y="288"/>
                    </a:lnTo>
                    <a:lnTo>
                      <a:pt x="299" y="292"/>
                    </a:lnTo>
                    <a:lnTo>
                      <a:pt x="301" y="2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28">
                <a:extLst>
                  <a:ext uri="{FF2B5EF4-FFF2-40B4-BE49-F238E27FC236}">
                    <a16:creationId xmlns:a16="http://schemas.microsoft.com/office/drawing/2014/main" id="{36A50C5F-533A-E877-6B32-B9545E59B0E5}"/>
                  </a:ext>
                </a:extLst>
              </p:cNvPr>
              <p:cNvSpPr>
                <a:spLocks/>
              </p:cNvSpPr>
              <p:nvPr/>
            </p:nvSpPr>
            <p:spPr bwMode="gray">
              <a:xfrm>
                <a:off x="3380487" y="3501052"/>
                <a:ext cx="343977" cy="606753"/>
              </a:xfrm>
              <a:custGeom>
                <a:avLst/>
                <a:gdLst>
                  <a:gd name="T0" fmla="*/ 109 w 305"/>
                  <a:gd name="T1" fmla="*/ 444 h 538"/>
                  <a:gd name="T2" fmla="*/ 71 w 305"/>
                  <a:gd name="T3" fmla="*/ 365 h 538"/>
                  <a:gd name="T4" fmla="*/ 26 w 305"/>
                  <a:gd name="T5" fmla="*/ 338 h 538"/>
                  <a:gd name="T6" fmla="*/ 5 w 305"/>
                  <a:gd name="T7" fmla="*/ 330 h 538"/>
                  <a:gd name="T8" fmla="*/ 0 w 305"/>
                  <a:gd name="T9" fmla="*/ 317 h 538"/>
                  <a:gd name="T10" fmla="*/ 11 w 305"/>
                  <a:gd name="T11" fmla="*/ 282 h 538"/>
                  <a:gd name="T12" fmla="*/ 30 w 305"/>
                  <a:gd name="T13" fmla="*/ 252 h 538"/>
                  <a:gd name="T14" fmla="*/ 49 w 305"/>
                  <a:gd name="T15" fmla="*/ 215 h 538"/>
                  <a:gd name="T16" fmla="*/ 49 w 305"/>
                  <a:gd name="T17" fmla="*/ 200 h 538"/>
                  <a:gd name="T18" fmla="*/ 28 w 305"/>
                  <a:gd name="T19" fmla="*/ 163 h 538"/>
                  <a:gd name="T20" fmla="*/ 26 w 305"/>
                  <a:gd name="T21" fmla="*/ 134 h 538"/>
                  <a:gd name="T22" fmla="*/ 15 w 305"/>
                  <a:gd name="T23" fmla="*/ 0 h 538"/>
                  <a:gd name="T24" fmla="*/ 80 w 305"/>
                  <a:gd name="T25" fmla="*/ 36 h 538"/>
                  <a:gd name="T26" fmla="*/ 109 w 305"/>
                  <a:gd name="T27" fmla="*/ 54 h 538"/>
                  <a:gd name="T28" fmla="*/ 145 w 305"/>
                  <a:gd name="T29" fmla="*/ 73 h 538"/>
                  <a:gd name="T30" fmla="*/ 203 w 305"/>
                  <a:gd name="T31" fmla="*/ 102 h 538"/>
                  <a:gd name="T32" fmla="*/ 224 w 305"/>
                  <a:gd name="T33" fmla="*/ 113 h 538"/>
                  <a:gd name="T34" fmla="*/ 234 w 305"/>
                  <a:gd name="T35" fmla="*/ 127 h 538"/>
                  <a:gd name="T36" fmla="*/ 305 w 305"/>
                  <a:gd name="T37" fmla="*/ 163 h 538"/>
                  <a:gd name="T38" fmla="*/ 295 w 305"/>
                  <a:gd name="T39" fmla="*/ 177 h 538"/>
                  <a:gd name="T40" fmla="*/ 276 w 305"/>
                  <a:gd name="T41" fmla="*/ 186 h 538"/>
                  <a:gd name="T42" fmla="*/ 257 w 305"/>
                  <a:gd name="T43" fmla="*/ 213 h 538"/>
                  <a:gd name="T44" fmla="*/ 253 w 305"/>
                  <a:gd name="T45" fmla="*/ 229 h 538"/>
                  <a:gd name="T46" fmla="*/ 255 w 305"/>
                  <a:gd name="T47" fmla="*/ 242 h 538"/>
                  <a:gd name="T48" fmla="*/ 263 w 305"/>
                  <a:gd name="T49" fmla="*/ 269 h 538"/>
                  <a:gd name="T50" fmla="*/ 266 w 305"/>
                  <a:gd name="T51" fmla="*/ 300 h 538"/>
                  <a:gd name="T52" fmla="*/ 266 w 305"/>
                  <a:gd name="T53" fmla="*/ 317 h 538"/>
                  <a:gd name="T54" fmla="*/ 266 w 305"/>
                  <a:gd name="T55" fmla="*/ 336 h 538"/>
                  <a:gd name="T56" fmla="*/ 264 w 305"/>
                  <a:gd name="T57" fmla="*/ 363 h 538"/>
                  <a:gd name="T58" fmla="*/ 257 w 305"/>
                  <a:gd name="T59" fmla="*/ 394 h 538"/>
                  <a:gd name="T60" fmla="*/ 257 w 305"/>
                  <a:gd name="T61" fmla="*/ 413 h 538"/>
                  <a:gd name="T62" fmla="*/ 251 w 305"/>
                  <a:gd name="T63" fmla="*/ 424 h 538"/>
                  <a:gd name="T64" fmla="*/ 240 w 305"/>
                  <a:gd name="T65" fmla="*/ 474 h 538"/>
                  <a:gd name="T66" fmla="*/ 232 w 305"/>
                  <a:gd name="T67" fmla="*/ 517 h 538"/>
                  <a:gd name="T68" fmla="*/ 226 w 305"/>
                  <a:gd name="T69" fmla="*/ 526 h 538"/>
                  <a:gd name="T70" fmla="*/ 216 w 305"/>
                  <a:gd name="T71" fmla="*/ 538 h 538"/>
                  <a:gd name="T72" fmla="*/ 203 w 305"/>
                  <a:gd name="T73" fmla="*/ 524 h 538"/>
                  <a:gd name="T74" fmla="*/ 149 w 305"/>
                  <a:gd name="T75" fmla="*/ 436 h 538"/>
                  <a:gd name="T76" fmla="*/ 120 w 305"/>
                  <a:gd name="T77" fmla="*/ 45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5" h="538">
                    <a:moveTo>
                      <a:pt x="120" y="457"/>
                    </a:moveTo>
                    <a:lnTo>
                      <a:pt x="109" y="444"/>
                    </a:lnTo>
                    <a:lnTo>
                      <a:pt x="80" y="392"/>
                    </a:lnTo>
                    <a:lnTo>
                      <a:pt x="71" y="365"/>
                    </a:lnTo>
                    <a:lnTo>
                      <a:pt x="55" y="350"/>
                    </a:lnTo>
                    <a:lnTo>
                      <a:pt x="26" y="338"/>
                    </a:lnTo>
                    <a:lnTo>
                      <a:pt x="13" y="332"/>
                    </a:lnTo>
                    <a:lnTo>
                      <a:pt x="5" y="330"/>
                    </a:lnTo>
                    <a:lnTo>
                      <a:pt x="1" y="328"/>
                    </a:lnTo>
                    <a:lnTo>
                      <a:pt x="0" y="317"/>
                    </a:lnTo>
                    <a:lnTo>
                      <a:pt x="1" y="307"/>
                    </a:lnTo>
                    <a:lnTo>
                      <a:pt x="11" y="282"/>
                    </a:lnTo>
                    <a:lnTo>
                      <a:pt x="26" y="259"/>
                    </a:lnTo>
                    <a:lnTo>
                      <a:pt x="30" y="252"/>
                    </a:lnTo>
                    <a:lnTo>
                      <a:pt x="40" y="238"/>
                    </a:lnTo>
                    <a:lnTo>
                      <a:pt x="49" y="215"/>
                    </a:lnTo>
                    <a:lnTo>
                      <a:pt x="51" y="204"/>
                    </a:lnTo>
                    <a:lnTo>
                      <a:pt x="49" y="200"/>
                    </a:lnTo>
                    <a:lnTo>
                      <a:pt x="34" y="175"/>
                    </a:lnTo>
                    <a:lnTo>
                      <a:pt x="28" y="163"/>
                    </a:lnTo>
                    <a:lnTo>
                      <a:pt x="26" y="150"/>
                    </a:lnTo>
                    <a:lnTo>
                      <a:pt x="26" y="134"/>
                    </a:lnTo>
                    <a:lnTo>
                      <a:pt x="13" y="21"/>
                    </a:lnTo>
                    <a:lnTo>
                      <a:pt x="15" y="0"/>
                    </a:lnTo>
                    <a:lnTo>
                      <a:pt x="51" y="21"/>
                    </a:lnTo>
                    <a:lnTo>
                      <a:pt x="80" y="36"/>
                    </a:lnTo>
                    <a:lnTo>
                      <a:pt x="88" y="42"/>
                    </a:lnTo>
                    <a:lnTo>
                      <a:pt x="109" y="54"/>
                    </a:lnTo>
                    <a:lnTo>
                      <a:pt x="134" y="67"/>
                    </a:lnTo>
                    <a:lnTo>
                      <a:pt x="145" y="73"/>
                    </a:lnTo>
                    <a:lnTo>
                      <a:pt x="182" y="94"/>
                    </a:lnTo>
                    <a:lnTo>
                      <a:pt x="203" y="102"/>
                    </a:lnTo>
                    <a:lnTo>
                      <a:pt x="218" y="109"/>
                    </a:lnTo>
                    <a:lnTo>
                      <a:pt x="224" y="113"/>
                    </a:lnTo>
                    <a:lnTo>
                      <a:pt x="230" y="121"/>
                    </a:lnTo>
                    <a:lnTo>
                      <a:pt x="234" y="127"/>
                    </a:lnTo>
                    <a:lnTo>
                      <a:pt x="249" y="131"/>
                    </a:lnTo>
                    <a:lnTo>
                      <a:pt x="305" y="163"/>
                    </a:lnTo>
                    <a:lnTo>
                      <a:pt x="301" y="171"/>
                    </a:lnTo>
                    <a:lnTo>
                      <a:pt x="295" y="177"/>
                    </a:lnTo>
                    <a:lnTo>
                      <a:pt x="284" y="180"/>
                    </a:lnTo>
                    <a:lnTo>
                      <a:pt x="276" y="186"/>
                    </a:lnTo>
                    <a:lnTo>
                      <a:pt x="266" y="198"/>
                    </a:lnTo>
                    <a:lnTo>
                      <a:pt x="257" y="213"/>
                    </a:lnTo>
                    <a:lnTo>
                      <a:pt x="255" y="223"/>
                    </a:lnTo>
                    <a:lnTo>
                      <a:pt x="253" y="229"/>
                    </a:lnTo>
                    <a:lnTo>
                      <a:pt x="255" y="238"/>
                    </a:lnTo>
                    <a:lnTo>
                      <a:pt x="255" y="242"/>
                    </a:lnTo>
                    <a:lnTo>
                      <a:pt x="257" y="248"/>
                    </a:lnTo>
                    <a:lnTo>
                      <a:pt x="263" y="269"/>
                    </a:lnTo>
                    <a:lnTo>
                      <a:pt x="264" y="280"/>
                    </a:lnTo>
                    <a:lnTo>
                      <a:pt x="266" y="300"/>
                    </a:lnTo>
                    <a:lnTo>
                      <a:pt x="268" y="315"/>
                    </a:lnTo>
                    <a:lnTo>
                      <a:pt x="266" y="317"/>
                    </a:lnTo>
                    <a:lnTo>
                      <a:pt x="266" y="326"/>
                    </a:lnTo>
                    <a:lnTo>
                      <a:pt x="266" y="336"/>
                    </a:lnTo>
                    <a:lnTo>
                      <a:pt x="266" y="346"/>
                    </a:lnTo>
                    <a:lnTo>
                      <a:pt x="264" y="363"/>
                    </a:lnTo>
                    <a:lnTo>
                      <a:pt x="261" y="375"/>
                    </a:lnTo>
                    <a:lnTo>
                      <a:pt x="257" y="394"/>
                    </a:lnTo>
                    <a:lnTo>
                      <a:pt x="257" y="403"/>
                    </a:lnTo>
                    <a:lnTo>
                      <a:pt x="257" y="413"/>
                    </a:lnTo>
                    <a:lnTo>
                      <a:pt x="255" y="417"/>
                    </a:lnTo>
                    <a:lnTo>
                      <a:pt x="251" y="424"/>
                    </a:lnTo>
                    <a:lnTo>
                      <a:pt x="241" y="446"/>
                    </a:lnTo>
                    <a:lnTo>
                      <a:pt x="240" y="474"/>
                    </a:lnTo>
                    <a:lnTo>
                      <a:pt x="240" y="501"/>
                    </a:lnTo>
                    <a:lnTo>
                      <a:pt x="232" y="517"/>
                    </a:lnTo>
                    <a:lnTo>
                      <a:pt x="230" y="521"/>
                    </a:lnTo>
                    <a:lnTo>
                      <a:pt x="226" y="526"/>
                    </a:lnTo>
                    <a:lnTo>
                      <a:pt x="224" y="528"/>
                    </a:lnTo>
                    <a:lnTo>
                      <a:pt x="216" y="538"/>
                    </a:lnTo>
                    <a:lnTo>
                      <a:pt x="209" y="532"/>
                    </a:lnTo>
                    <a:lnTo>
                      <a:pt x="203" y="524"/>
                    </a:lnTo>
                    <a:lnTo>
                      <a:pt x="161" y="432"/>
                    </a:lnTo>
                    <a:lnTo>
                      <a:pt x="149" y="436"/>
                    </a:lnTo>
                    <a:lnTo>
                      <a:pt x="134" y="446"/>
                    </a:lnTo>
                    <a:lnTo>
                      <a:pt x="120" y="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29">
                <a:extLst>
                  <a:ext uri="{FF2B5EF4-FFF2-40B4-BE49-F238E27FC236}">
                    <a16:creationId xmlns:a16="http://schemas.microsoft.com/office/drawing/2014/main" id="{94EE0178-8893-94CD-8597-91EAC590D814}"/>
                  </a:ext>
                </a:extLst>
              </p:cNvPr>
              <p:cNvSpPr>
                <a:spLocks/>
              </p:cNvSpPr>
              <p:nvPr/>
            </p:nvSpPr>
            <p:spPr bwMode="gray">
              <a:xfrm>
                <a:off x="3414321" y="3780745"/>
                <a:ext cx="806373" cy="757877"/>
              </a:xfrm>
              <a:custGeom>
                <a:avLst/>
                <a:gdLst>
                  <a:gd name="T0" fmla="*/ 572 w 715"/>
                  <a:gd name="T1" fmla="*/ 130 h 672"/>
                  <a:gd name="T2" fmla="*/ 578 w 715"/>
                  <a:gd name="T3" fmla="*/ 167 h 672"/>
                  <a:gd name="T4" fmla="*/ 588 w 715"/>
                  <a:gd name="T5" fmla="*/ 196 h 672"/>
                  <a:gd name="T6" fmla="*/ 603 w 715"/>
                  <a:gd name="T7" fmla="*/ 200 h 672"/>
                  <a:gd name="T8" fmla="*/ 617 w 715"/>
                  <a:gd name="T9" fmla="*/ 201 h 672"/>
                  <a:gd name="T10" fmla="*/ 630 w 715"/>
                  <a:gd name="T11" fmla="*/ 200 h 672"/>
                  <a:gd name="T12" fmla="*/ 632 w 715"/>
                  <a:gd name="T13" fmla="*/ 207 h 672"/>
                  <a:gd name="T14" fmla="*/ 640 w 715"/>
                  <a:gd name="T15" fmla="*/ 228 h 672"/>
                  <a:gd name="T16" fmla="*/ 715 w 715"/>
                  <a:gd name="T17" fmla="*/ 236 h 672"/>
                  <a:gd name="T18" fmla="*/ 707 w 715"/>
                  <a:gd name="T19" fmla="*/ 273 h 672"/>
                  <a:gd name="T20" fmla="*/ 665 w 715"/>
                  <a:gd name="T21" fmla="*/ 284 h 672"/>
                  <a:gd name="T22" fmla="*/ 626 w 715"/>
                  <a:gd name="T23" fmla="*/ 288 h 672"/>
                  <a:gd name="T24" fmla="*/ 584 w 715"/>
                  <a:gd name="T25" fmla="*/ 334 h 672"/>
                  <a:gd name="T26" fmla="*/ 563 w 715"/>
                  <a:gd name="T27" fmla="*/ 355 h 672"/>
                  <a:gd name="T28" fmla="*/ 557 w 715"/>
                  <a:gd name="T29" fmla="*/ 401 h 672"/>
                  <a:gd name="T30" fmla="*/ 571 w 715"/>
                  <a:gd name="T31" fmla="*/ 428 h 672"/>
                  <a:gd name="T32" fmla="*/ 557 w 715"/>
                  <a:gd name="T33" fmla="*/ 470 h 672"/>
                  <a:gd name="T34" fmla="*/ 553 w 715"/>
                  <a:gd name="T35" fmla="*/ 509 h 672"/>
                  <a:gd name="T36" fmla="*/ 547 w 715"/>
                  <a:gd name="T37" fmla="*/ 545 h 672"/>
                  <a:gd name="T38" fmla="*/ 521 w 715"/>
                  <a:gd name="T39" fmla="*/ 538 h 672"/>
                  <a:gd name="T40" fmla="*/ 509 w 715"/>
                  <a:gd name="T41" fmla="*/ 526 h 672"/>
                  <a:gd name="T42" fmla="*/ 490 w 715"/>
                  <a:gd name="T43" fmla="*/ 509 h 672"/>
                  <a:gd name="T44" fmla="*/ 473 w 715"/>
                  <a:gd name="T45" fmla="*/ 505 h 672"/>
                  <a:gd name="T46" fmla="*/ 455 w 715"/>
                  <a:gd name="T47" fmla="*/ 511 h 672"/>
                  <a:gd name="T48" fmla="*/ 438 w 715"/>
                  <a:gd name="T49" fmla="*/ 524 h 672"/>
                  <a:gd name="T50" fmla="*/ 444 w 715"/>
                  <a:gd name="T51" fmla="*/ 538 h 672"/>
                  <a:gd name="T52" fmla="*/ 371 w 715"/>
                  <a:gd name="T53" fmla="*/ 638 h 672"/>
                  <a:gd name="T54" fmla="*/ 329 w 715"/>
                  <a:gd name="T55" fmla="*/ 645 h 672"/>
                  <a:gd name="T56" fmla="*/ 377 w 715"/>
                  <a:gd name="T57" fmla="*/ 518 h 672"/>
                  <a:gd name="T58" fmla="*/ 421 w 715"/>
                  <a:gd name="T59" fmla="*/ 522 h 672"/>
                  <a:gd name="T60" fmla="*/ 432 w 715"/>
                  <a:gd name="T61" fmla="*/ 501 h 672"/>
                  <a:gd name="T62" fmla="*/ 419 w 715"/>
                  <a:gd name="T63" fmla="*/ 495 h 672"/>
                  <a:gd name="T64" fmla="*/ 302 w 715"/>
                  <a:gd name="T65" fmla="*/ 420 h 672"/>
                  <a:gd name="T66" fmla="*/ 302 w 715"/>
                  <a:gd name="T67" fmla="*/ 405 h 672"/>
                  <a:gd name="T68" fmla="*/ 79 w 715"/>
                  <a:gd name="T69" fmla="*/ 457 h 672"/>
                  <a:gd name="T70" fmla="*/ 179 w 715"/>
                  <a:gd name="T71" fmla="*/ 419 h 672"/>
                  <a:gd name="T72" fmla="*/ 114 w 715"/>
                  <a:gd name="T73" fmla="*/ 301 h 672"/>
                  <a:gd name="T74" fmla="*/ 110 w 715"/>
                  <a:gd name="T75" fmla="*/ 232 h 672"/>
                  <a:gd name="T76" fmla="*/ 131 w 715"/>
                  <a:gd name="T77" fmla="*/ 184 h 672"/>
                  <a:gd name="T78" fmla="*/ 194 w 715"/>
                  <a:gd name="T79" fmla="*/ 280 h 672"/>
                  <a:gd name="T80" fmla="*/ 210 w 715"/>
                  <a:gd name="T81" fmla="*/ 253 h 672"/>
                  <a:gd name="T82" fmla="*/ 225 w 715"/>
                  <a:gd name="T83" fmla="*/ 169 h 672"/>
                  <a:gd name="T84" fmla="*/ 231 w 715"/>
                  <a:gd name="T85" fmla="*/ 127 h 672"/>
                  <a:gd name="T86" fmla="*/ 236 w 715"/>
                  <a:gd name="T87" fmla="*/ 78 h 672"/>
                  <a:gd name="T88" fmla="*/ 234 w 715"/>
                  <a:gd name="T89" fmla="*/ 32 h 672"/>
                  <a:gd name="T90" fmla="*/ 254 w 715"/>
                  <a:gd name="T91" fmla="*/ 17 h 672"/>
                  <a:gd name="T92" fmla="*/ 307 w 715"/>
                  <a:gd name="T93" fmla="*/ 59 h 672"/>
                  <a:gd name="T94" fmla="*/ 377 w 715"/>
                  <a:gd name="T95" fmla="*/ 84 h 672"/>
                  <a:gd name="T96" fmla="*/ 384 w 715"/>
                  <a:gd name="T97" fmla="*/ 57 h 672"/>
                  <a:gd name="T98" fmla="*/ 403 w 715"/>
                  <a:gd name="T99" fmla="*/ 42 h 672"/>
                  <a:gd name="T100" fmla="*/ 436 w 715"/>
                  <a:gd name="T101" fmla="*/ 77 h 672"/>
                  <a:gd name="T102" fmla="*/ 448 w 715"/>
                  <a:gd name="T103" fmla="*/ 71 h 672"/>
                  <a:gd name="T104" fmla="*/ 475 w 715"/>
                  <a:gd name="T105" fmla="*/ 77 h 672"/>
                  <a:gd name="T106" fmla="*/ 480 w 715"/>
                  <a:gd name="T107" fmla="*/ 92 h 672"/>
                  <a:gd name="T108" fmla="*/ 509 w 715"/>
                  <a:gd name="T109" fmla="*/ 105 h 672"/>
                  <a:gd name="T110" fmla="*/ 530 w 715"/>
                  <a:gd name="T111" fmla="*/ 111 h 672"/>
                  <a:gd name="T112" fmla="*/ 553 w 715"/>
                  <a:gd name="T113" fmla="*/ 11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5" h="672">
                    <a:moveTo>
                      <a:pt x="561" y="123"/>
                    </a:moveTo>
                    <a:lnTo>
                      <a:pt x="565" y="125"/>
                    </a:lnTo>
                    <a:lnTo>
                      <a:pt x="571" y="128"/>
                    </a:lnTo>
                    <a:lnTo>
                      <a:pt x="572" y="130"/>
                    </a:lnTo>
                    <a:lnTo>
                      <a:pt x="572" y="134"/>
                    </a:lnTo>
                    <a:lnTo>
                      <a:pt x="572" y="138"/>
                    </a:lnTo>
                    <a:lnTo>
                      <a:pt x="574" y="163"/>
                    </a:lnTo>
                    <a:lnTo>
                      <a:pt x="578" y="167"/>
                    </a:lnTo>
                    <a:lnTo>
                      <a:pt x="578" y="175"/>
                    </a:lnTo>
                    <a:lnTo>
                      <a:pt x="580" y="178"/>
                    </a:lnTo>
                    <a:lnTo>
                      <a:pt x="584" y="190"/>
                    </a:lnTo>
                    <a:lnTo>
                      <a:pt x="588" y="196"/>
                    </a:lnTo>
                    <a:lnTo>
                      <a:pt x="592" y="198"/>
                    </a:lnTo>
                    <a:lnTo>
                      <a:pt x="597" y="198"/>
                    </a:lnTo>
                    <a:lnTo>
                      <a:pt x="601" y="198"/>
                    </a:lnTo>
                    <a:lnTo>
                      <a:pt x="603" y="200"/>
                    </a:lnTo>
                    <a:lnTo>
                      <a:pt x="609" y="201"/>
                    </a:lnTo>
                    <a:lnTo>
                      <a:pt x="613" y="201"/>
                    </a:lnTo>
                    <a:lnTo>
                      <a:pt x="615" y="201"/>
                    </a:lnTo>
                    <a:lnTo>
                      <a:pt x="617" y="201"/>
                    </a:lnTo>
                    <a:lnTo>
                      <a:pt x="619" y="201"/>
                    </a:lnTo>
                    <a:lnTo>
                      <a:pt x="620" y="203"/>
                    </a:lnTo>
                    <a:lnTo>
                      <a:pt x="626" y="198"/>
                    </a:lnTo>
                    <a:lnTo>
                      <a:pt x="630" y="200"/>
                    </a:lnTo>
                    <a:lnTo>
                      <a:pt x="632" y="201"/>
                    </a:lnTo>
                    <a:lnTo>
                      <a:pt x="632" y="203"/>
                    </a:lnTo>
                    <a:lnTo>
                      <a:pt x="632" y="205"/>
                    </a:lnTo>
                    <a:lnTo>
                      <a:pt x="632" y="207"/>
                    </a:lnTo>
                    <a:lnTo>
                      <a:pt x="630" y="215"/>
                    </a:lnTo>
                    <a:lnTo>
                      <a:pt x="634" y="219"/>
                    </a:lnTo>
                    <a:lnTo>
                      <a:pt x="638" y="223"/>
                    </a:lnTo>
                    <a:lnTo>
                      <a:pt x="640" y="228"/>
                    </a:lnTo>
                    <a:lnTo>
                      <a:pt x="643" y="232"/>
                    </a:lnTo>
                    <a:lnTo>
                      <a:pt x="645" y="236"/>
                    </a:lnTo>
                    <a:lnTo>
                      <a:pt x="674" y="234"/>
                    </a:lnTo>
                    <a:lnTo>
                      <a:pt x="715" y="236"/>
                    </a:lnTo>
                    <a:lnTo>
                      <a:pt x="709" y="257"/>
                    </a:lnTo>
                    <a:lnTo>
                      <a:pt x="709" y="261"/>
                    </a:lnTo>
                    <a:lnTo>
                      <a:pt x="709" y="265"/>
                    </a:lnTo>
                    <a:lnTo>
                      <a:pt x="707" y="273"/>
                    </a:lnTo>
                    <a:lnTo>
                      <a:pt x="703" y="286"/>
                    </a:lnTo>
                    <a:lnTo>
                      <a:pt x="703" y="290"/>
                    </a:lnTo>
                    <a:lnTo>
                      <a:pt x="688" y="288"/>
                    </a:lnTo>
                    <a:lnTo>
                      <a:pt x="665" y="284"/>
                    </a:lnTo>
                    <a:lnTo>
                      <a:pt x="642" y="282"/>
                    </a:lnTo>
                    <a:lnTo>
                      <a:pt x="634" y="282"/>
                    </a:lnTo>
                    <a:lnTo>
                      <a:pt x="630" y="284"/>
                    </a:lnTo>
                    <a:lnTo>
                      <a:pt x="626" y="288"/>
                    </a:lnTo>
                    <a:lnTo>
                      <a:pt x="615" y="301"/>
                    </a:lnTo>
                    <a:lnTo>
                      <a:pt x="599" y="321"/>
                    </a:lnTo>
                    <a:lnTo>
                      <a:pt x="590" y="330"/>
                    </a:lnTo>
                    <a:lnTo>
                      <a:pt x="584" y="334"/>
                    </a:lnTo>
                    <a:lnTo>
                      <a:pt x="572" y="342"/>
                    </a:lnTo>
                    <a:lnTo>
                      <a:pt x="569" y="344"/>
                    </a:lnTo>
                    <a:lnTo>
                      <a:pt x="567" y="347"/>
                    </a:lnTo>
                    <a:lnTo>
                      <a:pt x="563" y="355"/>
                    </a:lnTo>
                    <a:lnTo>
                      <a:pt x="551" y="372"/>
                    </a:lnTo>
                    <a:lnTo>
                      <a:pt x="547" y="382"/>
                    </a:lnTo>
                    <a:lnTo>
                      <a:pt x="551" y="388"/>
                    </a:lnTo>
                    <a:lnTo>
                      <a:pt x="557" y="401"/>
                    </a:lnTo>
                    <a:lnTo>
                      <a:pt x="561" y="407"/>
                    </a:lnTo>
                    <a:lnTo>
                      <a:pt x="567" y="417"/>
                    </a:lnTo>
                    <a:lnTo>
                      <a:pt x="569" y="426"/>
                    </a:lnTo>
                    <a:lnTo>
                      <a:pt x="571" y="428"/>
                    </a:lnTo>
                    <a:lnTo>
                      <a:pt x="569" y="432"/>
                    </a:lnTo>
                    <a:lnTo>
                      <a:pt x="561" y="451"/>
                    </a:lnTo>
                    <a:lnTo>
                      <a:pt x="557" y="467"/>
                    </a:lnTo>
                    <a:lnTo>
                      <a:pt x="557" y="470"/>
                    </a:lnTo>
                    <a:lnTo>
                      <a:pt x="557" y="480"/>
                    </a:lnTo>
                    <a:lnTo>
                      <a:pt x="559" y="492"/>
                    </a:lnTo>
                    <a:lnTo>
                      <a:pt x="555" y="497"/>
                    </a:lnTo>
                    <a:lnTo>
                      <a:pt x="553" y="509"/>
                    </a:lnTo>
                    <a:lnTo>
                      <a:pt x="553" y="524"/>
                    </a:lnTo>
                    <a:lnTo>
                      <a:pt x="553" y="530"/>
                    </a:lnTo>
                    <a:lnTo>
                      <a:pt x="553" y="538"/>
                    </a:lnTo>
                    <a:lnTo>
                      <a:pt x="547" y="545"/>
                    </a:lnTo>
                    <a:lnTo>
                      <a:pt x="540" y="553"/>
                    </a:lnTo>
                    <a:lnTo>
                      <a:pt x="540" y="555"/>
                    </a:lnTo>
                    <a:lnTo>
                      <a:pt x="519" y="541"/>
                    </a:lnTo>
                    <a:lnTo>
                      <a:pt x="521" y="538"/>
                    </a:lnTo>
                    <a:lnTo>
                      <a:pt x="517" y="536"/>
                    </a:lnTo>
                    <a:lnTo>
                      <a:pt x="513" y="538"/>
                    </a:lnTo>
                    <a:lnTo>
                      <a:pt x="507" y="530"/>
                    </a:lnTo>
                    <a:lnTo>
                      <a:pt x="509" y="526"/>
                    </a:lnTo>
                    <a:lnTo>
                      <a:pt x="505" y="520"/>
                    </a:lnTo>
                    <a:lnTo>
                      <a:pt x="498" y="526"/>
                    </a:lnTo>
                    <a:lnTo>
                      <a:pt x="484" y="518"/>
                    </a:lnTo>
                    <a:lnTo>
                      <a:pt x="490" y="509"/>
                    </a:lnTo>
                    <a:lnTo>
                      <a:pt x="478" y="501"/>
                    </a:lnTo>
                    <a:lnTo>
                      <a:pt x="476" y="503"/>
                    </a:lnTo>
                    <a:lnTo>
                      <a:pt x="473" y="503"/>
                    </a:lnTo>
                    <a:lnTo>
                      <a:pt x="473" y="505"/>
                    </a:lnTo>
                    <a:lnTo>
                      <a:pt x="467" y="507"/>
                    </a:lnTo>
                    <a:lnTo>
                      <a:pt x="463" y="509"/>
                    </a:lnTo>
                    <a:lnTo>
                      <a:pt x="459" y="507"/>
                    </a:lnTo>
                    <a:lnTo>
                      <a:pt x="455" y="511"/>
                    </a:lnTo>
                    <a:lnTo>
                      <a:pt x="451" y="513"/>
                    </a:lnTo>
                    <a:lnTo>
                      <a:pt x="448" y="513"/>
                    </a:lnTo>
                    <a:lnTo>
                      <a:pt x="444" y="513"/>
                    </a:lnTo>
                    <a:lnTo>
                      <a:pt x="438" y="524"/>
                    </a:lnTo>
                    <a:lnTo>
                      <a:pt x="436" y="526"/>
                    </a:lnTo>
                    <a:lnTo>
                      <a:pt x="440" y="530"/>
                    </a:lnTo>
                    <a:lnTo>
                      <a:pt x="442" y="532"/>
                    </a:lnTo>
                    <a:lnTo>
                      <a:pt x="444" y="538"/>
                    </a:lnTo>
                    <a:lnTo>
                      <a:pt x="434" y="543"/>
                    </a:lnTo>
                    <a:lnTo>
                      <a:pt x="427" y="547"/>
                    </a:lnTo>
                    <a:lnTo>
                      <a:pt x="373" y="636"/>
                    </a:lnTo>
                    <a:lnTo>
                      <a:pt x="371" y="638"/>
                    </a:lnTo>
                    <a:lnTo>
                      <a:pt x="365" y="634"/>
                    </a:lnTo>
                    <a:lnTo>
                      <a:pt x="359" y="634"/>
                    </a:lnTo>
                    <a:lnTo>
                      <a:pt x="342" y="622"/>
                    </a:lnTo>
                    <a:lnTo>
                      <a:pt x="329" y="645"/>
                    </a:lnTo>
                    <a:lnTo>
                      <a:pt x="361" y="664"/>
                    </a:lnTo>
                    <a:lnTo>
                      <a:pt x="357" y="672"/>
                    </a:lnTo>
                    <a:lnTo>
                      <a:pt x="307" y="639"/>
                    </a:lnTo>
                    <a:lnTo>
                      <a:pt x="377" y="518"/>
                    </a:lnTo>
                    <a:lnTo>
                      <a:pt x="398" y="526"/>
                    </a:lnTo>
                    <a:lnTo>
                      <a:pt x="405" y="530"/>
                    </a:lnTo>
                    <a:lnTo>
                      <a:pt x="411" y="526"/>
                    </a:lnTo>
                    <a:lnTo>
                      <a:pt x="421" y="522"/>
                    </a:lnTo>
                    <a:lnTo>
                      <a:pt x="419" y="518"/>
                    </a:lnTo>
                    <a:lnTo>
                      <a:pt x="419" y="516"/>
                    </a:lnTo>
                    <a:lnTo>
                      <a:pt x="428" y="501"/>
                    </a:lnTo>
                    <a:lnTo>
                      <a:pt x="432" y="501"/>
                    </a:lnTo>
                    <a:lnTo>
                      <a:pt x="434" y="495"/>
                    </a:lnTo>
                    <a:lnTo>
                      <a:pt x="432" y="493"/>
                    </a:lnTo>
                    <a:lnTo>
                      <a:pt x="430" y="490"/>
                    </a:lnTo>
                    <a:lnTo>
                      <a:pt x="419" y="495"/>
                    </a:lnTo>
                    <a:lnTo>
                      <a:pt x="317" y="434"/>
                    </a:lnTo>
                    <a:lnTo>
                      <a:pt x="298" y="420"/>
                    </a:lnTo>
                    <a:lnTo>
                      <a:pt x="300" y="419"/>
                    </a:lnTo>
                    <a:lnTo>
                      <a:pt x="302" y="420"/>
                    </a:lnTo>
                    <a:lnTo>
                      <a:pt x="306" y="415"/>
                    </a:lnTo>
                    <a:lnTo>
                      <a:pt x="323" y="426"/>
                    </a:lnTo>
                    <a:lnTo>
                      <a:pt x="327" y="420"/>
                    </a:lnTo>
                    <a:lnTo>
                      <a:pt x="302" y="405"/>
                    </a:lnTo>
                    <a:lnTo>
                      <a:pt x="294" y="420"/>
                    </a:lnTo>
                    <a:lnTo>
                      <a:pt x="281" y="442"/>
                    </a:lnTo>
                    <a:lnTo>
                      <a:pt x="221" y="541"/>
                    </a:lnTo>
                    <a:lnTo>
                      <a:pt x="79" y="457"/>
                    </a:lnTo>
                    <a:lnTo>
                      <a:pt x="0" y="409"/>
                    </a:lnTo>
                    <a:lnTo>
                      <a:pt x="29" y="359"/>
                    </a:lnTo>
                    <a:lnTo>
                      <a:pt x="67" y="353"/>
                    </a:lnTo>
                    <a:lnTo>
                      <a:pt x="179" y="419"/>
                    </a:lnTo>
                    <a:lnTo>
                      <a:pt x="204" y="434"/>
                    </a:lnTo>
                    <a:lnTo>
                      <a:pt x="236" y="376"/>
                    </a:lnTo>
                    <a:lnTo>
                      <a:pt x="125" y="309"/>
                    </a:lnTo>
                    <a:lnTo>
                      <a:pt x="114" y="301"/>
                    </a:lnTo>
                    <a:lnTo>
                      <a:pt x="133" y="265"/>
                    </a:lnTo>
                    <a:lnTo>
                      <a:pt x="135" y="263"/>
                    </a:lnTo>
                    <a:lnTo>
                      <a:pt x="129" y="248"/>
                    </a:lnTo>
                    <a:lnTo>
                      <a:pt x="110" y="232"/>
                    </a:lnTo>
                    <a:lnTo>
                      <a:pt x="90" y="209"/>
                    </a:lnTo>
                    <a:lnTo>
                      <a:pt x="104" y="198"/>
                    </a:lnTo>
                    <a:lnTo>
                      <a:pt x="119" y="188"/>
                    </a:lnTo>
                    <a:lnTo>
                      <a:pt x="131" y="184"/>
                    </a:lnTo>
                    <a:lnTo>
                      <a:pt x="173" y="276"/>
                    </a:lnTo>
                    <a:lnTo>
                      <a:pt x="179" y="284"/>
                    </a:lnTo>
                    <a:lnTo>
                      <a:pt x="186" y="290"/>
                    </a:lnTo>
                    <a:lnTo>
                      <a:pt x="194" y="280"/>
                    </a:lnTo>
                    <a:lnTo>
                      <a:pt x="196" y="278"/>
                    </a:lnTo>
                    <a:lnTo>
                      <a:pt x="200" y="273"/>
                    </a:lnTo>
                    <a:lnTo>
                      <a:pt x="202" y="269"/>
                    </a:lnTo>
                    <a:lnTo>
                      <a:pt x="210" y="253"/>
                    </a:lnTo>
                    <a:lnTo>
                      <a:pt x="210" y="226"/>
                    </a:lnTo>
                    <a:lnTo>
                      <a:pt x="211" y="198"/>
                    </a:lnTo>
                    <a:lnTo>
                      <a:pt x="221" y="176"/>
                    </a:lnTo>
                    <a:lnTo>
                      <a:pt x="225" y="169"/>
                    </a:lnTo>
                    <a:lnTo>
                      <a:pt x="227" y="165"/>
                    </a:lnTo>
                    <a:lnTo>
                      <a:pt x="227" y="155"/>
                    </a:lnTo>
                    <a:lnTo>
                      <a:pt x="227" y="146"/>
                    </a:lnTo>
                    <a:lnTo>
                      <a:pt x="231" y="127"/>
                    </a:lnTo>
                    <a:lnTo>
                      <a:pt x="234" y="115"/>
                    </a:lnTo>
                    <a:lnTo>
                      <a:pt x="236" y="98"/>
                    </a:lnTo>
                    <a:lnTo>
                      <a:pt x="236" y="88"/>
                    </a:lnTo>
                    <a:lnTo>
                      <a:pt x="236" y="78"/>
                    </a:lnTo>
                    <a:lnTo>
                      <a:pt x="236" y="69"/>
                    </a:lnTo>
                    <a:lnTo>
                      <a:pt x="238" y="67"/>
                    </a:lnTo>
                    <a:lnTo>
                      <a:pt x="236" y="52"/>
                    </a:lnTo>
                    <a:lnTo>
                      <a:pt x="234" y="32"/>
                    </a:lnTo>
                    <a:lnTo>
                      <a:pt x="233" y="21"/>
                    </a:lnTo>
                    <a:lnTo>
                      <a:pt x="227" y="0"/>
                    </a:lnTo>
                    <a:lnTo>
                      <a:pt x="233" y="4"/>
                    </a:lnTo>
                    <a:lnTo>
                      <a:pt x="254" y="17"/>
                    </a:lnTo>
                    <a:lnTo>
                      <a:pt x="267" y="27"/>
                    </a:lnTo>
                    <a:lnTo>
                      <a:pt x="294" y="46"/>
                    </a:lnTo>
                    <a:lnTo>
                      <a:pt x="300" y="52"/>
                    </a:lnTo>
                    <a:lnTo>
                      <a:pt x="307" y="59"/>
                    </a:lnTo>
                    <a:lnTo>
                      <a:pt x="342" y="69"/>
                    </a:lnTo>
                    <a:lnTo>
                      <a:pt x="365" y="78"/>
                    </a:lnTo>
                    <a:lnTo>
                      <a:pt x="373" y="82"/>
                    </a:lnTo>
                    <a:lnTo>
                      <a:pt x="377" y="84"/>
                    </a:lnTo>
                    <a:lnTo>
                      <a:pt x="392" y="82"/>
                    </a:lnTo>
                    <a:lnTo>
                      <a:pt x="388" y="73"/>
                    </a:lnTo>
                    <a:lnTo>
                      <a:pt x="382" y="59"/>
                    </a:lnTo>
                    <a:lnTo>
                      <a:pt x="384" y="57"/>
                    </a:lnTo>
                    <a:lnTo>
                      <a:pt x="384" y="52"/>
                    </a:lnTo>
                    <a:lnTo>
                      <a:pt x="378" y="36"/>
                    </a:lnTo>
                    <a:lnTo>
                      <a:pt x="392" y="30"/>
                    </a:lnTo>
                    <a:lnTo>
                      <a:pt x="403" y="42"/>
                    </a:lnTo>
                    <a:lnTo>
                      <a:pt x="419" y="55"/>
                    </a:lnTo>
                    <a:lnTo>
                      <a:pt x="430" y="61"/>
                    </a:lnTo>
                    <a:lnTo>
                      <a:pt x="434" y="69"/>
                    </a:lnTo>
                    <a:lnTo>
                      <a:pt x="436" y="77"/>
                    </a:lnTo>
                    <a:lnTo>
                      <a:pt x="436" y="82"/>
                    </a:lnTo>
                    <a:lnTo>
                      <a:pt x="440" y="86"/>
                    </a:lnTo>
                    <a:lnTo>
                      <a:pt x="442" y="78"/>
                    </a:lnTo>
                    <a:lnTo>
                      <a:pt x="448" y="71"/>
                    </a:lnTo>
                    <a:lnTo>
                      <a:pt x="459" y="59"/>
                    </a:lnTo>
                    <a:lnTo>
                      <a:pt x="463" y="55"/>
                    </a:lnTo>
                    <a:lnTo>
                      <a:pt x="471" y="61"/>
                    </a:lnTo>
                    <a:lnTo>
                      <a:pt x="475" y="77"/>
                    </a:lnTo>
                    <a:lnTo>
                      <a:pt x="478" y="80"/>
                    </a:lnTo>
                    <a:lnTo>
                      <a:pt x="480" y="84"/>
                    </a:lnTo>
                    <a:lnTo>
                      <a:pt x="476" y="90"/>
                    </a:lnTo>
                    <a:lnTo>
                      <a:pt x="480" y="92"/>
                    </a:lnTo>
                    <a:lnTo>
                      <a:pt x="486" y="94"/>
                    </a:lnTo>
                    <a:lnTo>
                      <a:pt x="494" y="94"/>
                    </a:lnTo>
                    <a:lnTo>
                      <a:pt x="501" y="96"/>
                    </a:lnTo>
                    <a:lnTo>
                      <a:pt x="509" y="105"/>
                    </a:lnTo>
                    <a:lnTo>
                      <a:pt x="511" y="103"/>
                    </a:lnTo>
                    <a:lnTo>
                      <a:pt x="517" y="109"/>
                    </a:lnTo>
                    <a:lnTo>
                      <a:pt x="526" y="113"/>
                    </a:lnTo>
                    <a:lnTo>
                      <a:pt x="530" y="111"/>
                    </a:lnTo>
                    <a:lnTo>
                      <a:pt x="538" y="109"/>
                    </a:lnTo>
                    <a:lnTo>
                      <a:pt x="544" y="109"/>
                    </a:lnTo>
                    <a:lnTo>
                      <a:pt x="547" y="111"/>
                    </a:lnTo>
                    <a:lnTo>
                      <a:pt x="553" y="117"/>
                    </a:lnTo>
                    <a:lnTo>
                      <a:pt x="561" y="123"/>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30">
                <a:extLst>
                  <a:ext uri="{FF2B5EF4-FFF2-40B4-BE49-F238E27FC236}">
                    <a16:creationId xmlns:a16="http://schemas.microsoft.com/office/drawing/2014/main" id="{C6E1466A-023E-602D-440C-175B927D5D33}"/>
                  </a:ext>
                </a:extLst>
              </p:cNvPr>
              <p:cNvSpPr>
                <a:spLocks noEditPoints="1"/>
              </p:cNvSpPr>
              <p:nvPr/>
            </p:nvSpPr>
            <p:spPr bwMode="gray">
              <a:xfrm>
                <a:off x="2924858" y="3357822"/>
                <a:ext cx="563897" cy="693593"/>
              </a:xfrm>
              <a:custGeom>
                <a:avLst/>
                <a:gdLst>
                  <a:gd name="T0" fmla="*/ 50 w 500"/>
                  <a:gd name="T1" fmla="*/ 507 h 615"/>
                  <a:gd name="T2" fmla="*/ 123 w 500"/>
                  <a:gd name="T3" fmla="*/ 565 h 615"/>
                  <a:gd name="T4" fmla="*/ 131 w 500"/>
                  <a:gd name="T5" fmla="*/ 582 h 615"/>
                  <a:gd name="T6" fmla="*/ 20 w 500"/>
                  <a:gd name="T7" fmla="*/ 492 h 615"/>
                  <a:gd name="T8" fmla="*/ 27 w 500"/>
                  <a:gd name="T9" fmla="*/ 496 h 615"/>
                  <a:gd name="T10" fmla="*/ 31 w 500"/>
                  <a:gd name="T11" fmla="*/ 505 h 615"/>
                  <a:gd name="T12" fmla="*/ 46 w 500"/>
                  <a:gd name="T13" fmla="*/ 507 h 615"/>
                  <a:gd name="T14" fmla="*/ 430 w 500"/>
                  <a:gd name="T15" fmla="*/ 261 h 615"/>
                  <a:gd name="T16" fmla="*/ 438 w 500"/>
                  <a:gd name="T17" fmla="*/ 302 h 615"/>
                  <a:gd name="T18" fmla="*/ 453 w 500"/>
                  <a:gd name="T19" fmla="*/ 342 h 615"/>
                  <a:gd name="T20" fmla="*/ 430 w 500"/>
                  <a:gd name="T21" fmla="*/ 386 h 615"/>
                  <a:gd name="T22" fmla="*/ 404 w 500"/>
                  <a:gd name="T23" fmla="*/ 444 h 615"/>
                  <a:gd name="T24" fmla="*/ 394 w 500"/>
                  <a:gd name="T25" fmla="*/ 461 h 615"/>
                  <a:gd name="T26" fmla="*/ 388 w 500"/>
                  <a:gd name="T27" fmla="*/ 496 h 615"/>
                  <a:gd name="T28" fmla="*/ 430 w 500"/>
                  <a:gd name="T29" fmla="*/ 484 h 615"/>
                  <a:gd name="T30" fmla="*/ 457 w 500"/>
                  <a:gd name="T31" fmla="*/ 502 h 615"/>
                  <a:gd name="T32" fmla="*/ 461 w 500"/>
                  <a:gd name="T33" fmla="*/ 607 h 615"/>
                  <a:gd name="T34" fmla="*/ 365 w 500"/>
                  <a:gd name="T35" fmla="*/ 586 h 615"/>
                  <a:gd name="T36" fmla="*/ 334 w 500"/>
                  <a:gd name="T37" fmla="*/ 586 h 615"/>
                  <a:gd name="T38" fmla="*/ 188 w 500"/>
                  <a:gd name="T39" fmla="*/ 475 h 615"/>
                  <a:gd name="T40" fmla="*/ 215 w 500"/>
                  <a:gd name="T41" fmla="*/ 415 h 615"/>
                  <a:gd name="T42" fmla="*/ 261 w 500"/>
                  <a:gd name="T43" fmla="*/ 300 h 615"/>
                  <a:gd name="T44" fmla="*/ 246 w 500"/>
                  <a:gd name="T45" fmla="*/ 309 h 615"/>
                  <a:gd name="T46" fmla="*/ 167 w 500"/>
                  <a:gd name="T47" fmla="*/ 473 h 615"/>
                  <a:gd name="T48" fmla="*/ 175 w 500"/>
                  <a:gd name="T49" fmla="*/ 519 h 615"/>
                  <a:gd name="T50" fmla="*/ 187 w 500"/>
                  <a:gd name="T51" fmla="*/ 544 h 615"/>
                  <a:gd name="T52" fmla="*/ 194 w 500"/>
                  <a:gd name="T53" fmla="*/ 575 h 615"/>
                  <a:gd name="T54" fmla="*/ 68 w 500"/>
                  <a:gd name="T55" fmla="*/ 486 h 615"/>
                  <a:gd name="T56" fmla="*/ 33 w 500"/>
                  <a:gd name="T57" fmla="*/ 484 h 615"/>
                  <a:gd name="T58" fmla="*/ 12 w 500"/>
                  <a:gd name="T59" fmla="*/ 484 h 615"/>
                  <a:gd name="T60" fmla="*/ 2 w 500"/>
                  <a:gd name="T61" fmla="*/ 436 h 615"/>
                  <a:gd name="T62" fmla="*/ 108 w 500"/>
                  <a:gd name="T63" fmla="*/ 421 h 615"/>
                  <a:gd name="T64" fmla="*/ 114 w 500"/>
                  <a:gd name="T65" fmla="*/ 384 h 615"/>
                  <a:gd name="T66" fmla="*/ 106 w 500"/>
                  <a:gd name="T67" fmla="*/ 323 h 615"/>
                  <a:gd name="T68" fmla="*/ 164 w 500"/>
                  <a:gd name="T69" fmla="*/ 273 h 615"/>
                  <a:gd name="T70" fmla="*/ 165 w 500"/>
                  <a:gd name="T71" fmla="*/ 231 h 615"/>
                  <a:gd name="T72" fmla="*/ 156 w 500"/>
                  <a:gd name="T73" fmla="*/ 163 h 615"/>
                  <a:gd name="T74" fmla="*/ 125 w 500"/>
                  <a:gd name="T75" fmla="*/ 127 h 615"/>
                  <a:gd name="T76" fmla="*/ 123 w 500"/>
                  <a:gd name="T77" fmla="*/ 115 h 615"/>
                  <a:gd name="T78" fmla="*/ 133 w 500"/>
                  <a:gd name="T79" fmla="*/ 98 h 615"/>
                  <a:gd name="T80" fmla="*/ 175 w 500"/>
                  <a:gd name="T81" fmla="*/ 98 h 615"/>
                  <a:gd name="T82" fmla="*/ 200 w 500"/>
                  <a:gd name="T83" fmla="*/ 85 h 615"/>
                  <a:gd name="T84" fmla="*/ 260 w 500"/>
                  <a:gd name="T85" fmla="*/ 44 h 615"/>
                  <a:gd name="T86" fmla="*/ 313 w 500"/>
                  <a:gd name="T87" fmla="*/ 88 h 615"/>
                  <a:gd name="T88" fmla="*/ 361 w 500"/>
                  <a:gd name="T89" fmla="*/ 9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0" h="615">
                    <a:moveTo>
                      <a:pt x="46" y="507"/>
                    </a:moveTo>
                    <a:lnTo>
                      <a:pt x="50" y="509"/>
                    </a:lnTo>
                    <a:lnTo>
                      <a:pt x="50" y="507"/>
                    </a:lnTo>
                    <a:lnTo>
                      <a:pt x="52" y="505"/>
                    </a:lnTo>
                    <a:lnTo>
                      <a:pt x="60" y="509"/>
                    </a:lnTo>
                    <a:lnTo>
                      <a:pt x="123" y="565"/>
                    </a:lnTo>
                    <a:lnTo>
                      <a:pt x="114" y="576"/>
                    </a:lnTo>
                    <a:lnTo>
                      <a:pt x="131" y="578"/>
                    </a:lnTo>
                    <a:lnTo>
                      <a:pt x="131" y="582"/>
                    </a:lnTo>
                    <a:lnTo>
                      <a:pt x="75" y="580"/>
                    </a:lnTo>
                    <a:lnTo>
                      <a:pt x="20" y="580"/>
                    </a:lnTo>
                    <a:lnTo>
                      <a:pt x="20" y="492"/>
                    </a:lnTo>
                    <a:lnTo>
                      <a:pt x="23" y="492"/>
                    </a:lnTo>
                    <a:lnTo>
                      <a:pt x="27" y="492"/>
                    </a:lnTo>
                    <a:lnTo>
                      <a:pt x="27" y="496"/>
                    </a:lnTo>
                    <a:lnTo>
                      <a:pt x="29" y="500"/>
                    </a:lnTo>
                    <a:lnTo>
                      <a:pt x="29" y="503"/>
                    </a:lnTo>
                    <a:lnTo>
                      <a:pt x="31" y="505"/>
                    </a:lnTo>
                    <a:lnTo>
                      <a:pt x="37" y="505"/>
                    </a:lnTo>
                    <a:lnTo>
                      <a:pt x="43" y="505"/>
                    </a:lnTo>
                    <a:lnTo>
                      <a:pt x="46" y="507"/>
                    </a:lnTo>
                    <a:close/>
                    <a:moveTo>
                      <a:pt x="419" y="127"/>
                    </a:moveTo>
                    <a:lnTo>
                      <a:pt x="417" y="148"/>
                    </a:lnTo>
                    <a:lnTo>
                      <a:pt x="430" y="261"/>
                    </a:lnTo>
                    <a:lnTo>
                      <a:pt x="430" y="277"/>
                    </a:lnTo>
                    <a:lnTo>
                      <a:pt x="432" y="290"/>
                    </a:lnTo>
                    <a:lnTo>
                      <a:pt x="438" y="302"/>
                    </a:lnTo>
                    <a:lnTo>
                      <a:pt x="453" y="327"/>
                    </a:lnTo>
                    <a:lnTo>
                      <a:pt x="455" y="331"/>
                    </a:lnTo>
                    <a:lnTo>
                      <a:pt x="453" y="342"/>
                    </a:lnTo>
                    <a:lnTo>
                      <a:pt x="444" y="365"/>
                    </a:lnTo>
                    <a:lnTo>
                      <a:pt x="434" y="379"/>
                    </a:lnTo>
                    <a:lnTo>
                      <a:pt x="430" y="386"/>
                    </a:lnTo>
                    <a:lnTo>
                      <a:pt x="415" y="409"/>
                    </a:lnTo>
                    <a:lnTo>
                      <a:pt x="405" y="434"/>
                    </a:lnTo>
                    <a:lnTo>
                      <a:pt x="404" y="444"/>
                    </a:lnTo>
                    <a:lnTo>
                      <a:pt x="405" y="455"/>
                    </a:lnTo>
                    <a:lnTo>
                      <a:pt x="402" y="455"/>
                    </a:lnTo>
                    <a:lnTo>
                      <a:pt x="394" y="461"/>
                    </a:lnTo>
                    <a:lnTo>
                      <a:pt x="379" y="482"/>
                    </a:lnTo>
                    <a:lnTo>
                      <a:pt x="379" y="488"/>
                    </a:lnTo>
                    <a:lnTo>
                      <a:pt x="388" y="496"/>
                    </a:lnTo>
                    <a:lnTo>
                      <a:pt x="402" y="498"/>
                    </a:lnTo>
                    <a:lnTo>
                      <a:pt x="417" y="486"/>
                    </a:lnTo>
                    <a:lnTo>
                      <a:pt x="430" y="484"/>
                    </a:lnTo>
                    <a:lnTo>
                      <a:pt x="446" y="490"/>
                    </a:lnTo>
                    <a:lnTo>
                      <a:pt x="455" y="498"/>
                    </a:lnTo>
                    <a:lnTo>
                      <a:pt x="457" y="502"/>
                    </a:lnTo>
                    <a:lnTo>
                      <a:pt x="500" y="598"/>
                    </a:lnTo>
                    <a:lnTo>
                      <a:pt x="494" y="605"/>
                    </a:lnTo>
                    <a:lnTo>
                      <a:pt x="461" y="607"/>
                    </a:lnTo>
                    <a:lnTo>
                      <a:pt x="428" y="615"/>
                    </a:lnTo>
                    <a:lnTo>
                      <a:pt x="367" y="594"/>
                    </a:lnTo>
                    <a:lnTo>
                      <a:pt x="365" y="586"/>
                    </a:lnTo>
                    <a:lnTo>
                      <a:pt x="375" y="565"/>
                    </a:lnTo>
                    <a:lnTo>
                      <a:pt x="361" y="563"/>
                    </a:lnTo>
                    <a:lnTo>
                      <a:pt x="334" y="586"/>
                    </a:lnTo>
                    <a:lnTo>
                      <a:pt x="240" y="567"/>
                    </a:lnTo>
                    <a:lnTo>
                      <a:pt x="215" y="559"/>
                    </a:lnTo>
                    <a:lnTo>
                      <a:pt x="188" y="475"/>
                    </a:lnTo>
                    <a:lnTo>
                      <a:pt x="192" y="452"/>
                    </a:lnTo>
                    <a:lnTo>
                      <a:pt x="198" y="440"/>
                    </a:lnTo>
                    <a:lnTo>
                      <a:pt x="215" y="415"/>
                    </a:lnTo>
                    <a:lnTo>
                      <a:pt x="244" y="367"/>
                    </a:lnTo>
                    <a:lnTo>
                      <a:pt x="252" y="338"/>
                    </a:lnTo>
                    <a:lnTo>
                      <a:pt x="261" y="300"/>
                    </a:lnTo>
                    <a:lnTo>
                      <a:pt x="254" y="292"/>
                    </a:lnTo>
                    <a:lnTo>
                      <a:pt x="248" y="298"/>
                    </a:lnTo>
                    <a:lnTo>
                      <a:pt x="246" y="309"/>
                    </a:lnTo>
                    <a:lnTo>
                      <a:pt x="233" y="344"/>
                    </a:lnTo>
                    <a:lnTo>
                      <a:pt x="179" y="430"/>
                    </a:lnTo>
                    <a:lnTo>
                      <a:pt x="167" y="473"/>
                    </a:lnTo>
                    <a:lnTo>
                      <a:pt x="144" y="517"/>
                    </a:lnTo>
                    <a:lnTo>
                      <a:pt x="154" y="525"/>
                    </a:lnTo>
                    <a:lnTo>
                      <a:pt x="175" y="519"/>
                    </a:lnTo>
                    <a:lnTo>
                      <a:pt x="171" y="507"/>
                    </a:lnTo>
                    <a:lnTo>
                      <a:pt x="175" y="505"/>
                    </a:lnTo>
                    <a:lnTo>
                      <a:pt x="187" y="544"/>
                    </a:lnTo>
                    <a:lnTo>
                      <a:pt x="192" y="557"/>
                    </a:lnTo>
                    <a:lnTo>
                      <a:pt x="196" y="573"/>
                    </a:lnTo>
                    <a:lnTo>
                      <a:pt x="194" y="575"/>
                    </a:lnTo>
                    <a:lnTo>
                      <a:pt x="185" y="571"/>
                    </a:lnTo>
                    <a:lnTo>
                      <a:pt x="137" y="548"/>
                    </a:lnTo>
                    <a:lnTo>
                      <a:pt x="68" y="486"/>
                    </a:lnTo>
                    <a:lnTo>
                      <a:pt x="66" y="484"/>
                    </a:lnTo>
                    <a:lnTo>
                      <a:pt x="56" y="484"/>
                    </a:lnTo>
                    <a:lnTo>
                      <a:pt x="33" y="484"/>
                    </a:lnTo>
                    <a:lnTo>
                      <a:pt x="33" y="480"/>
                    </a:lnTo>
                    <a:lnTo>
                      <a:pt x="20" y="480"/>
                    </a:lnTo>
                    <a:lnTo>
                      <a:pt x="12" y="484"/>
                    </a:lnTo>
                    <a:lnTo>
                      <a:pt x="2" y="465"/>
                    </a:lnTo>
                    <a:lnTo>
                      <a:pt x="4" y="450"/>
                    </a:lnTo>
                    <a:lnTo>
                      <a:pt x="2" y="436"/>
                    </a:lnTo>
                    <a:lnTo>
                      <a:pt x="0" y="425"/>
                    </a:lnTo>
                    <a:lnTo>
                      <a:pt x="89" y="419"/>
                    </a:lnTo>
                    <a:lnTo>
                      <a:pt x="108" y="421"/>
                    </a:lnTo>
                    <a:lnTo>
                      <a:pt x="108" y="407"/>
                    </a:lnTo>
                    <a:lnTo>
                      <a:pt x="110" y="402"/>
                    </a:lnTo>
                    <a:lnTo>
                      <a:pt x="114" y="384"/>
                    </a:lnTo>
                    <a:lnTo>
                      <a:pt x="116" y="361"/>
                    </a:lnTo>
                    <a:lnTo>
                      <a:pt x="114" y="346"/>
                    </a:lnTo>
                    <a:lnTo>
                      <a:pt x="106" y="323"/>
                    </a:lnTo>
                    <a:lnTo>
                      <a:pt x="177" y="306"/>
                    </a:lnTo>
                    <a:lnTo>
                      <a:pt x="171" y="292"/>
                    </a:lnTo>
                    <a:lnTo>
                      <a:pt x="164" y="273"/>
                    </a:lnTo>
                    <a:lnTo>
                      <a:pt x="164" y="267"/>
                    </a:lnTo>
                    <a:lnTo>
                      <a:pt x="164" y="259"/>
                    </a:lnTo>
                    <a:lnTo>
                      <a:pt x="165" y="231"/>
                    </a:lnTo>
                    <a:lnTo>
                      <a:pt x="165" y="183"/>
                    </a:lnTo>
                    <a:lnTo>
                      <a:pt x="164" y="171"/>
                    </a:lnTo>
                    <a:lnTo>
                      <a:pt x="156" y="163"/>
                    </a:lnTo>
                    <a:lnTo>
                      <a:pt x="144" y="140"/>
                    </a:lnTo>
                    <a:lnTo>
                      <a:pt x="133" y="133"/>
                    </a:lnTo>
                    <a:lnTo>
                      <a:pt x="125" y="127"/>
                    </a:lnTo>
                    <a:lnTo>
                      <a:pt x="123" y="121"/>
                    </a:lnTo>
                    <a:lnTo>
                      <a:pt x="123" y="117"/>
                    </a:lnTo>
                    <a:lnTo>
                      <a:pt x="123" y="115"/>
                    </a:lnTo>
                    <a:lnTo>
                      <a:pt x="125" y="112"/>
                    </a:lnTo>
                    <a:lnTo>
                      <a:pt x="127" y="106"/>
                    </a:lnTo>
                    <a:lnTo>
                      <a:pt x="133" y="98"/>
                    </a:lnTo>
                    <a:lnTo>
                      <a:pt x="133" y="92"/>
                    </a:lnTo>
                    <a:lnTo>
                      <a:pt x="162" y="96"/>
                    </a:lnTo>
                    <a:lnTo>
                      <a:pt x="175" y="98"/>
                    </a:lnTo>
                    <a:lnTo>
                      <a:pt x="188" y="100"/>
                    </a:lnTo>
                    <a:lnTo>
                      <a:pt x="200" y="100"/>
                    </a:lnTo>
                    <a:lnTo>
                      <a:pt x="200" y="85"/>
                    </a:lnTo>
                    <a:lnTo>
                      <a:pt x="200" y="0"/>
                    </a:lnTo>
                    <a:lnTo>
                      <a:pt x="235" y="21"/>
                    </a:lnTo>
                    <a:lnTo>
                      <a:pt x="260" y="44"/>
                    </a:lnTo>
                    <a:lnTo>
                      <a:pt x="277" y="62"/>
                    </a:lnTo>
                    <a:lnTo>
                      <a:pt x="298" y="81"/>
                    </a:lnTo>
                    <a:lnTo>
                      <a:pt x="313" y="88"/>
                    </a:lnTo>
                    <a:lnTo>
                      <a:pt x="331" y="90"/>
                    </a:lnTo>
                    <a:lnTo>
                      <a:pt x="348" y="92"/>
                    </a:lnTo>
                    <a:lnTo>
                      <a:pt x="361" y="94"/>
                    </a:lnTo>
                    <a:lnTo>
                      <a:pt x="382" y="106"/>
                    </a:lnTo>
                    <a:lnTo>
                      <a:pt x="419" y="1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31">
                <a:extLst>
                  <a:ext uri="{FF2B5EF4-FFF2-40B4-BE49-F238E27FC236}">
                    <a16:creationId xmlns:a16="http://schemas.microsoft.com/office/drawing/2014/main" id="{8EA83DA9-E8AA-E716-91FC-8DE5B77EA7B1}"/>
                  </a:ext>
                </a:extLst>
              </p:cNvPr>
              <p:cNvSpPr>
                <a:spLocks/>
              </p:cNvSpPr>
              <p:nvPr/>
            </p:nvSpPr>
            <p:spPr bwMode="gray">
              <a:xfrm>
                <a:off x="3574468" y="3405189"/>
                <a:ext cx="672165" cy="514274"/>
              </a:xfrm>
              <a:custGeom>
                <a:avLst/>
                <a:gdLst>
                  <a:gd name="T0" fmla="*/ 582 w 596"/>
                  <a:gd name="T1" fmla="*/ 173 h 456"/>
                  <a:gd name="T2" fmla="*/ 549 w 596"/>
                  <a:gd name="T3" fmla="*/ 221 h 456"/>
                  <a:gd name="T4" fmla="*/ 546 w 596"/>
                  <a:gd name="T5" fmla="*/ 241 h 456"/>
                  <a:gd name="T6" fmla="*/ 546 w 596"/>
                  <a:gd name="T7" fmla="*/ 258 h 456"/>
                  <a:gd name="T8" fmla="*/ 540 w 596"/>
                  <a:gd name="T9" fmla="*/ 283 h 456"/>
                  <a:gd name="T10" fmla="*/ 532 w 596"/>
                  <a:gd name="T11" fmla="*/ 302 h 456"/>
                  <a:gd name="T12" fmla="*/ 515 w 596"/>
                  <a:gd name="T13" fmla="*/ 319 h 456"/>
                  <a:gd name="T14" fmla="*/ 501 w 596"/>
                  <a:gd name="T15" fmla="*/ 327 h 456"/>
                  <a:gd name="T16" fmla="*/ 467 w 596"/>
                  <a:gd name="T17" fmla="*/ 356 h 456"/>
                  <a:gd name="T18" fmla="*/ 440 w 596"/>
                  <a:gd name="T19" fmla="*/ 398 h 456"/>
                  <a:gd name="T20" fmla="*/ 434 w 596"/>
                  <a:gd name="T21" fmla="*/ 417 h 456"/>
                  <a:gd name="T22" fmla="*/ 419 w 596"/>
                  <a:gd name="T23" fmla="*/ 456 h 456"/>
                  <a:gd name="T24" fmla="*/ 402 w 596"/>
                  <a:gd name="T25" fmla="*/ 442 h 456"/>
                  <a:gd name="T26" fmla="*/ 384 w 596"/>
                  <a:gd name="T27" fmla="*/ 446 h 456"/>
                  <a:gd name="T28" fmla="*/ 367 w 596"/>
                  <a:gd name="T29" fmla="*/ 438 h 456"/>
                  <a:gd name="T30" fmla="*/ 344 w 596"/>
                  <a:gd name="T31" fmla="*/ 427 h 456"/>
                  <a:gd name="T32" fmla="*/ 338 w 596"/>
                  <a:gd name="T33" fmla="*/ 417 h 456"/>
                  <a:gd name="T34" fmla="*/ 329 w 596"/>
                  <a:gd name="T35" fmla="*/ 394 h 456"/>
                  <a:gd name="T36" fmla="*/ 306 w 596"/>
                  <a:gd name="T37" fmla="*/ 404 h 456"/>
                  <a:gd name="T38" fmla="*/ 294 w 596"/>
                  <a:gd name="T39" fmla="*/ 415 h 456"/>
                  <a:gd name="T40" fmla="*/ 288 w 596"/>
                  <a:gd name="T41" fmla="*/ 394 h 456"/>
                  <a:gd name="T42" fmla="*/ 250 w 596"/>
                  <a:gd name="T43" fmla="*/ 363 h 456"/>
                  <a:gd name="T44" fmla="*/ 242 w 596"/>
                  <a:gd name="T45" fmla="*/ 390 h 456"/>
                  <a:gd name="T46" fmla="*/ 250 w 596"/>
                  <a:gd name="T47" fmla="*/ 415 h 456"/>
                  <a:gd name="T48" fmla="*/ 223 w 596"/>
                  <a:gd name="T49" fmla="*/ 411 h 456"/>
                  <a:gd name="T50" fmla="*/ 158 w 596"/>
                  <a:gd name="T51" fmla="*/ 385 h 456"/>
                  <a:gd name="T52" fmla="*/ 112 w 596"/>
                  <a:gd name="T53" fmla="*/ 350 h 456"/>
                  <a:gd name="T54" fmla="*/ 83 w 596"/>
                  <a:gd name="T55" fmla="*/ 327 h 456"/>
                  <a:gd name="T56" fmla="*/ 83 w 596"/>
                  <a:gd name="T57" fmla="*/ 308 h 456"/>
                  <a:gd name="T58" fmla="*/ 104 w 596"/>
                  <a:gd name="T59" fmla="*/ 271 h 456"/>
                  <a:gd name="T60" fmla="*/ 129 w 596"/>
                  <a:gd name="T61" fmla="*/ 256 h 456"/>
                  <a:gd name="T62" fmla="*/ 62 w 596"/>
                  <a:gd name="T63" fmla="*/ 212 h 456"/>
                  <a:gd name="T64" fmla="*/ 46 w 596"/>
                  <a:gd name="T65" fmla="*/ 194 h 456"/>
                  <a:gd name="T66" fmla="*/ 16 w 596"/>
                  <a:gd name="T67" fmla="*/ 169 h 456"/>
                  <a:gd name="T68" fmla="*/ 21 w 596"/>
                  <a:gd name="T69" fmla="*/ 152 h 456"/>
                  <a:gd name="T70" fmla="*/ 8 w 596"/>
                  <a:gd name="T71" fmla="*/ 110 h 456"/>
                  <a:gd name="T72" fmla="*/ 18 w 596"/>
                  <a:gd name="T73" fmla="*/ 79 h 456"/>
                  <a:gd name="T74" fmla="*/ 20 w 596"/>
                  <a:gd name="T75" fmla="*/ 56 h 456"/>
                  <a:gd name="T76" fmla="*/ 10 w 596"/>
                  <a:gd name="T77" fmla="*/ 52 h 456"/>
                  <a:gd name="T78" fmla="*/ 4 w 596"/>
                  <a:gd name="T79" fmla="*/ 43 h 456"/>
                  <a:gd name="T80" fmla="*/ 2 w 596"/>
                  <a:gd name="T81" fmla="*/ 35 h 456"/>
                  <a:gd name="T82" fmla="*/ 39 w 596"/>
                  <a:gd name="T83" fmla="*/ 25 h 456"/>
                  <a:gd name="T84" fmla="*/ 75 w 596"/>
                  <a:gd name="T85" fmla="*/ 8 h 456"/>
                  <a:gd name="T86" fmla="*/ 92 w 596"/>
                  <a:gd name="T87" fmla="*/ 33 h 456"/>
                  <a:gd name="T88" fmla="*/ 121 w 596"/>
                  <a:gd name="T89" fmla="*/ 50 h 456"/>
                  <a:gd name="T90" fmla="*/ 148 w 596"/>
                  <a:gd name="T91" fmla="*/ 71 h 456"/>
                  <a:gd name="T92" fmla="*/ 177 w 596"/>
                  <a:gd name="T93" fmla="*/ 75 h 456"/>
                  <a:gd name="T94" fmla="*/ 248 w 596"/>
                  <a:gd name="T95" fmla="*/ 58 h 456"/>
                  <a:gd name="T96" fmla="*/ 261 w 596"/>
                  <a:gd name="T97" fmla="*/ 31 h 456"/>
                  <a:gd name="T98" fmla="*/ 252 w 596"/>
                  <a:gd name="T99" fmla="*/ 6 h 456"/>
                  <a:gd name="T100" fmla="*/ 288 w 596"/>
                  <a:gd name="T101" fmla="*/ 0 h 456"/>
                  <a:gd name="T102" fmla="*/ 321 w 596"/>
                  <a:gd name="T103" fmla="*/ 0 h 456"/>
                  <a:gd name="T104" fmla="*/ 359 w 596"/>
                  <a:gd name="T105" fmla="*/ 8 h 456"/>
                  <a:gd name="T106" fmla="*/ 488 w 596"/>
                  <a:gd name="T107" fmla="*/ 87 h 456"/>
                  <a:gd name="T108" fmla="*/ 521 w 596"/>
                  <a:gd name="T109" fmla="*/ 77 h 456"/>
                  <a:gd name="T110" fmla="*/ 525 w 596"/>
                  <a:gd name="T111" fmla="*/ 110 h 456"/>
                  <a:gd name="T112" fmla="*/ 553 w 596"/>
                  <a:gd name="T113" fmla="*/ 125 h 456"/>
                  <a:gd name="T114" fmla="*/ 590 w 596"/>
                  <a:gd name="T115" fmla="*/ 1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6" h="456">
                    <a:moveTo>
                      <a:pt x="596" y="148"/>
                    </a:moveTo>
                    <a:lnTo>
                      <a:pt x="592" y="160"/>
                    </a:lnTo>
                    <a:lnTo>
                      <a:pt x="582" y="173"/>
                    </a:lnTo>
                    <a:lnTo>
                      <a:pt x="574" y="185"/>
                    </a:lnTo>
                    <a:lnTo>
                      <a:pt x="559" y="208"/>
                    </a:lnTo>
                    <a:lnTo>
                      <a:pt x="549" y="221"/>
                    </a:lnTo>
                    <a:lnTo>
                      <a:pt x="548" y="229"/>
                    </a:lnTo>
                    <a:lnTo>
                      <a:pt x="546" y="237"/>
                    </a:lnTo>
                    <a:lnTo>
                      <a:pt x="546" y="241"/>
                    </a:lnTo>
                    <a:lnTo>
                      <a:pt x="544" y="244"/>
                    </a:lnTo>
                    <a:lnTo>
                      <a:pt x="546" y="254"/>
                    </a:lnTo>
                    <a:lnTo>
                      <a:pt x="546" y="258"/>
                    </a:lnTo>
                    <a:lnTo>
                      <a:pt x="544" y="264"/>
                    </a:lnTo>
                    <a:lnTo>
                      <a:pt x="544" y="269"/>
                    </a:lnTo>
                    <a:lnTo>
                      <a:pt x="540" y="283"/>
                    </a:lnTo>
                    <a:lnTo>
                      <a:pt x="538" y="294"/>
                    </a:lnTo>
                    <a:lnTo>
                      <a:pt x="536" y="300"/>
                    </a:lnTo>
                    <a:lnTo>
                      <a:pt x="532" y="302"/>
                    </a:lnTo>
                    <a:lnTo>
                      <a:pt x="530" y="306"/>
                    </a:lnTo>
                    <a:lnTo>
                      <a:pt x="521" y="315"/>
                    </a:lnTo>
                    <a:lnTo>
                      <a:pt x="515" y="319"/>
                    </a:lnTo>
                    <a:lnTo>
                      <a:pt x="511" y="321"/>
                    </a:lnTo>
                    <a:lnTo>
                      <a:pt x="503" y="325"/>
                    </a:lnTo>
                    <a:lnTo>
                      <a:pt x="501" y="327"/>
                    </a:lnTo>
                    <a:lnTo>
                      <a:pt x="496" y="331"/>
                    </a:lnTo>
                    <a:lnTo>
                      <a:pt x="486" y="338"/>
                    </a:lnTo>
                    <a:lnTo>
                      <a:pt x="467" y="356"/>
                    </a:lnTo>
                    <a:lnTo>
                      <a:pt x="461" y="362"/>
                    </a:lnTo>
                    <a:lnTo>
                      <a:pt x="448" y="373"/>
                    </a:lnTo>
                    <a:lnTo>
                      <a:pt x="440" y="398"/>
                    </a:lnTo>
                    <a:lnTo>
                      <a:pt x="438" y="408"/>
                    </a:lnTo>
                    <a:lnTo>
                      <a:pt x="436" y="413"/>
                    </a:lnTo>
                    <a:lnTo>
                      <a:pt x="434" y="417"/>
                    </a:lnTo>
                    <a:lnTo>
                      <a:pt x="423" y="442"/>
                    </a:lnTo>
                    <a:lnTo>
                      <a:pt x="421" y="448"/>
                    </a:lnTo>
                    <a:lnTo>
                      <a:pt x="419" y="456"/>
                    </a:lnTo>
                    <a:lnTo>
                      <a:pt x="411" y="450"/>
                    </a:lnTo>
                    <a:lnTo>
                      <a:pt x="405" y="444"/>
                    </a:lnTo>
                    <a:lnTo>
                      <a:pt x="402" y="442"/>
                    </a:lnTo>
                    <a:lnTo>
                      <a:pt x="396" y="442"/>
                    </a:lnTo>
                    <a:lnTo>
                      <a:pt x="388" y="444"/>
                    </a:lnTo>
                    <a:lnTo>
                      <a:pt x="384" y="446"/>
                    </a:lnTo>
                    <a:lnTo>
                      <a:pt x="375" y="442"/>
                    </a:lnTo>
                    <a:lnTo>
                      <a:pt x="369" y="436"/>
                    </a:lnTo>
                    <a:lnTo>
                      <a:pt x="367" y="438"/>
                    </a:lnTo>
                    <a:lnTo>
                      <a:pt x="359" y="429"/>
                    </a:lnTo>
                    <a:lnTo>
                      <a:pt x="352" y="427"/>
                    </a:lnTo>
                    <a:lnTo>
                      <a:pt x="344" y="427"/>
                    </a:lnTo>
                    <a:lnTo>
                      <a:pt x="338" y="425"/>
                    </a:lnTo>
                    <a:lnTo>
                      <a:pt x="334" y="423"/>
                    </a:lnTo>
                    <a:lnTo>
                      <a:pt x="338" y="417"/>
                    </a:lnTo>
                    <a:lnTo>
                      <a:pt x="336" y="413"/>
                    </a:lnTo>
                    <a:lnTo>
                      <a:pt x="333" y="410"/>
                    </a:lnTo>
                    <a:lnTo>
                      <a:pt x="329" y="394"/>
                    </a:lnTo>
                    <a:lnTo>
                      <a:pt x="321" y="388"/>
                    </a:lnTo>
                    <a:lnTo>
                      <a:pt x="317" y="392"/>
                    </a:lnTo>
                    <a:lnTo>
                      <a:pt x="306" y="404"/>
                    </a:lnTo>
                    <a:lnTo>
                      <a:pt x="300" y="411"/>
                    </a:lnTo>
                    <a:lnTo>
                      <a:pt x="298" y="419"/>
                    </a:lnTo>
                    <a:lnTo>
                      <a:pt x="294" y="415"/>
                    </a:lnTo>
                    <a:lnTo>
                      <a:pt x="294" y="410"/>
                    </a:lnTo>
                    <a:lnTo>
                      <a:pt x="292" y="402"/>
                    </a:lnTo>
                    <a:lnTo>
                      <a:pt x="288" y="394"/>
                    </a:lnTo>
                    <a:lnTo>
                      <a:pt x="277" y="388"/>
                    </a:lnTo>
                    <a:lnTo>
                      <a:pt x="261" y="375"/>
                    </a:lnTo>
                    <a:lnTo>
                      <a:pt x="250" y="363"/>
                    </a:lnTo>
                    <a:lnTo>
                      <a:pt x="236" y="369"/>
                    </a:lnTo>
                    <a:lnTo>
                      <a:pt x="242" y="385"/>
                    </a:lnTo>
                    <a:lnTo>
                      <a:pt x="242" y="390"/>
                    </a:lnTo>
                    <a:lnTo>
                      <a:pt x="240" y="392"/>
                    </a:lnTo>
                    <a:lnTo>
                      <a:pt x="246" y="406"/>
                    </a:lnTo>
                    <a:lnTo>
                      <a:pt x="250" y="415"/>
                    </a:lnTo>
                    <a:lnTo>
                      <a:pt x="235" y="417"/>
                    </a:lnTo>
                    <a:lnTo>
                      <a:pt x="231" y="415"/>
                    </a:lnTo>
                    <a:lnTo>
                      <a:pt x="223" y="411"/>
                    </a:lnTo>
                    <a:lnTo>
                      <a:pt x="200" y="402"/>
                    </a:lnTo>
                    <a:lnTo>
                      <a:pt x="165" y="392"/>
                    </a:lnTo>
                    <a:lnTo>
                      <a:pt x="158" y="385"/>
                    </a:lnTo>
                    <a:lnTo>
                      <a:pt x="152" y="379"/>
                    </a:lnTo>
                    <a:lnTo>
                      <a:pt x="125" y="360"/>
                    </a:lnTo>
                    <a:lnTo>
                      <a:pt x="112" y="350"/>
                    </a:lnTo>
                    <a:lnTo>
                      <a:pt x="91" y="337"/>
                    </a:lnTo>
                    <a:lnTo>
                      <a:pt x="85" y="333"/>
                    </a:lnTo>
                    <a:lnTo>
                      <a:pt x="83" y="327"/>
                    </a:lnTo>
                    <a:lnTo>
                      <a:pt x="83" y="323"/>
                    </a:lnTo>
                    <a:lnTo>
                      <a:pt x="81" y="314"/>
                    </a:lnTo>
                    <a:lnTo>
                      <a:pt x="83" y="308"/>
                    </a:lnTo>
                    <a:lnTo>
                      <a:pt x="85" y="298"/>
                    </a:lnTo>
                    <a:lnTo>
                      <a:pt x="94" y="283"/>
                    </a:lnTo>
                    <a:lnTo>
                      <a:pt x="104" y="271"/>
                    </a:lnTo>
                    <a:lnTo>
                      <a:pt x="112" y="265"/>
                    </a:lnTo>
                    <a:lnTo>
                      <a:pt x="123" y="262"/>
                    </a:lnTo>
                    <a:lnTo>
                      <a:pt x="129" y="256"/>
                    </a:lnTo>
                    <a:lnTo>
                      <a:pt x="133" y="248"/>
                    </a:lnTo>
                    <a:lnTo>
                      <a:pt x="77" y="216"/>
                    </a:lnTo>
                    <a:lnTo>
                      <a:pt x="62" y="212"/>
                    </a:lnTo>
                    <a:lnTo>
                      <a:pt x="58" y="206"/>
                    </a:lnTo>
                    <a:lnTo>
                      <a:pt x="52" y="198"/>
                    </a:lnTo>
                    <a:lnTo>
                      <a:pt x="46" y="194"/>
                    </a:lnTo>
                    <a:lnTo>
                      <a:pt x="31" y="187"/>
                    </a:lnTo>
                    <a:lnTo>
                      <a:pt x="10" y="179"/>
                    </a:lnTo>
                    <a:lnTo>
                      <a:pt x="16" y="169"/>
                    </a:lnTo>
                    <a:lnTo>
                      <a:pt x="25" y="166"/>
                    </a:lnTo>
                    <a:lnTo>
                      <a:pt x="25" y="148"/>
                    </a:lnTo>
                    <a:lnTo>
                      <a:pt x="21" y="152"/>
                    </a:lnTo>
                    <a:lnTo>
                      <a:pt x="14" y="141"/>
                    </a:lnTo>
                    <a:lnTo>
                      <a:pt x="10" y="123"/>
                    </a:lnTo>
                    <a:lnTo>
                      <a:pt x="8" y="110"/>
                    </a:lnTo>
                    <a:lnTo>
                      <a:pt x="14" y="108"/>
                    </a:lnTo>
                    <a:lnTo>
                      <a:pt x="18" y="91"/>
                    </a:lnTo>
                    <a:lnTo>
                      <a:pt x="18" y="79"/>
                    </a:lnTo>
                    <a:lnTo>
                      <a:pt x="31" y="79"/>
                    </a:lnTo>
                    <a:lnTo>
                      <a:pt x="27" y="66"/>
                    </a:lnTo>
                    <a:lnTo>
                      <a:pt x="20" y="56"/>
                    </a:lnTo>
                    <a:lnTo>
                      <a:pt x="16" y="54"/>
                    </a:lnTo>
                    <a:lnTo>
                      <a:pt x="12" y="54"/>
                    </a:lnTo>
                    <a:lnTo>
                      <a:pt x="10" y="52"/>
                    </a:lnTo>
                    <a:lnTo>
                      <a:pt x="8" y="48"/>
                    </a:lnTo>
                    <a:lnTo>
                      <a:pt x="6" y="45"/>
                    </a:lnTo>
                    <a:lnTo>
                      <a:pt x="4" y="43"/>
                    </a:lnTo>
                    <a:lnTo>
                      <a:pt x="2" y="41"/>
                    </a:lnTo>
                    <a:lnTo>
                      <a:pt x="0" y="39"/>
                    </a:lnTo>
                    <a:lnTo>
                      <a:pt x="2" y="35"/>
                    </a:lnTo>
                    <a:lnTo>
                      <a:pt x="4" y="29"/>
                    </a:lnTo>
                    <a:lnTo>
                      <a:pt x="21" y="27"/>
                    </a:lnTo>
                    <a:lnTo>
                      <a:pt x="39" y="25"/>
                    </a:lnTo>
                    <a:lnTo>
                      <a:pt x="50" y="22"/>
                    </a:lnTo>
                    <a:lnTo>
                      <a:pt x="60" y="16"/>
                    </a:lnTo>
                    <a:lnTo>
                      <a:pt x="75" y="8"/>
                    </a:lnTo>
                    <a:lnTo>
                      <a:pt x="85" y="20"/>
                    </a:lnTo>
                    <a:lnTo>
                      <a:pt x="89" y="27"/>
                    </a:lnTo>
                    <a:lnTo>
                      <a:pt x="92" y="33"/>
                    </a:lnTo>
                    <a:lnTo>
                      <a:pt x="96" y="37"/>
                    </a:lnTo>
                    <a:lnTo>
                      <a:pt x="102" y="41"/>
                    </a:lnTo>
                    <a:lnTo>
                      <a:pt x="121" y="50"/>
                    </a:lnTo>
                    <a:lnTo>
                      <a:pt x="131" y="56"/>
                    </a:lnTo>
                    <a:lnTo>
                      <a:pt x="139" y="62"/>
                    </a:lnTo>
                    <a:lnTo>
                      <a:pt x="148" y="71"/>
                    </a:lnTo>
                    <a:lnTo>
                      <a:pt x="158" y="83"/>
                    </a:lnTo>
                    <a:lnTo>
                      <a:pt x="169" y="77"/>
                    </a:lnTo>
                    <a:lnTo>
                      <a:pt x="177" y="75"/>
                    </a:lnTo>
                    <a:lnTo>
                      <a:pt x="192" y="77"/>
                    </a:lnTo>
                    <a:lnTo>
                      <a:pt x="198" y="75"/>
                    </a:lnTo>
                    <a:lnTo>
                      <a:pt x="248" y="58"/>
                    </a:lnTo>
                    <a:lnTo>
                      <a:pt x="265" y="46"/>
                    </a:lnTo>
                    <a:lnTo>
                      <a:pt x="265" y="43"/>
                    </a:lnTo>
                    <a:lnTo>
                      <a:pt x="261" y="31"/>
                    </a:lnTo>
                    <a:lnTo>
                      <a:pt x="246" y="18"/>
                    </a:lnTo>
                    <a:lnTo>
                      <a:pt x="244" y="12"/>
                    </a:lnTo>
                    <a:lnTo>
                      <a:pt x="252" y="6"/>
                    </a:lnTo>
                    <a:lnTo>
                      <a:pt x="267" y="4"/>
                    </a:lnTo>
                    <a:lnTo>
                      <a:pt x="279" y="2"/>
                    </a:lnTo>
                    <a:lnTo>
                      <a:pt x="288" y="0"/>
                    </a:lnTo>
                    <a:lnTo>
                      <a:pt x="304" y="2"/>
                    </a:lnTo>
                    <a:lnTo>
                      <a:pt x="309" y="0"/>
                    </a:lnTo>
                    <a:lnTo>
                      <a:pt x="321" y="0"/>
                    </a:lnTo>
                    <a:lnTo>
                      <a:pt x="334" y="0"/>
                    </a:lnTo>
                    <a:lnTo>
                      <a:pt x="352" y="4"/>
                    </a:lnTo>
                    <a:lnTo>
                      <a:pt x="359" y="8"/>
                    </a:lnTo>
                    <a:lnTo>
                      <a:pt x="446" y="93"/>
                    </a:lnTo>
                    <a:lnTo>
                      <a:pt x="463" y="91"/>
                    </a:lnTo>
                    <a:lnTo>
                      <a:pt x="488" y="87"/>
                    </a:lnTo>
                    <a:lnTo>
                      <a:pt x="501" y="83"/>
                    </a:lnTo>
                    <a:lnTo>
                      <a:pt x="511" y="77"/>
                    </a:lnTo>
                    <a:lnTo>
                      <a:pt x="521" y="77"/>
                    </a:lnTo>
                    <a:lnTo>
                      <a:pt x="523" y="85"/>
                    </a:lnTo>
                    <a:lnTo>
                      <a:pt x="523" y="98"/>
                    </a:lnTo>
                    <a:lnTo>
                      <a:pt x="525" y="110"/>
                    </a:lnTo>
                    <a:lnTo>
                      <a:pt x="532" y="116"/>
                    </a:lnTo>
                    <a:lnTo>
                      <a:pt x="540" y="119"/>
                    </a:lnTo>
                    <a:lnTo>
                      <a:pt x="553" y="125"/>
                    </a:lnTo>
                    <a:lnTo>
                      <a:pt x="563" y="133"/>
                    </a:lnTo>
                    <a:lnTo>
                      <a:pt x="573" y="143"/>
                    </a:lnTo>
                    <a:lnTo>
                      <a:pt x="590" y="150"/>
                    </a:lnTo>
                    <a:lnTo>
                      <a:pt x="596" y="1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32">
                <a:extLst>
                  <a:ext uri="{FF2B5EF4-FFF2-40B4-BE49-F238E27FC236}">
                    <a16:creationId xmlns:a16="http://schemas.microsoft.com/office/drawing/2014/main" id="{8F9DB114-F5A1-E7FF-F016-B9936A8582A2}"/>
                  </a:ext>
                </a:extLst>
              </p:cNvPr>
              <p:cNvSpPr>
                <a:spLocks/>
              </p:cNvSpPr>
              <p:nvPr/>
            </p:nvSpPr>
            <p:spPr bwMode="gray">
              <a:xfrm>
                <a:off x="3249663" y="3039784"/>
                <a:ext cx="409389" cy="567280"/>
              </a:xfrm>
              <a:custGeom>
                <a:avLst/>
                <a:gdLst>
                  <a:gd name="T0" fmla="*/ 261 w 363"/>
                  <a:gd name="T1" fmla="*/ 482 h 503"/>
                  <a:gd name="T2" fmla="*/ 225 w 363"/>
                  <a:gd name="T3" fmla="*/ 463 h 503"/>
                  <a:gd name="T4" fmla="*/ 196 w 363"/>
                  <a:gd name="T5" fmla="*/ 445 h 503"/>
                  <a:gd name="T6" fmla="*/ 131 w 363"/>
                  <a:gd name="T7" fmla="*/ 409 h 503"/>
                  <a:gd name="T8" fmla="*/ 73 w 363"/>
                  <a:gd name="T9" fmla="*/ 376 h 503"/>
                  <a:gd name="T10" fmla="*/ 43 w 363"/>
                  <a:gd name="T11" fmla="*/ 372 h 503"/>
                  <a:gd name="T12" fmla="*/ 10 w 363"/>
                  <a:gd name="T13" fmla="*/ 363 h 503"/>
                  <a:gd name="T14" fmla="*/ 20 w 363"/>
                  <a:gd name="T15" fmla="*/ 336 h 503"/>
                  <a:gd name="T16" fmla="*/ 12 w 363"/>
                  <a:gd name="T17" fmla="*/ 299 h 503"/>
                  <a:gd name="T18" fmla="*/ 0 w 363"/>
                  <a:gd name="T19" fmla="*/ 259 h 503"/>
                  <a:gd name="T20" fmla="*/ 18 w 363"/>
                  <a:gd name="T21" fmla="*/ 230 h 503"/>
                  <a:gd name="T22" fmla="*/ 54 w 363"/>
                  <a:gd name="T23" fmla="*/ 190 h 503"/>
                  <a:gd name="T24" fmla="*/ 71 w 363"/>
                  <a:gd name="T25" fmla="*/ 173 h 503"/>
                  <a:gd name="T26" fmla="*/ 104 w 363"/>
                  <a:gd name="T27" fmla="*/ 136 h 503"/>
                  <a:gd name="T28" fmla="*/ 139 w 363"/>
                  <a:gd name="T29" fmla="*/ 105 h 503"/>
                  <a:gd name="T30" fmla="*/ 160 w 363"/>
                  <a:gd name="T31" fmla="*/ 86 h 503"/>
                  <a:gd name="T32" fmla="*/ 171 w 363"/>
                  <a:gd name="T33" fmla="*/ 63 h 503"/>
                  <a:gd name="T34" fmla="*/ 181 w 363"/>
                  <a:gd name="T35" fmla="*/ 44 h 503"/>
                  <a:gd name="T36" fmla="*/ 194 w 363"/>
                  <a:gd name="T37" fmla="*/ 32 h 503"/>
                  <a:gd name="T38" fmla="*/ 210 w 363"/>
                  <a:gd name="T39" fmla="*/ 27 h 503"/>
                  <a:gd name="T40" fmla="*/ 219 w 363"/>
                  <a:gd name="T41" fmla="*/ 21 h 503"/>
                  <a:gd name="T42" fmla="*/ 244 w 363"/>
                  <a:gd name="T43" fmla="*/ 9 h 503"/>
                  <a:gd name="T44" fmla="*/ 265 w 363"/>
                  <a:gd name="T45" fmla="*/ 0 h 503"/>
                  <a:gd name="T46" fmla="*/ 277 w 363"/>
                  <a:gd name="T47" fmla="*/ 29 h 503"/>
                  <a:gd name="T48" fmla="*/ 283 w 363"/>
                  <a:gd name="T49" fmla="*/ 65 h 503"/>
                  <a:gd name="T50" fmla="*/ 292 w 363"/>
                  <a:gd name="T51" fmla="*/ 98 h 503"/>
                  <a:gd name="T52" fmla="*/ 309 w 363"/>
                  <a:gd name="T53" fmla="*/ 127 h 503"/>
                  <a:gd name="T54" fmla="*/ 332 w 363"/>
                  <a:gd name="T55" fmla="*/ 161 h 503"/>
                  <a:gd name="T56" fmla="*/ 334 w 363"/>
                  <a:gd name="T57" fmla="*/ 169 h 503"/>
                  <a:gd name="T58" fmla="*/ 332 w 363"/>
                  <a:gd name="T59" fmla="*/ 184 h 503"/>
                  <a:gd name="T60" fmla="*/ 331 w 363"/>
                  <a:gd name="T61" fmla="*/ 200 h 503"/>
                  <a:gd name="T62" fmla="*/ 332 w 363"/>
                  <a:gd name="T63" fmla="*/ 236 h 503"/>
                  <a:gd name="T64" fmla="*/ 346 w 363"/>
                  <a:gd name="T65" fmla="*/ 261 h 503"/>
                  <a:gd name="T66" fmla="*/ 356 w 363"/>
                  <a:gd name="T67" fmla="*/ 276 h 503"/>
                  <a:gd name="T68" fmla="*/ 359 w 363"/>
                  <a:gd name="T69" fmla="*/ 303 h 503"/>
                  <a:gd name="T70" fmla="*/ 363 w 363"/>
                  <a:gd name="T71" fmla="*/ 332 h 503"/>
                  <a:gd name="T72" fmla="*/ 338 w 363"/>
                  <a:gd name="T73" fmla="*/ 346 h 503"/>
                  <a:gd name="T74" fmla="*/ 309 w 363"/>
                  <a:gd name="T75" fmla="*/ 351 h 503"/>
                  <a:gd name="T76" fmla="*/ 290 w 363"/>
                  <a:gd name="T77" fmla="*/ 359 h 503"/>
                  <a:gd name="T78" fmla="*/ 290 w 363"/>
                  <a:gd name="T79" fmla="*/ 365 h 503"/>
                  <a:gd name="T80" fmla="*/ 294 w 363"/>
                  <a:gd name="T81" fmla="*/ 369 h 503"/>
                  <a:gd name="T82" fmla="*/ 298 w 363"/>
                  <a:gd name="T83" fmla="*/ 376 h 503"/>
                  <a:gd name="T84" fmla="*/ 304 w 363"/>
                  <a:gd name="T85" fmla="*/ 378 h 503"/>
                  <a:gd name="T86" fmla="*/ 315 w 363"/>
                  <a:gd name="T87" fmla="*/ 390 h 503"/>
                  <a:gd name="T88" fmla="*/ 306 w 363"/>
                  <a:gd name="T89" fmla="*/ 403 h 503"/>
                  <a:gd name="T90" fmla="*/ 302 w 363"/>
                  <a:gd name="T91" fmla="*/ 432 h 503"/>
                  <a:gd name="T92" fmla="*/ 298 w 363"/>
                  <a:gd name="T93" fmla="*/ 447 h 503"/>
                  <a:gd name="T94" fmla="*/ 309 w 363"/>
                  <a:gd name="T95" fmla="*/ 476 h 503"/>
                  <a:gd name="T96" fmla="*/ 313 w 363"/>
                  <a:gd name="T97" fmla="*/ 490 h 503"/>
                  <a:gd name="T98" fmla="*/ 298 w 363"/>
                  <a:gd name="T99" fmla="*/ 50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 h="503">
                    <a:moveTo>
                      <a:pt x="298" y="503"/>
                    </a:moveTo>
                    <a:lnTo>
                      <a:pt x="261" y="482"/>
                    </a:lnTo>
                    <a:lnTo>
                      <a:pt x="250" y="476"/>
                    </a:lnTo>
                    <a:lnTo>
                      <a:pt x="225" y="463"/>
                    </a:lnTo>
                    <a:lnTo>
                      <a:pt x="204" y="451"/>
                    </a:lnTo>
                    <a:lnTo>
                      <a:pt x="196" y="445"/>
                    </a:lnTo>
                    <a:lnTo>
                      <a:pt x="167" y="430"/>
                    </a:lnTo>
                    <a:lnTo>
                      <a:pt x="131" y="409"/>
                    </a:lnTo>
                    <a:lnTo>
                      <a:pt x="94" y="388"/>
                    </a:lnTo>
                    <a:lnTo>
                      <a:pt x="73" y="376"/>
                    </a:lnTo>
                    <a:lnTo>
                      <a:pt x="60" y="374"/>
                    </a:lnTo>
                    <a:lnTo>
                      <a:pt x="43" y="372"/>
                    </a:lnTo>
                    <a:lnTo>
                      <a:pt x="25" y="370"/>
                    </a:lnTo>
                    <a:lnTo>
                      <a:pt x="10" y="363"/>
                    </a:lnTo>
                    <a:lnTo>
                      <a:pt x="16" y="349"/>
                    </a:lnTo>
                    <a:lnTo>
                      <a:pt x="20" y="336"/>
                    </a:lnTo>
                    <a:lnTo>
                      <a:pt x="18" y="322"/>
                    </a:lnTo>
                    <a:lnTo>
                      <a:pt x="12" y="299"/>
                    </a:lnTo>
                    <a:lnTo>
                      <a:pt x="0" y="276"/>
                    </a:lnTo>
                    <a:lnTo>
                      <a:pt x="0" y="259"/>
                    </a:lnTo>
                    <a:lnTo>
                      <a:pt x="4" y="246"/>
                    </a:lnTo>
                    <a:lnTo>
                      <a:pt x="18" y="230"/>
                    </a:lnTo>
                    <a:lnTo>
                      <a:pt x="33" y="217"/>
                    </a:lnTo>
                    <a:lnTo>
                      <a:pt x="54" y="190"/>
                    </a:lnTo>
                    <a:lnTo>
                      <a:pt x="60" y="182"/>
                    </a:lnTo>
                    <a:lnTo>
                      <a:pt x="71" y="173"/>
                    </a:lnTo>
                    <a:lnTo>
                      <a:pt x="87" y="153"/>
                    </a:lnTo>
                    <a:lnTo>
                      <a:pt x="104" y="136"/>
                    </a:lnTo>
                    <a:lnTo>
                      <a:pt x="131" y="113"/>
                    </a:lnTo>
                    <a:lnTo>
                      <a:pt x="139" y="105"/>
                    </a:lnTo>
                    <a:lnTo>
                      <a:pt x="148" y="98"/>
                    </a:lnTo>
                    <a:lnTo>
                      <a:pt x="160" y="86"/>
                    </a:lnTo>
                    <a:lnTo>
                      <a:pt x="167" y="71"/>
                    </a:lnTo>
                    <a:lnTo>
                      <a:pt x="171" y="63"/>
                    </a:lnTo>
                    <a:lnTo>
                      <a:pt x="175" y="52"/>
                    </a:lnTo>
                    <a:lnTo>
                      <a:pt x="181" y="44"/>
                    </a:lnTo>
                    <a:lnTo>
                      <a:pt x="185" y="36"/>
                    </a:lnTo>
                    <a:lnTo>
                      <a:pt x="194" y="32"/>
                    </a:lnTo>
                    <a:lnTo>
                      <a:pt x="200" y="30"/>
                    </a:lnTo>
                    <a:lnTo>
                      <a:pt x="210" y="27"/>
                    </a:lnTo>
                    <a:lnTo>
                      <a:pt x="213" y="25"/>
                    </a:lnTo>
                    <a:lnTo>
                      <a:pt x="219" y="21"/>
                    </a:lnTo>
                    <a:lnTo>
                      <a:pt x="229" y="17"/>
                    </a:lnTo>
                    <a:lnTo>
                      <a:pt x="244" y="9"/>
                    </a:lnTo>
                    <a:lnTo>
                      <a:pt x="252" y="5"/>
                    </a:lnTo>
                    <a:lnTo>
                      <a:pt x="265" y="0"/>
                    </a:lnTo>
                    <a:lnTo>
                      <a:pt x="273" y="15"/>
                    </a:lnTo>
                    <a:lnTo>
                      <a:pt x="277" y="29"/>
                    </a:lnTo>
                    <a:lnTo>
                      <a:pt x="281" y="61"/>
                    </a:lnTo>
                    <a:lnTo>
                      <a:pt x="283" y="65"/>
                    </a:lnTo>
                    <a:lnTo>
                      <a:pt x="286" y="80"/>
                    </a:lnTo>
                    <a:lnTo>
                      <a:pt x="292" y="98"/>
                    </a:lnTo>
                    <a:lnTo>
                      <a:pt x="298" y="113"/>
                    </a:lnTo>
                    <a:lnTo>
                      <a:pt x="309" y="127"/>
                    </a:lnTo>
                    <a:lnTo>
                      <a:pt x="325" y="150"/>
                    </a:lnTo>
                    <a:lnTo>
                      <a:pt x="332" y="161"/>
                    </a:lnTo>
                    <a:lnTo>
                      <a:pt x="334" y="165"/>
                    </a:lnTo>
                    <a:lnTo>
                      <a:pt x="334" y="169"/>
                    </a:lnTo>
                    <a:lnTo>
                      <a:pt x="334" y="175"/>
                    </a:lnTo>
                    <a:lnTo>
                      <a:pt x="332" y="184"/>
                    </a:lnTo>
                    <a:lnTo>
                      <a:pt x="331" y="192"/>
                    </a:lnTo>
                    <a:lnTo>
                      <a:pt x="331" y="200"/>
                    </a:lnTo>
                    <a:lnTo>
                      <a:pt x="331" y="211"/>
                    </a:lnTo>
                    <a:lnTo>
                      <a:pt x="332" y="236"/>
                    </a:lnTo>
                    <a:lnTo>
                      <a:pt x="340" y="248"/>
                    </a:lnTo>
                    <a:lnTo>
                      <a:pt x="346" y="261"/>
                    </a:lnTo>
                    <a:lnTo>
                      <a:pt x="354" y="276"/>
                    </a:lnTo>
                    <a:lnTo>
                      <a:pt x="356" y="276"/>
                    </a:lnTo>
                    <a:lnTo>
                      <a:pt x="357" y="286"/>
                    </a:lnTo>
                    <a:lnTo>
                      <a:pt x="359" y="303"/>
                    </a:lnTo>
                    <a:lnTo>
                      <a:pt x="361" y="326"/>
                    </a:lnTo>
                    <a:lnTo>
                      <a:pt x="363" y="332"/>
                    </a:lnTo>
                    <a:lnTo>
                      <a:pt x="348" y="340"/>
                    </a:lnTo>
                    <a:lnTo>
                      <a:pt x="338" y="346"/>
                    </a:lnTo>
                    <a:lnTo>
                      <a:pt x="327" y="349"/>
                    </a:lnTo>
                    <a:lnTo>
                      <a:pt x="309" y="351"/>
                    </a:lnTo>
                    <a:lnTo>
                      <a:pt x="292" y="353"/>
                    </a:lnTo>
                    <a:lnTo>
                      <a:pt x="290" y="359"/>
                    </a:lnTo>
                    <a:lnTo>
                      <a:pt x="288" y="363"/>
                    </a:lnTo>
                    <a:lnTo>
                      <a:pt x="290" y="365"/>
                    </a:lnTo>
                    <a:lnTo>
                      <a:pt x="292" y="367"/>
                    </a:lnTo>
                    <a:lnTo>
                      <a:pt x="294" y="369"/>
                    </a:lnTo>
                    <a:lnTo>
                      <a:pt x="296" y="372"/>
                    </a:lnTo>
                    <a:lnTo>
                      <a:pt x="298" y="376"/>
                    </a:lnTo>
                    <a:lnTo>
                      <a:pt x="300" y="378"/>
                    </a:lnTo>
                    <a:lnTo>
                      <a:pt x="304" y="378"/>
                    </a:lnTo>
                    <a:lnTo>
                      <a:pt x="308" y="380"/>
                    </a:lnTo>
                    <a:lnTo>
                      <a:pt x="315" y="390"/>
                    </a:lnTo>
                    <a:lnTo>
                      <a:pt x="319" y="403"/>
                    </a:lnTo>
                    <a:lnTo>
                      <a:pt x="306" y="403"/>
                    </a:lnTo>
                    <a:lnTo>
                      <a:pt x="306" y="415"/>
                    </a:lnTo>
                    <a:lnTo>
                      <a:pt x="302" y="432"/>
                    </a:lnTo>
                    <a:lnTo>
                      <a:pt x="296" y="434"/>
                    </a:lnTo>
                    <a:lnTo>
                      <a:pt x="298" y="447"/>
                    </a:lnTo>
                    <a:lnTo>
                      <a:pt x="302" y="465"/>
                    </a:lnTo>
                    <a:lnTo>
                      <a:pt x="309" y="476"/>
                    </a:lnTo>
                    <a:lnTo>
                      <a:pt x="313" y="472"/>
                    </a:lnTo>
                    <a:lnTo>
                      <a:pt x="313" y="490"/>
                    </a:lnTo>
                    <a:lnTo>
                      <a:pt x="304" y="493"/>
                    </a:lnTo>
                    <a:lnTo>
                      <a:pt x="298" y="50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33">
                <a:extLst>
                  <a:ext uri="{FF2B5EF4-FFF2-40B4-BE49-F238E27FC236}">
                    <a16:creationId xmlns:a16="http://schemas.microsoft.com/office/drawing/2014/main" id="{3AF151B1-40F2-70DC-5CFB-94D7A9F3B221}"/>
                  </a:ext>
                </a:extLst>
              </p:cNvPr>
              <p:cNvSpPr>
                <a:spLocks/>
              </p:cNvSpPr>
              <p:nvPr/>
            </p:nvSpPr>
            <p:spPr bwMode="gray">
              <a:xfrm>
                <a:off x="2879747" y="3045424"/>
                <a:ext cx="517658" cy="403750"/>
              </a:xfrm>
              <a:custGeom>
                <a:avLst/>
                <a:gdLst>
                  <a:gd name="T0" fmla="*/ 338 w 459"/>
                  <a:gd name="T1" fmla="*/ 358 h 358"/>
                  <a:gd name="T2" fmla="*/ 317 w 459"/>
                  <a:gd name="T3" fmla="*/ 339 h 358"/>
                  <a:gd name="T4" fmla="*/ 300 w 459"/>
                  <a:gd name="T5" fmla="*/ 321 h 358"/>
                  <a:gd name="T6" fmla="*/ 275 w 459"/>
                  <a:gd name="T7" fmla="*/ 298 h 358"/>
                  <a:gd name="T8" fmla="*/ 240 w 459"/>
                  <a:gd name="T9" fmla="*/ 277 h 358"/>
                  <a:gd name="T10" fmla="*/ 230 w 459"/>
                  <a:gd name="T11" fmla="*/ 271 h 358"/>
                  <a:gd name="T12" fmla="*/ 205 w 459"/>
                  <a:gd name="T13" fmla="*/ 262 h 358"/>
                  <a:gd name="T14" fmla="*/ 194 w 459"/>
                  <a:gd name="T15" fmla="*/ 260 h 358"/>
                  <a:gd name="T16" fmla="*/ 173 w 459"/>
                  <a:gd name="T17" fmla="*/ 256 h 358"/>
                  <a:gd name="T18" fmla="*/ 142 w 459"/>
                  <a:gd name="T19" fmla="*/ 254 h 358"/>
                  <a:gd name="T20" fmla="*/ 134 w 459"/>
                  <a:gd name="T21" fmla="*/ 252 h 358"/>
                  <a:gd name="T22" fmla="*/ 123 w 459"/>
                  <a:gd name="T23" fmla="*/ 250 h 358"/>
                  <a:gd name="T24" fmla="*/ 109 w 459"/>
                  <a:gd name="T25" fmla="*/ 244 h 358"/>
                  <a:gd name="T26" fmla="*/ 92 w 459"/>
                  <a:gd name="T27" fmla="*/ 237 h 358"/>
                  <a:gd name="T28" fmla="*/ 27 w 459"/>
                  <a:gd name="T29" fmla="*/ 181 h 358"/>
                  <a:gd name="T30" fmla="*/ 13 w 459"/>
                  <a:gd name="T31" fmla="*/ 177 h 358"/>
                  <a:gd name="T32" fmla="*/ 0 w 459"/>
                  <a:gd name="T33" fmla="*/ 175 h 358"/>
                  <a:gd name="T34" fmla="*/ 10 w 459"/>
                  <a:gd name="T35" fmla="*/ 162 h 358"/>
                  <a:gd name="T36" fmla="*/ 23 w 459"/>
                  <a:gd name="T37" fmla="*/ 146 h 358"/>
                  <a:gd name="T38" fmla="*/ 42 w 459"/>
                  <a:gd name="T39" fmla="*/ 135 h 358"/>
                  <a:gd name="T40" fmla="*/ 157 w 459"/>
                  <a:gd name="T41" fmla="*/ 100 h 358"/>
                  <a:gd name="T42" fmla="*/ 175 w 459"/>
                  <a:gd name="T43" fmla="*/ 93 h 358"/>
                  <a:gd name="T44" fmla="*/ 194 w 459"/>
                  <a:gd name="T45" fmla="*/ 85 h 358"/>
                  <a:gd name="T46" fmla="*/ 228 w 459"/>
                  <a:gd name="T47" fmla="*/ 58 h 358"/>
                  <a:gd name="T48" fmla="*/ 273 w 459"/>
                  <a:gd name="T49" fmla="*/ 14 h 358"/>
                  <a:gd name="T50" fmla="*/ 288 w 459"/>
                  <a:gd name="T51" fmla="*/ 0 h 358"/>
                  <a:gd name="T52" fmla="*/ 307 w 459"/>
                  <a:gd name="T53" fmla="*/ 22 h 358"/>
                  <a:gd name="T54" fmla="*/ 326 w 459"/>
                  <a:gd name="T55" fmla="*/ 39 h 358"/>
                  <a:gd name="T56" fmla="*/ 344 w 459"/>
                  <a:gd name="T57" fmla="*/ 52 h 358"/>
                  <a:gd name="T58" fmla="*/ 355 w 459"/>
                  <a:gd name="T59" fmla="*/ 58 h 358"/>
                  <a:gd name="T60" fmla="*/ 371 w 459"/>
                  <a:gd name="T61" fmla="*/ 66 h 358"/>
                  <a:gd name="T62" fmla="*/ 392 w 459"/>
                  <a:gd name="T63" fmla="*/ 72 h 358"/>
                  <a:gd name="T64" fmla="*/ 409 w 459"/>
                  <a:gd name="T65" fmla="*/ 75 h 358"/>
                  <a:gd name="T66" fmla="*/ 419 w 459"/>
                  <a:gd name="T67" fmla="*/ 79 h 358"/>
                  <a:gd name="T68" fmla="*/ 432 w 459"/>
                  <a:gd name="T69" fmla="*/ 87 h 358"/>
                  <a:gd name="T70" fmla="*/ 449 w 459"/>
                  <a:gd name="T71" fmla="*/ 100 h 358"/>
                  <a:gd name="T72" fmla="*/ 459 w 459"/>
                  <a:gd name="T73" fmla="*/ 108 h 358"/>
                  <a:gd name="T74" fmla="*/ 432 w 459"/>
                  <a:gd name="T75" fmla="*/ 131 h 358"/>
                  <a:gd name="T76" fmla="*/ 415 w 459"/>
                  <a:gd name="T77" fmla="*/ 148 h 358"/>
                  <a:gd name="T78" fmla="*/ 399 w 459"/>
                  <a:gd name="T79" fmla="*/ 168 h 358"/>
                  <a:gd name="T80" fmla="*/ 388 w 459"/>
                  <a:gd name="T81" fmla="*/ 177 h 358"/>
                  <a:gd name="T82" fmla="*/ 382 w 459"/>
                  <a:gd name="T83" fmla="*/ 185 h 358"/>
                  <a:gd name="T84" fmla="*/ 361 w 459"/>
                  <a:gd name="T85" fmla="*/ 212 h 358"/>
                  <a:gd name="T86" fmla="*/ 346 w 459"/>
                  <a:gd name="T87" fmla="*/ 225 h 358"/>
                  <a:gd name="T88" fmla="*/ 332 w 459"/>
                  <a:gd name="T89" fmla="*/ 241 h 358"/>
                  <a:gd name="T90" fmla="*/ 328 w 459"/>
                  <a:gd name="T91" fmla="*/ 254 h 358"/>
                  <a:gd name="T92" fmla="*/ 328 w 459"/>
                  <a:gd name="T93" fmla="*/ 271 h 358"/>
                  <a:gd name="T94" fmla="*/ 340 w 459"/>
                  <a:gd name="T95" fmla="*/ 294 h 358"/>
                  <a:gd name="T96" fmla="*/ 346 w 459"/>
                  <a:gd name="T97" fmla="*/ 317 h 358"/>
                  <a:gd name="T98" fmla="*/ 348 w 459"/>
                  <a:gd name="T99" fmla="*/ 331 h 358"/>
                  <a:gd name="T100" fmla="*/ 344 w 459"/>
                  <a:gd name="T101" fmla="*/ 344 h 358"/>
                  <a:gd name="T102" fmla="*/ 338 w 459"/>
                  <a:gd name="T103"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9" h="358">
                    <a:moveTo>
                      <a:pt x="338" y="358"/>
                    </a:moveTo>
                    <a:lnTo>
                      <a:pt x="317" y="339"/>
                    </a:lnTo>
                    <a:lnTo>
                      <a:pt x="300" y="321"/>
                    </a:lnTo>
                    <a:lnTo>
                      <a:pt x="275" y="298"/>
                    </a:lnTo>
                    <a:lnTo>
                      <a:pt x="240" y="277"/>
                    </a:lnTo>
                    <a:lnTo>
                      <a:pt x="230" y="271"/>
                    </a:lnTo>
                    <a:lnTo>
                      <a:pt x="205" y="262"/>
                    </a:lnTo>
                    <a:lnTo>
                      <a:pt x="194" y="260"/>
                    </a:lnTo>
                    <a:lnTo>
                      <a:pt x="173" y="256"/>
                    </a:lnTo>
                    <a:lnTo>
                      <a:pt x="142" y="254"/>
                    </a:lnTo>
                    <a:lnTo>
                      <a:pt x="134" y="252"/>
                    </a:lnTo>
                    <a:lnTo>
                      <a:pt x="123" y="250"/>
                    </a:lnTo>
                    <a:lnTo>
                      <a:pt x="109" y="244"/>
                    </a:lnTo>
                    <a:lnTo>
                      <a:pt x="92" y="237"/>
                    </a:lnTo>
                    <a:lnTo>
                      <a:pt x="27" y="181"/>
                    </a:lnTo>
                    <a:lnTo>
                      <a:pt x="13" y="177"/>
                    </a:lnTo>
                    <a:lnTo>
                      <a:pt x="0" y="175"/>
                    </a:lnTo>
                    <a:lnTo>
                      <a:pt x="10" y="162"/>
                    </a:lnTo>
                    <a:lnTo>
                      <a:pt x="23" y="146"/>
                    </a:lnTo>
                    <a:lnTo>
                      <a:pt x="42" y="135"/>
                    </a:lnTo>
                    <a:lnTo>
                      <a:pt x="157" y="100"/>
                    </a:lnTo>
                    <a:lnTo>
                      <a:pt x="175" y="93"/>
                    </a:lnTo>
                    <a:lnTo>
                      <a:pt x="194" y="85"/>
                    </a:lnTo>
                    <a:lnTo>
                      <a:pt x="228" y="58"/>
                    </a:lnTo>
                    <a:lnTo>
                      <a:pt x="273" y="14"/>
                    </a:lnTo>
                    <a:lnTo>
                      <a:pt x="288" y="0"/>
                    </a:lnTo>
                    <a:lnTo>
                      <a:pt x="307" y="22"/>
                    </a:lnTo>
                    <a:lnTo>
                      <a:pt x="326" y="39"/>
                    </a:lnTo>
                    <a:lnTo>
                      <a:pt x="344" y="52"/>
                    </a:lnTo>
                    <a:lnTo>
                      <a:pt x="355" y="58"/>
                    </a:lnTo>
                    <a:lnTo>
                      <a:pt x="371" y="66"/>
                    </a:lnTo>
                    <a:lnTo>
                      <a:pt x="392" y="72"/>
                    </a:lnTo>
                    <a:lnTo>
                      <a:pt x="409" y="75"/>
                    </a:lnTo>
                    <a:lnTo>
                      <a:pt x="419" y="79"/>
                    </a:lnTo>
                    <a:lnTo>
                      <a:pt x="432" y="87"/>
                    </a:lnTo>
                    <a:lnTo>
                      <a:pt x="449" y="100"/>
                    </a:lnTo>
                    <a:lnTo>
                      <a:pt x="459" y="108"/>
                    </a:lnTo>
                    <a:lnTo>
                      <a:pt x="432" y="131"/>
                    </a:lnTo>
                    <a:lnTo>
                      <a:pt x="415" y="148"/>
                    </a:lnTo>
                    <a:lnTo>
                      <a:pt x="399" y="168"/>
                    </a:lnTo>
                    <a:lnTo>
                      <a:pt x="388" y="177"/>
                    </a:lnTo>
                    <a:lnTo>
                      <a:pt x="382" y="185"/>
                    </a:lnTo>
                    <a:lnTo>
                      <a:pt x="361" y="212"/>
                    </a:lnTo>
                    <a:lnTo>
                      <a:pt x="346" y="225"/>
                    </a:lnTo>
                    <a:lnTo>
                      <a:pt x="332" y="241"/>
                    </a:lnTo>
                    <a:lnTo>
                      <a:pt x="328" y="254"/>
                    </a:lnTo>
                    <a:lnTo>
                      <a:pt x="328" y="271"/>
                    </a:lnTo>
                    <a:lnTo>
                      <a:pt x="340" y="294"/>
                    </a:lnTo>
                    <a:lnTo>
                      <a:pt x="346" y="317"/>
                    </a:lnTo>
                    <a:lnTo>
                      <a:pt x="348" y="331"/>
                    </a:lnTo>
                    <a:lnTo>
                      <a:pt x="344" y="344"/>
                    </a:lnTo>
                    <a:lnTo>
                      <a:pt x="338" y="3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34">
                <a:extLst>
                  <a:ext uri="{FF2B5EF4-FFF2-40B4-BE49-F238E27FC236}">
                    <a16:creationId xmlns:a16="http://schemas.microsoft.com/office/drawing/2014/main" id="{FA0F1383-E01B-9320-8165-277A735144ED}"/>
                  </a:ext>
                </a:extLst>
              </p:cNvPr>
              <p:cNvSpPr>
                <a:spLocks/>
              </p:cNvSpPr>
              <p:nvPr/>
            </p:nvSpPr>
            <p:spPr bwMode="gray">
              <a:xfrm>
                <a:off x="3204551" y="2727386"/>
                <a:ext cx="343977" cy="439839"/>
              </a:xfrm>
              <a:custGeom>
                <a:avLst/>
                <a:gdLst>
                  <a:gd name="T0" fmla="*/ 246 w 305"/>
                  <a:gd name="T1" fmla="*/ 188 h 390"/>
                  <a:gd name="T2" fmla="*/ 257 w 305"/>
                  <a:gd name="T3" fmla="*/ 208 h 390"/>
                  <a:gd name="T4" fmla="*/ 276 w 305"/>
                  <a:gd name="T5" fmla="*/ 229 h 390"/>
                  <a:gd name="T6" fmla="*/ 294 w 305"/>
                  <a:gd name="T7" fmla="*/ 256 h 390"/>
                  <a:gd name="T8" fmla="*/ 292 w 305"/>
                  <a:gd name="T9" fmla="*/ 282 h 390"/>
                  <a:gd name="T10" fmla="*/ 269 w 305"/>
                  <a:gd name="T11" fmla="*/ 294 h 390"/>
                  <a:gd name="T12" fmla="*/ 253 w 305"/>
                  <a:gd name="T13" fmla="*/ 302 h 390"/>
                  <a:gd name="T14" fmla="*/ 240 w 305"/>
                  <a:gd name="T15" fmla="*/ 307 h 390"/>
                  <a:gd name="T16" fmla="*/ 225 w 305"/>
                  <a:gd name="T17" fmla="*/ 313 h 390"/>
                  <a:gd name="T18" fmla="*/ 215 w 305"/>
                  <a:gd name="T19" fmla="*/ 329 h 390"/>
                  <a:gd name="T20" fmla="*/ 207 w 305"/>
                  <a:gd name="T21" fmla="*/ 348 h 390"/>
                  <a:gd name="T22" fmla="*/ 188 w 305"/>
                  <a:gd name="T23" fmla="*/ 375 h 390"/>
                  <a:gd name="T24" fmla="*/ 171 w 305"/>
                  <a:gd name="T25" fmla="*/ 390 h 390"/>
                  <a:gd name="T26" fmla="*/ 144 w 305"/>
                  <a:gd name="T27" fmla="*/ 369 h 390"/>
                  <a:gd name="T28" fmla="*/ 121 w 305"/>
                  <a:gd name="T29" fmla="*/ 357 h 390"/>
                  <a:gd name="T30" fmla="*/ 83 w 305"/>
                  <a:gd name="T31" fmla="*/ 348 h 390"/>
                  <a:gd name="T32" fmla="*/ 56 w 305"/>
                  <a:gd name="T33" fmla="*/ 334 h 390"/>
                  <a:gd name="T34" fmla="*/ 19 w 305"/>
                  <a:gd name="T35" fmla="*/ 304 h 390"/>
                  <a:gd name="T36" fmla="*/ 75 w 305"/>
                  <a:gd name="T37" fmla="*/ 219 h 390"/>
                  <a:gd name="T38" fmla="*/ 81 w 305"/>
                  <a:gd name="T39" fmla="*/ 173 h 390"/>
                  <a:gd name="T40" fmla="*/ 81 w 305"/>
                  <a:gd name="T41" fmla="*/ 148 h 390"/>
                  <a:gd name="T42" fmla="*/ 104 w 305"/>
                  <a:gd name="T43" fmla="*/ 108 h 390"/>
                  <a:gd name="T44" fmla="*/ 111 w 305"/>
                  <a:gd name="T45" fmla="*/ 63 h 390"/>
                  <a:gd name="T46" fmla="*/ 123 w 305"/>
                  <a:gd name="T47" fmla="*/ 21 h 390"/>
                  <a:gd name="T48" fmla="*/ 154 w 305"/>
                  <a:gd name="T49" fmla="*/ 0 h 390"/>
                  <a:gd name="T50" fmla="*/ 194 w 305"/>
                  <a:gd name="T51" fmla="*/ 6 h 390"/>
                  <a:gd name="T52" fmla="*/ 215 w 305"/>
                  <a:gd name="T53" fmla="*/ 21 h 390"/>
                  <a:gd name="T54" fmla="*/ 209 w 305"/>
                  <a:gd name="T55" fmla="*/ 46 h 390"/>
                  <a:gd name="T56" fmla="*/ 205 w 305"/>
                  <a:gd name="T57" fmla="*/ 67 h 390"/>
                  <a:gd name="T58" fmla="*/ 209 w 305"/>
                  <a:gd name="T59" fmla="*/ 96 h 390"/>
                  <a:gd name="T60" fmla="*/ 219 w 305"/>
                  <a:gd name="T61" fmla="*/ 163 h 390"/>
                  <a:gd name="T62" fmla="*/ 227 w 305"/>
                  <a:gd name="T63" fmla="*/ 179 h 390"/>
                  <a:gd name="T64" fmla="*/ 242 w 305"/>
                  <a:gd name="T65" fmla="*/ 17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5" h="390">
                    <a:moveTo>
                      <a:pt x="242" y="179"/>
                    </a:moveTo>
                    <a:lnTo>
                      <a:pt x="246" y="188"/>
                    </a:lnTo>
                    <a:lnTo>
                      <a:pt x="250" y="196"/>
                    </a:lnTo>
                    <a:lnTo>
                      <a:pt x="257" y="208"/>
                    </a:lnTo>
                    <a:lnTo>
                      <a:pt x="263" y="215"/>
                    </a:lnTo>
                    <a:lnTo>
                      <a:pt x="276" y="229"/>
                    </a:lnTo>
                    <a:lnTo>
                      <a:pt x="282" y="236"/>
                    </a:lnTo>
                    <a:lnTo>
                      <a:pt x="294" y="256"/>
                    </a:lnTo>
                    <a:lnTo>
                      <a:pt x="305" y="277"/>
                    </a:lnTo>
                    <a:lnTo>
                      <a:pt x="292" y="282"/>
                    </a:lnTo>
                    <a:lnTo>
                      <a:pt x="284" y="286"/>
                    </a:lnTo>
                    <a:lnTo>
                      <a:pt x="269" y="294"/>
                    </a:lnTo>
                    <a:lnTo>
                      <a:pt x="259" y="298"/>
                    </a:lnTo>
                    <a:lnTo>
                      <a:pt x="253" y="302"/>
                    </a:lnTo>
                    <a:lnTo>
                      <a:pt x="250" y="304"/>
                    </a:lnTo>
                    <a:lnTo>
                      <a:pt x="240" y="307"/>
                    </a:lnTo>
                    <a:lnTo>
                      <a:pt x="234" y="309"/>
                    </a:lnTo>
                    <a:lnTo>
                      <a:pt x="225" y="313"/>
                    </a:lnTo>
                    <a:lnTo>
                      <a:pt x="221" y="321"/>
                    </a:lnTo>
                    <a:lnTo>
                      <a:pt x="215" y="329"/>
                    </a:lnTo>
                    <a:lnTo>
                      <a:pt x="211" y="340"/>
                    </a:lnTo>
                    <a:lnTo>
                      <a:pt x="207" y="348"/>
                    </a:lnTo>
                    <a:lnTo>
                      <a:pt x="200" y="363"/>
                    </a:lnTo>
                    <a:lnTo>
                      <a:pt x="188" y="375"/>
                    </a:lnTo>
                    <a:lnTo>
                      <a:pt x="179" y="382"/>
                    </a:lnTo>
                    <a:lnTo>
                      <a:pt x="171" y="390"/>
                    </a:lnTo>
                    <a:lnTo>
                      <a:pt x="161" y="382"/>
                    </a:lnTo>
                    <a:lnTo>
                      <a:pt x="144" y="369"/>
                    </a:lnTo>
                    <a:lnTo>
                      <a:pt x="131" y="361"/>
                    </a:lnTo>
                    <a:lnTo>
                      <a:pt x="121" y="357"/>
                    </a:lnTo>
                    <a:lnTo>
                      <a:pt x="104" y="354"/>
                    </a:lnTo>
                    <a:lnTo>
                      <a:pt x="83" y="348"/>
                    </a:lnTo>
                    <a:lnTo>
                      <a:pt x="67" y="340"/>
                    </a:lnTo>
                    <a:lnTo>
                      <a:pt x="56" y="334"/>
                    </a:lnTo>
                    <a:lnTo>
                      <a:pt x="38" y="321"/>
                    </a:lnTo>
                    <a:lnTo>
                      <a:pt x="19" y="304"/>
                    </a:lnTo>
                    <a:lnTo>
                      <a:pt x="0" y="282"/>
                    </a:lnTo>
                    <a:lnTo>
                      <a:pt x="75" y="219"/>
                    </a:lnTo>
                    <a:lnTo>
                      <a:pt x="94" y="202"/>
                    </a:lnTo>
                    <a:lnTo>
                      <a:pt x="81" y="173"/>
                    </a:lnTo>
                    <a:lnTo>
                      <a:pt x="79" y="163"/>
                    </a:lnTo>
                    <a:lnTo>
                      <a:pt x="81" y="148"/>
                    </a:lnTo>
                    <a:lnTo>
                      <a:pt x="90" y="129"/>
                    </a:lnTo>
                    <a:lnTo>
                      <a:pt x="104" y="108"/>
                    </a:lnTo>
                    <a:lnTo>
                      <a:pt x="108" y="94"/>
                    </a:lnTo>
                    <a:lnTo>
                      <a:pt x="111" y="63"/>
                    </a:lnTo>
                    <a:lnTo>
                      <a:pt x="115" y="39"/>
                    </a:lnTo>
                    <a:lnTo>
                      <a:pt x="123" y="21"/>
                    </a:lnTo>
                    <a:lnTo>
                      <a:pt x="142" y="0"/>
                    </a:lnTo>
                    <a:lnTo>
                      <a:pt x="154" y="0"/>
                    </a:lnTo>
                    <a:lnTo>
                      <a:pt x="179" y="2"/>
                    </a:lnTo>
                    <a:lnTo>
                      <a:pt x="194" y="6"/>
                    </a:lnTo>
                    <a:lnTo>
                      <a:pt x="207" y="12"/>
                    </a:lnTo>
                    <a:lnTo>
                      <a:pt x="215" y="21"/>
                    </a:lnTo>
                    <a:lnTo>
                      <a:pt x="213" y="33"/>
                    </a:lnTo>
                    <a:lnTo>
                      <a:pt x="209" y="46"/>
                    </a:lnTo>
                    <a:lnTo>
                      <a:pt x="207" y="58"/>
                    </a:lnTo>
                    <a:lnTo>
                      <a:pt x="205" y="67"/>
                    </a:lnTo>
                    <a:lnTo>
                      <a:pt x="205" y="79"/>
                    </a:lnTo>
                    <a:lnTo>
                      <a:pt x="209" y="96"/>
                    </a:lnTo>
                    <a:lnTo>
                      <a:pt x="213" y="121"/>
                    </a:lnTo>
                    <a:lnTo>
                      <a:pt x="219" y="163"/>
                    </a:lnTo>
                    <a:lnTo>
                      <a:pt x="221" y="179"/>
                    </a:lnTo>
                    <a:lnTo>
                      <a:pt x="227" y="179"/>
                    </a:lnTo>
                    <a:lnTo>
                      <a:pt x="230" y="179"/>
                    </a:lnTo>
                    <a:lnTo>
                      <a:pt x="242" y="1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35">
                <a:extLst>
                  <a:ext uri="{FF2B5EF4-FFF2-40B4-BE49-F238E27FC236}">
                    <a16:creationId xmlns:a16="http://schemas.microsoft.com/office/drawing/2014/main" id="{4738DD81-1F97-8CA0-C07E-DFA7FF890703}"/>
                  </a:ext>
                </a:extLst>
              </p:cNvPr>
              <p:cNvSpPr>
                <a:spLocks/>
              </p:cNvSpPr>
              <p:nvPr/>
            </p:nvSpPr>
            <p:spPr bwMode="gray">
              <a:xfrm>
                <a:off x="3477477" y="2907833"/>
                <a:ext cx="439840" cy="590964"/>
              </a:xfrm>
              <a:custGeom>
                <a:avLst/>
                <a:gdLst>
                  <a:gd name="T0" fmla="*/ 374 w 390"/>
                  <a:gd name="T1" fmla="*/ 441 h 524"/>
                  <a:gd name="T2" fmla="*/ 353 w 390"/>
                  <a:gd name="T3" fmla="*/ 445 h 524"/>
                  <a:gd name="T4" fmla="*/ 330 w 390"/>
                  <a:gd name="T5" fmla="*/ 453 h 524"/>
                  <a:gd name="T6" fmla="*/ 347 w 390"/>
                  <a:gd name="T7" fmla="*/ 472 h 524"/>
                  <a:gd name="T8" fmla="*/ 351 w 390"/>
                  <a:gd name="T9" fmla="*/ 487 h 524"/>
                  <a:gd name="T10" fmla="*/ 284 w 390"/>
                  <a:gd name="T11" fmla="*/ 516 h 524"/>
                  <a:gd name="T12" fmla="*/ 263 w 390"/>
                  <a:gd name="T13" fmla="*/ 516 h 524"/>
                  <a:gd name="T14" fmla="*/ 244 w 390"/>
                  <a:gd name="T15" fmla="*/ 524 h 524"/>
                  <a:gd name="T16" fmla="*/ 225 w 390"/>
                  <a:gd name="T17" fmla="*/ 503 h 524"/>
                  <a:gd name="T18" fmla="*/ 207 w 390"/>
                  <a:gd name="T19" fmla="*/ 491 h 524"/>
                  <a:gd name="T20" fmla="*/ 182 w 390"/>
                  <a:gd name="T21" fmla="*/ 478 h 524"/>
                  <a:gd name="T22" fmla="*/ 175 w 390"/>
                  <a:gd name="T23" fmla="*/ 468 h 524"/>
                  <a:gd name="T24" fmla="*/ 161 w 390"/>
                  <a:gd name="T25" fmla="*/ 449 h 524"/>
                  <a:gd name="T26" fmla="*/ 157 w 390"/>
                  <a:gd name="T27" fmla="*/ 420 h 524"/>
                  <a:gd name="T28" fmla="*/ 154 w 390"/>
                  <a:gd name="T29" fmla="*/ 393 h 524"/>
                  <a:gd name="T30" fmla="*/ 144 w 390"/>
                  <a:gd name="T31" fmla="*/ 378 h 524"/>
                  <a:gd name="T32" fmla="*/ 130 w 390"/>
                  <a:gd name="T33" fmla="*/ 353 h 524"/>
                  <a:gd name="T34" fmla="*/ 129 w 390"/>
                  <a:gd name="T35" fmla="*/ 317 h 524"/>
                  <a:gd name="T36" fmla="*/ 130 w 390"/>
                  <a:gd name="T37" fmla="*/ 301 h 524"/>
                  <a:gd name="T38" fmla="*/ 132 w 390"/>
                  <a:gd name="T39" fmla="*/ 286 h 524"/>
                  <a:gd name="T40" fmla="*/ 130 w 390"/>
                  <a:gd name="T41" fmla="*/ 278 h 524"/>
                  <a:gd name="T42" fmla="*/ 107 w 390"/>
                  <a:gd name="T43" fmla="*/ 244 h 524"/>
                  <a:gd name="T44" fmla="*/ 90 w 390"/>
                  <a:gd name="T45" fmla="*/ 215 h 524"/>
                  <a:gd name="T46" fmla="*/ 81 w 390"/>
                  <a:gd name="T47" fmla="*/ 182 h 524"/>
                  <a:gd name="T48" fmla="*/ 75 w 390"/>
                  <a:gd name="T49" fmla="*/ 146 h 524"/>
                  <a:gd name="T50" fmla="*/ 63 w 390"/>
                  <a:gd name="T51" fmla="*/ 117 h 524"/>
                  <a:gd name="T52" fmla="*/ 40 w 390"/>
                  <a:gd name="T53" fmla="*/ 76 h 524"/>
                  <a:gd name="T54" fmla="*/ 21 w 390"/>
                  <a:gd name="T55" fmla="*/ 55 h 524"/>
                  <a:gd name="T56" fmla="*/ 8 w 390"/>
                  <a:gd name="T57" fmla="*/ 36 h 524"/>
                  <a:gd name="T58" fmla="*/ 0 w 390"/>
                  <a:gd name="T59" fmla="*/ 19 h 524"/>
                  <a:gd name="T60" fmla="*/ 44 w 390"/>
                  <a:gd name="T61" fmla="*/ 13 h 524"/>
                  <a:gd name="T62" fmla="*/ 84 w 390"/>
                  <a:gd name="T63" fmla="*/ 3 h 524"/>
                  <a:gd name="T64" fmla="*/ 104 w 390"/>
                  <a:gd name="T65" fmla="*/ 0 h 524"/>
                  <a:gd name="T66" fmla="*/ 165 w 390"/>
                  <a:gd name="T67" fmla="*/ 1 h 524"/>
                  <a:gd name="T68" fmla="*/ 207 w 390"/>
                  <a:gd name="T69" fmla="*/ 38 h 524"/>
                  <a:gd name="T70" fmla="*/ 215 w 390"/>
                  <a:gd name="T71" fmla="*/ 80 h 524"/>
                  <a:gd name="T72" fmla="*/ 244 w 390"/>
                  <a:gd name="T73" fmla="*/ 194 h 524"/>
                  <a:gd name="T74" fmla="*/ 255 w 390"/>
                  <a:gd name="T75" fmla="*/ 242 h 524"/>
                  <a:gd name="T76" fmla="*/ 265 w 390"/>
                  <a:gd name="T77" fmla="*/ 295 h 524"/>
                  <a:gd name="T78" fmla="*/ 280 w 390"/>
                  <a:gd name="T79" fmla="*/ 334 h 524"/>
                  <a:gd name="T80" fmla="*/ 309 w 390"/>
                  <a:gd name="T81" fmla="*/ 370 h 524"/>
                  <a:gd name="T82" fmla="*/ 347 w 390"/>
                  <a:gd name="T83" fmla="*/ 399 h 524"/>
                  <a:gd name="T84" fmla="*/ 374 w 390"/>
                  <a:gd name="T85" fmla="*/ 42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524">
                    <a:moveTo>
                      <a:pt x="390" y="443"/>
                    </a:moveTo>
                    <a:lnTo>
                      <a:pt x="374" y="441"/>
                    </a:lnTo>
                    <a:lnTo>
                      <a:pt x="365" y="443"/>
                    </a:lnTo>
                    <a:lnTo>
                      <a:pt x="353" y="445"/>
                    </a:lnTo>
                    <a:lnTo>
                      <a:pt x="338" y="447"/>
                    </a:lnTo>
                    <a:lnTo>
                      <a:pt x="330" y="453"/>
                    </a:lnTo>
                    <a:lnTo>
                      <a:pt x="332" y="459"/>
                    </a:lnTo>
                    <a:lnTo>
                      <a:pt x="347" y="472"/>
                    </a:lnTo>
                    <a:lnTo>
                      <a:pt x="351" y="484"/>
                    </a:lnTo>
                    <a:lnTo>
                      <a:pt x="351" y="487"/>
                    </a:lnTo>
                    <a:lnTo>
                      <a:pt x="334" y="499"/>
                    </a:lnTo>
                    <a:lnTo>
                      <a:pt x="284" y="516"/>
                    </a:lnTo>
                    <a:lnTo>
                      <a:pt x="278" y="518"/>
                    </a:lnTo>
                    <a:lnTo>
                      <a:pt x="263" y="516"/>
                    </a:lnTo>
                    <a:lnTo>
                      <a:pt x="255" y="518"/>
                    </a:lnTo>
                    <a:lnTo>
                      <a:pt x="244" y="524"/>
                    </a:lnTo>
                    <a:lnTo>
                      <a:pt x="234" y="512"/>
                    </a:lnTo>
                    <a:lnTo>
                      <a:pt x="225" y="503"/>
                    </a:lnTo>
                    <a:lnTo>
                      <a:pt x="217" y="497"/>
                    </a:lnTo>
                    <a:lnTo>
                      <a:pt x="207" y="491"/>
                    </a:lnTo>
                    <a:lnTo>
                      <a:pt x="188" y="482"/>
                    </a:lnTo>
                    <a:lnTo>
                      <a:pt x="182" y="478"/>
                    </a:lnTo>
                    <a:lnTo>
                      <a:pt x="178" y="474"/>
                    </a:lnTo>
                    <a:lnTo>
                      <a:pt x="175" y="468"/>
                    </a:lnTo>
                    <a:lnTo>
                      <a:pt x="171" y="461"/>
                    </a:lnTo>
                    <a:lnTo>
                      <a:pt x="161" y="449"/>
                    </a:lnTo>
                    <a:lnTo>
                      <a:pt x="159" y="443"/>
                    </a:lnTo>
                    <a:lnTo>
                      <a:pt x="157" y="420"/>
                    </a:lnTo>
                    <a:lnTo>
                      <a:pt x="155" y="403"/>
                    </a:lnTo>
                    <a:lnTo>
                      <a:pt x="154" y="393"/>
                    </a:lnTo>
                    <a:lnTo>
                      <a:pt x="152" y="393"/>
                    </a:lnTo>
                    <a:lnTo>
                      <a:pt x="144" y="378"/>
                    </a:lnTo>
                    <a:lnTo>
                      <a:pt x="138" y="365"/>
                    </a:lnTo>
                    <a:lnTo>
                      <a:pt x="130" y="353"/>
                    </a:lnTo>
                    <a:lnTo>
                      <a:pt x="129" y="328"/>
                    </a:lnTo>
                    <a:lnTo>
                      <a:pt x="129" y="317"/>
                    </a:lnTo>
                    <a:lnTo>
                      <a:pt x="129" y="309"/>
                    </a:lnTo>
                    <a:lnTo>
                      <a:pt x="130" y="301"/>
                    </a:lnTo>
                    <a:lnTo>
                      <a:pt x="132" y="292"/>
                    </a:lnTo>
                    <a:lnTo>
                      <a:pt x="132" y="286"/>
                    </a:lnTo>
                    <a:lnTo>
                      <a:pt x="132" y="282"/>
                    </a:lnTo>
                    <a:lnTo>
                      <a:pt x="130" y="278"/>
                    </a:lnTo>
                    <a:lnTo>
                      <a:pt x="123" y="267"/>
                    </a:lnTo>
                    <a:lnTo>
                      <a:pt x="107" y="244"/>
                    </a:lnTo>
                    <a:lnTo>
                      <a:pt x="96" y="230"/>
                    </a:lnTo>
                    <a:lnTo>
                      <a:pt x="90" y="215"/>
                    </a:lnTo>
                    <a:lnTo>
                      <a:pt x="84" y="197"/>
                    </a:lnTo>
                    <a:lnTo>
                      <a:pt x="81" y="182"/>
                    </a:lnTo>
                    <a:lnTo>
                      <a:pt x="79" y="178"/>
                    </a:lnTo>
                    <a:lnTo>
                      <a:pt x="75" y="146"/>
                    </a:lnTo>
                    <a:lnTo>
                      <a:pt x="71" y="132"/>
                    </a:lnTo>
                    <a:lnTo>
                      <a:pt x="63" y="117"/>
                    </a:lnTo>
                    <a:lnTo>
                      <a:pt x="52" y="96"/>
                    </a:lnTo>
                    <a:lnTo>
                      <a:pt x="40" y="76"/>
                    </a:lnTo>
                    <a:lnTo>
                      <a:pt x="34" y="69"/>
                    </a:lnTo>
                    <a:lnTo>
                      <a:pt x="21" y="55"/>
                    </a:lnTo>
                    <a:lnTo>
                      <a:pt x="15" y="48"/>
                    </a:lnTo>
                    <a:lnTo>
                      <a:pt x="8" y="36"/>
                    </a:lnTo>
                    <a:lnTo>
                      <a:pt x="4" y="28"/>
                    </a:lnTo>
                    <a:lnTo>
                      <a:pt x="0" y="19"/>
                    </a:lnTo>
                    <a:lnTo>
                      <a:pt x="25" y="17"/>
                    </a:lnTo>
                    <a:lnTo>
                      <a:pt x="44" y="13"/>
                    </a:lnTo>
                    <a:lnTo>
                      <a:pt x="65" y="9"/>
                    </a:lnTo>
                    <a:lnTo>
                      <a:pt x="84" y="3"/>
                    </a:lnTo>
                    <a:lnTo>
                      <a:pt x="96" y="1"/>
                    </a:lnTo>
                    <a:lnTo>
                      <a:pt x="104" y="0"/>
                    </a:lnTo>
                    <a:lnTo>
                      <a:pt x="125" y="1"/>
                    </a:lnTo>
                    <a:lnTo>
                      <a:pt x="165" y="1"/>
                    </a:lnTo>
                    <a:lnTo>
                      <a:pt x="203" y="3"/>
                    </a:lnTo>
                    <a:lnTo>
                      <a:pt x="207" y="38"/>
                    </a:lnTo>
                    <a:lnTo>
                      <a:pt x="213" y="65"/>
                    </a:lnTo>
                    <a:lnTo>
                      <a:pt x="215" y="80"/>
                    </a:lnTo>
                    <a:lnTo>
                      <a:pt x="223" y="115"/>
                    </a:lnTo>
                    <a:lnTo>
                      <a:pt x="244" y="194"/>
                    </a:lnTo>
                    <a:lnTo>
                      <a:pt x="248" y="209"/>
                    </a:lnTo>
                    <a:lnTo>
                      <a:pt x="255" y="242"/>
                    </a:lnTo>
                    <a:lnTo>
                      <a:pt x="259" y="272"/>
                    </a:lnTo>
                    <a:lnTo>
                      <a:pt x="265" y="295"/>
                    </a:lnTo>
                    <a:lnTo>
                      <a:pt x="273" y="317"/>
                    </a:lnTo>
                    <a:lnTo>
                      <a:pt x="280" y="334"/>
                    </a:lnTo>
                    <a:lnTo>
                      <a:pt x="294" y="355"/>
                    </a:lnTo>
                    <a:lnTo>
                      <a:pt x="309" y="370"/>
                    </a:lnTo>
                    <a:lnTo>
                      <a:pt x="326" y="384"/>
                    </a:lnTo>
                    <a:lnTo>
                      <a:pt x="347" y="399"/>
                    </a:lnTo>
                    <a:lnTo>
                      <a:pt x="365" y="411"/>
                    </a:lnTo>
                    <a:lnTo>
                      <a:pt x="374" y="420"/>
                    </a:lnTo>
                    <a:lnTo>
                      <a:pt x="390" y="4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36">
                <a:extLst>
                  <a:ext uri="{FF2B5EF4-FFF2-40B4-BE49-F238E27FC236}">
                    <a16:creationId xmlns:a16="http://schemas.microsoft.com/office/drawing/2014/main" id="{8FC2F660-CFD7-BCF2-BE31-E1A901D59EAA}"/>
                  </a:ext>
                </a:extLst>
              </p:cNvPr>
              <p:cNvSpPr>
                <a:spLocks/>
              </p:cNvSpPr>
              <p:nvPr/>
            </p:nvSpPr>
            <p:spPr bwMode="gray">
              <a:xfrm>
                <a:off x="4224077" y="2818737"/>
                <a:ext cx="533447" cy="515402"/>
              </a:xfrm>
              <a:custGeom>
                <a:avLst/>
                <a:gdLst>
                  <a:gd name="T0" fmla="*/ 442 w 473"/>
                  <a:gd name="T1" fmla="*/ 80 h 457"/>
                  <a:gd name="T2" fmla="*/ 446 w 473"/>
                  <a:gd name="T3" fmla="*/ 144 h 457"/>
                  <a:gd name="T4" fmla="*/ 444 w 473"/>
                  <a:gd name="T5" fmla="*/ 201 h 457"/>
                  <a:gd name="T6" fmla="*/ 446 w 473"/>
                  <a:gd name="T7" fmla="*/ 228 h 457"/>
                  <a:gd name="T8" fmla="*/ 452 w 473"/>
                  <a:gd name="T9" fmla="*/ 251 h 457"/>
                  <a:gd name="T10" fmla="*/ 471 w 473"/>
                  <a:gd name="T11" fmla="*/ 307 h 457"/>
                  <a:gd name="T12" fmla="*/ 452 w 473"/>
                  <a:gd name="T13" fmla="*/ 388 h 457"/>
                  <a:gd name="T14" fmla="*/ 434 w 473"/>
                  <a:gd name="T15" fmla="*/ 438 h 457"/>
                  <a:gd name="T16" fmla="*/ 425 w 473"/>
                  <a:gd name="T17" fmla="*/ 455 h 457"/>
                  <a:gd name="T18" fmla="*/ 405 w 473"/>
                  <a:gd name="T19" fmla="*/ 442 h 457"/>
                  <a:gd name="T20" fmla="*/ 392 w 473"/>
                  <a:gd name="T21" fmla="*/ 424 h 457"/>
                  <a:gd name="T22" fmla="*/ 371 w 473"/>
                  <a:gd name="T23" fmla="*/ 396 h 457"/>
                  <a:gd name="T24" fmla="*/ 342 w 473"/>
                  <a:gd name="T25" fmla="*/ 376 h 457"/>
                  <a:gd name="T26" fmla="*/ 313 w 473"/>
                  <a:gd name="T27" fmla="*/ 365 h 457"/>
                  <a:gd name="T28" fmla="*/ 294 w 473"/>
                  <a:gd name="T29" fmla="*/ 363 h 457"/>
                  <a:gd name="T30" fmla="*/ 273 w 473"/>
                  <a:gd name="T31" fmla="*/ 361 h 457"/>
                  <a:gd name="T32" fmla="*/ 246 w 473"/>
                  <a:gd name="T33" fmla="*/ 353 h 457"/>
                  <a:gd name="T34" fmla="*/ 215 w 473"/>
                  <a:gd name="T35" fmla="*/ 342 h 457"/>
                  <a:gd name="T36" fmla="*/ 202 w 473"/>
                  <a:gd name="T37" fmla="*/ 338 h 457"/>
                  <a:gd name="T38" fmla="*/ 167 w 473"/>
                  <a:gd name="T39" fmla="*/ 326 h 457"/>
                  <a:gd name="T40" fmla="*/ 123 w 473"/>
                  <a:gd name="T41" fmla="*/ 323 h 457"/>
                  <a:gd name="T42" fmla="*/ 108 w 473"/>
                  <a:gd name="T43" fmla="*/ 299 h 457"/>
                  <a:gd name="T44" fmla="*/ 98 w 473"/>
                  <a:gd name="T45" fmla="*/ 271 h 457"/>
                  <a:gd name="T46" fmla="*/ 87 w 473"/>
                  <a:gd name="T47" fmla="*/ 244 h 457"/>
                  <a:gd name="T48" fmla="*/ 106 w 473"/>
                  <a:gd name="T49" fmla="*/ 226 h 457"/>
                  <a:gd name="T50" fmla="*/ 125 w 473"/>
                  <a:gd name="T51" fmla="*/ 213 h 457"/>
                  <a:gd name="T52" fmla="*/ 110 w 473"/>
                  <a:gd name="T53" fmla="*/ 200 h 457"/>
                  <a:gd name="T54" fmla="*/ 98 w 473"/>
                  <a:gd name="T55" fmla="*/ 194 h 457"/>
                  <a:gd name="T56" fmla="*/ 93 w 473"/>
                  <a:gd name="T57" fmla="*/ 196 h 457"/>
                  <a:gd name="T58" fmla="*/ 81 w 473"/>
                  <a:gd name="T59" fmla="*/ 207 h 457"/>
                  <a:gd name="T60" fmla="*/ 69 w 473"/>
                  <a:gd name="T61" fmla="*/ 200 h 457"/>
                  <a:gd name="T62" fmla="*/ 60 w 473"/>
                  <a:gd name="T63" fmla="*/ 196 h 457"/>
                  <a:gd name="T64" fmla="*/ 54 w 473"/>
                  <a:gd name="T65" fmla="*/ 198 h 457"/>
                  <a:gd name="T66" fmla="*/ 46 w 473"/>
                  <a:gd name="T67" fmla="*/ 190 h 457"/>
                  <a:gd name="T68" fmla="*/ 33 w 473"/>
                  <a:gd name="T69" fmla="*/ 186 h 457"/>
                  <a:gd name="T70" fmla="*/ 21 w 473"/>
                  <a:gd name="T71" fmla="*/ 190 h 457"/>
                  <a:gd name="T72" fmla="*/ 14 w 473"/>
                  <a:gd name="T73" fmla="*/ 188 h 457"/>
                  <a:gd name="T74" fmla="*/ 18 w 473"/>
                  <a:gd name="T75" fmla="*/ 177 h 457"/>
                  <a:gd name="T76" fmla="*/ 25 w 473"/>
                  <a:gd name="T77" fmla="*/ 163 h 457"/>
                  <a:gd name="T78" fmla="*/ 31 w 473"/>
                  <a:gd name="T79" fmla="*/ 144 h 457"/>
                  <a:gd name="T80" fmla="*/ 27 w 473"/>
                  <a:gd name="T81" fmla="*/ 125 h 457"/>
                  <a:gd name="T82" fmla="*/ 18 w 473"/>
                  <a:gd name="T83" fmla="*/ 121 h 457"/>
                  <a:gd name="T84" fmla="*/ 6 w 473"/>
                  <a:gd name="T85" fmla="*/ 123 h 457"/>
                  <a:gd name="T86" fmla="*/ 2 w 473"/>
                  <a:gd name="T87" fmla="*/ 113 h 457"/>
                  <a:gd name="T88" fmla="*/ 10 w 473"/>
                  <a:gd name="T89" fmla="*/ 105 h 457"/>
                  <a:gd name="T90" fmla="*/ 16 w 473"/>
                  <a:gd name="T91" fmla="*/ 98 h 457"/>
                  <a:gd name="T92" fmla="*/ 12 w 473"/>
                  <a:gd name="T93" fmla="*/ 86 h 457"/>
                  <a:gd name="T94" fmla="*/ 18 w 473"/>
                  <a:gd name="T95" fmla="*/ 55 h 457"/>
                  <a:gd name="T96" fmla="*/ 29 w 473"/>
                  <a:gd name="T97" fmla="*/ 42 h 457"/>
                  <a:gd name="T98" fmla="*/ 110 w 473"/>
                  <a:gd name="T99" fmla="*/ 54 h 457"/>
                  <a:gd name="T100" fmla="*/ 185 w 473"/>
                  <a:gd name="T101" fmla="*/ 38 h 457"/>
                  <a:gd name="T102" fmla="*/ 290 w 473"/>
                  <a:gd name="T103" fmla="*/ 15 h 457"/>
                  <a:gd name="T104" fmla="*/ 382 w 473"/>
                  <a:gd name="T105" fmla="*/ 7 h 457"/>
                  <a:gd name="T106" fmla="*/ 427 w 473"/>
                  <a:gd name="T107" fmla="*/ 17 h 457"/>
                  <a:gd name="T108" fmla="*/ 442 w 473"/>
                  <a:gd name="T10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3" h="457">
                    <a:moveTo>
                      <a:pt x="442" y="71"/>
                    </a:moveTo>
                    <a:lnTo>
                      <a:pt x="442" y="80"/>
                    </a:lnTo>
                    <a:lnTo>
                      <a:pt x="444" y="107"/>
                    </a:lnTo>
                    <a:lnTo>
                      <a:pt x="446" y="144"/>
                    </a:lnTo>
                    <a:lnTo>
                      <a:pt x="446" y="169"/>
                    </a:lnTo>
                    <a:lnTo>
                      <a:pt x="444" y="201"/>
                    </a:lnTo>
                    <a:lnTo>
                      <a:pt x="446" y="219"/>
                    </a:lnTo>
                    <a:lnTo>
                      <a:pt x="446" y="228"/>
                    </a:lnTo>
                    <a:lnTo>
                      <a:pt x="446" y="238"/>
                    </a:lnTo>
                    <a:lnTo>
                      <a:pt x="452" y="251"/>
                    </a:lnTo>
                    <a:lnTo>
                      <a:pt x="469" y="299"/>
                    </a:lnTo>
                    <a:lnTo>
                      <a:pt x="471" y="307"/>
                    </a:lnTo>
                    <a:lnTo>
                      <a:pt x="473" y="324"/>
                    </a:lnTo>
                    <a:lnTo>
                      <a:pt x="452" y="388"/>
                    </a:lnTo>
                    <a:lnTo>
                      <a:pt x="440" y="422"/>
                    </a:lnTo>
                    <a:lnTo>
                      <a:pt x="434" y="438"/>
                    </a:lnTo>
                    <a:lnTo>
                      <a:pt x="430" y="457"/>
                    </a:lnTo>
                    <a:lnTo>
                      <a:pt x="425" y="455"/>
                    </a:lnTo>
                    <a:lnTo>
                      <a:pt x="417" y="451"/>
                    </a:lnTo>
                    <a:lnTo>
                      <a:pt x="405" y="442"/>
                    </a:lnTo>
                    <a:lnTo>
                      <a:pt x="402" y="436"/>
                    </a:lnTo>
                    <a:lnTo>
                      <a:pt x="392" y="424"/>
                    </a:lnTo>
                    <a:lnTo>
                      <a:pt x="381" y="409"/>
                    </a:lnTo>
                    <a:lnTo>
                      <a:pt x="371" y="396"/>
                    </a:lnTo>
                    <a:lnTo>
                      <a:pt x="350" y="378"/>
                    </a:lnTo>
                    <a:lnTo>
                      <a:pt x="342" y="376"/>
                    </a:lnTo>
                    <a:lnTo>
                      <a:pt x="331" y="369"/>
                    </a:lnTo>
                    <a:lnTo>
                      <a:pt x="313" y="365"/>
                    </a:lnTo>
                    <a:lnTo>
                      <a:pt x="308" y="363"/>
                    </a:lnTo>
                    <a:lnTo>
                      <a:pt x="294" y="363"/>
                    </a:lnTo>
                    <a:lnTo>
                      <a:pt x="281" y="361"/>
                    </a:lnTo>
                    <a:lnTo>
                      <a:pt x="273" y="361"/>
                    </a:lnTo>
                    <a:lnTo>
                      <a:pt x="260" y="359"/>
                    </a:lnTo>
                    <a:lnTo>
                      <a:pt x="246" y="353"/>
                    </a:lnTo>
                    <a:lnTo>
                      <a:pt x="240" y="351"/>
                    </a:lnTo>
                    <a:lnTo>
                      <a:pt x="215" y="342"/>
                    </a:lnTo>
                    <a:lnTo>
                      <a:pt x="213" y="342"/>
                    </a:lnTo>
                    <a:lnTo>
                      <a:pt x="202" y="338"/>
                    </a:lnTo>
                    <a:lnTo>
                      <a:pt x="183" y="330"/>
                    </a:lnTo>
                    <a:lnTo>
                      <a:pt x="167" y="326"/>
                    </a:lnTo>
                    <a:lnTo>
                      <a:pt x="150" y="324"/>
                    </a:lnTo>
                    <a:lnTo>
                      <a:pt x="123" y="323"/>
                    </a:lnTo>
                    <a:lnTo>
                      <a:pt x="110" y="305"/>
                    </a:lnTo>
                    <a:lnTo>
                      <a:pt x="108" y="299"/>
                    </a:lnTo>
                    <a:lnTo>
                      <a:pt x="102" y="280"/>
                    </a:lnTo>
                    <a:lnTo>
                      <a:pt x="98" y="271"/>
                    </a:lnTo>
                    <a:lnTo>
                      <a:pt x="94" y="263"/>
                    </a:lnTo>
                    <a:lnTo>
                      <a:pt x="87" y="244"/>
                    </a:lnTo>
                    <a:lnTo>
                      <a:pt x="96" y="236"/>
                    </a:lnTo>
                    <a:lnTo>
                      <a:pt x="106" y="226"/>
                    </a:lnTo>
                    <a:lnTo>
                      <a:pt x="117" y="219"/>
                    </a:lnTo>
                    <a:lnTo>
                      <a:pt x="125" y="213"/>
                    </a:lnTo>
                    <a:lnTo>
                      <a:pt x="119" y="207"/>
                    </a:lnTo>
                    <a:lnTo>
                      <a:pt x="110" y="200"/>
                    </a:lnTo>
                    <a:lnTo>
                      <a:pt x="108" y="198"/>
                    </a:lnTo>
                    <a:lnTo>
                      <a:pt x="98" y="194"/>
                    </a:lnTo>
                    <a:lnTo>
                      <a:pt x="96" y="194"/>
                    </a:lnTo>
                    <a:lnTo>
                      <a:pt x="93" y="196"/>
                    </a:lnTo>
                    <a:lnTo>
                      <a:pt x="87" y="201"/>
                    </a:lnTo>
                    <a:lnTo>
                      <a:pt x="81" y="207"/>
                    </a:lnTo>
                    <a:lnTo>
                      <a:pt x="73" y="205"/>
                    </a:lnTo>
                    <a:lnTo>
                      <a:pt x="69" y="200"/>
                    </a:lnTo>
                    <a:lnTo>
                      <a:pt x="64" y="196"/>
                    </a:lnTo>
                    <a:lnTo>
                      <a:pt x="60" y="196"/>
                    </a:lnTo>
                    <a:lnTo>
                      <a:pt x="58" y="198"/>
                    </a:lnTo>
                    <a:lnTo>
                      <a:pt x="54" y="198"/>
                    </a:lnTo>
                    <a:lnTo>
                      <a:pt x="50" y="196"/>
                    </a:lnTo>
                    <a:lnTo>
                      <a:pt x="46" y="190"/>
                    </a:lnTo>
                    <a:lnTo>
                      <a:pt x="39" y="186"/>
                    </a:lnTo>
                    <a:lnTo>
                      <a:pt x="33" y="186"/>
                    </a:lnTo>
                    <a:lnTo>
                      <a:pt x="27" y="188"/>
                    </a:lnTo>
                    <a:lnTo>
                      <a:pt x="21" y="190"/>
                    </a:lnTo>
                    <a:lnTo>
                      <a:pt x="16" y="190"/>
                    </a:lnTo>
                    <a:lnTo>
                      <a:pt x="14" y="188"/>
                    </a:lnTo>
                    <a:lnTo>
                      <a:pt x="14" y="182"/>
                    </a:lnTo>
                    <a:lnTo>
                      <a:pt x="18" y="177"/>
                    </a:lnTo>
                    <a:lnTo>
                      <a:pt x="23" y="165"/>
                    </a:lnTo>
                    <a:lnTo>
                      <a:pt x="25" y="163"/>
                    </a:lnTo>
                    <a:lnTo>
                      <a:pt x="31" y="153"/>
                    </a:lnTo>
                    <a:lnTo>
                      <a:pt x="31" y="144"/>
                    </a:lnTo>
                    <a:lnTo>
                      <a:pt x="31" y="132"/>
                    </a:lnTo>
                    <a:lnTo>
                      <a:pt x="27" y="125"/>
                    </a:lnTo>
                    <a:lnTo>
                      <a:pt x="23" y="119"/>
                    </a:lnTo>
                    <a:lnTo>
                      <a:pt x="18" y="121"/>
                    </a:lnTo>
                    <a:lnTo>
                      <a:pt x="10" y="123"/>
                    </a:lnTo>
                    <a:lnTo>
                      <a:pt x="6" y="123"/>
                    </a:lnTo>
                    <a:lnTo>
                      <a:pt x="0" y="119"/>
                    </a:lnTo>
                    <a:lnTo>
                      <a:pt x="2" y="113"/>
                    </a:lnTo>
                    <a:lnTo>
                      <a:pt x="4" y="109"/>
                    </a:lnTo>
                    <a:lnTo>
                      <a:pt x="10" y="105"/>
                    </a:lnTo>
                    <a:lnTo>
                      <a:pt x="14" y="102"/>
                    </a:lnTo>
                    <a:lnTo>
                      <a:pt x="16" y="98"/>
                    </a:lnTo>
                    <a:lnTo>
                      <a:pt x="12" y="94"/>
                    </a:lnTo>
                    <a:lnTo>
                      <a:pt x="12" y="86"/>
                    </a:lnTo>
                    <a:lnTo>
                      <a:pt x="14" y="75"/>
                    </a:lnTo>
                    <a:lnTo>
                      <a:pt x="18" y="55"/>
                    </a:lnTo>
                    <a:lnTo>
                      <a:pt x="21" y="40"/>
                    </a:lnTo>
                    <a:lnTo>
                      <a:pt x="29" y="42"/>
                    </a:lnTo>
                    <a:lnTo>
                      <a:pt x="73" y="52"/>
                    </a:lnTo>
                    <a:lnTo>
                      <a:pt x="110" y="54"/>
                    </a:lnTo>
                    <a:lnTo>
                      <a:pt x="135" y="52"/>
                    </a:lnTo>
                    <a:lnTo>
                      <a:pt x="185" y="38"/>
                    </a:lnTo>
                    <a:lnTo>
                      <a:pt x="269" y="17"/>
                    </a:lnTo>
                    <a:lnTo>
                      <a:pt x="290" y="15"/>
                    </a:lnTo>
                    <a:lnTo>
                      <a:pt x="367" y="13"/>
                    </a:lnTo>
                    <a:lnTo>
                      <a:pt x="382" y="7"/>
                    </a:lnTo>
                    <a:lnTo>
                      <a:pt x="409" y="0"/>
                    </a:lnTo>
                    <a:lnTo>
                      <a:pt x="427" y="17"/>
                    </a:lnTo>
                    <a:lnTo>
                      <a:pt x="436" y="31"/>
                    </a:lnTo>
                    <a:lnTo>
                      <a:pt x="442" y="48"/>
                    </a:lnTo>
                    <a:lnTo>
                      <a:pt x="442" y="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37">
                <a:extLst>
                  <a:ext uri="{FF2B5EF4-FFF2-40B4-BE49-F238E27FC236}">
                    <a16:creationId xmlns:a16="http://schemas.microsoft.com/office/drawing/2014/main" id="{68E920C2-8986-B892-5F5A-A33873372AEC}"/>
                  </a:ext>
                </a:extLst>
              </p:cNvPr>
              <p:cNvSpPr>
                <a:spLocks/>
              </p:cNvSpPr>
              <p:nvPr/>
            </p:nvSpPr>
            <p:spPr bwMode="gray">
              <a:xfrm>
                <a:off x="3672585" y="2584156"/>
                <a:ext cx="791711" cy="990202"/>
              </a:xfrm>
              <a:custGeom>
                <a:avLst/>
                <a:gdLst>
                  <a:gd name="T0" fmla="*/ 503 w 702"/>
                  <a:gd name="T1" fmla="*/ 283 h 878"/>
                  <a:gd name="T2" fmla="*/ 505 w 702"/>
                  <a:gd name="T3" fmla="*/ 306 h 878"/>
                  <a:gd name="T4" fmla="*/ 493 w 702"/>
                  <a:gd name="T5" fmla="*/ 317 h 878"/>
                  <a:gd name="T6" fmla="*/ 495 w 702"/>
                  <a:gd name="T7" fmla="*/ 331 h 878"/>
                  <a:gd name="T8" fmla="*/ 512 w 702"/>
                  <a:gd name="T9" fmla="*/ 327 h 878"/>
                  <a:gd name="T10" fmla="*/ 520 w 702"/>
                  <a:gd name="T11" fmla="*/ 352 h 878"/>
                  <a:gd name="T12" fmla="*/ 512 w 702"/>
                  <a:gd name="T13" fmla="*/ 373 h 878"/>
                  <a:gd name="T14" fmla="*/ 503 w 702"/>
                  <a:gd name="T15" fmla="*/ 396 h 878"/>
                  <a:gd name="T16" fmla="*/ 516 w 702"/>
                  <a:gd name="T17" fmla="*/ 396 h 878"/>
                  <a:gd name="T18" fmla="*/ 535 w 702"/>
                  <a:gd name="T19" fmla="*/ 398 h 878"/>
                  <a:gd name="T20" fmla="*/ 547 w 702"/>
                  <a:gd name="T21" fmla="*/ 406 h 878"/>
                  <a:gd name="T22" fmla="*/ 558 w 702"/>
                  <a:gd name="T23" fmla="*/ 408 h 878"/>
                  <a:gd name="T24" fmla="*/ 576 w 702"/>
                  <a:gd name="T25" fmla="*/ 409 h 878"/>
                  <a:gd name="T26" fmla="*/ 587 w 702"/>
                  <a:gd name="T27" fmla="*/ 402 h 878"/>
                  <a:gd name="T28" fmla="*/ 608 w 702"/>
                  <a:gd name="T29" fmla="*/ 415 h 878"/>
                  <a:gd name="T30" fmla="*/ 595 w 702"/>
                  <a:gd name="T31" fmla="*/ 434 h 878"/>
                  <a:gd name="T32" fmla="*/ 583 w 702"/>
                  <a:gd name="T33" fmla="*/ 471 h 878"/>
                  <a:gd name="T34" fmla="*/ 597 w 702"/>
                  <a:gd name="T35" fmla="*/ 507 h 878"/>
                  <a:gd name="T36" fmla="*/ 612 w 702"/>
                  <a:gd name="T37" fmla="*/ 538 h 878"/>
                  <a:gd name="T38" fmla="*/ 605 w 702"/>
                  <a:gd name="T39" fmla="*/ 567 h 878"/>
                  <a:gd name="T40" fmla="*/ 582 w 702"/>
                  <a:gd name="T41" fmla="*/ 602 h 878"/>
                  <a:gd name="T42" fmla="*/ 555 w 702"/>
                  <a:gd name="T43" fmla="*/ 605 h 878"/>
                  <a:gd name="T44" fmla="*/ 539 w 702"/>
                  <a:gd name="T45" fmla="*/ 605 h 878"/>
                  <a:gd name="T46" fmla="*/ 532 w 702"/>
                  <a:gd name="T47" fmla="*/ 617 h 878"/>
                  <a:gd name="T48" fmla="*/ 520 w 702"/>
                  <a:gd name="T49" fmla="*/ 634 h 878"/>
                  <a:gd name="T50" fmla="*/ 507 w 702"/>
                  <a:gd name="T51" fmla="*/ 646 h 878"/>
                  <a:gd name="T52" fmla="*/ 495 w 702"/>
                  <a:gd name="T53" fmla="*/ 650 h 878"/>
                  <a:gd name="T54" fmla="*/ 493 w 702"/>
                  <a:gd name="T55" fmla="*/ 663 h 878"/>
                  <a:gd name="T56" fmla="*/ 530 w 702"/>
                  <a:gd name="T57" fmla="*/ 698 h 878"/>
                  <a:gd name="T58" fmla="*/ 599 w 702"/>
                  <a:gd name="T59" fmla="*/ 678 h 878"/>
                  <a:gd name="T60" fmla="*/ 653 w 702"/>
                  <a:gd name="T61" fmla="*/ 725 h 878"/>
                  <a:gd name="T62" fmla="*/ 697 w 702"/>
                  <a:gd name="T63" fmla="*/ 761 h 878"/>
                  <a:gd name="T64" fmla="*/ 699 w 702"/>
                  <a:gd name="T65" fmla="*/ 796 h 878"/>
                  <a:gd name="T66" fmla="*/ 676 w 702"/>
                  <a:gd name="T67" fmla="*/ 824 h 878"/>
                  <a:gd name="T68" fmla="*/ 645 w 702"/>
                  <a:gd name="T69" fmla="*/ 824 h 878"/>
                  <a:gd name="T70" fmla="*/ 578 w 702"/>
                  <a:gd name="T71" fmla="*/ 819 h 878"/>
                  <a:gd name="T72" fmla="*/ 526 w 702"/>
                  <a:gd name="T73" fmla="*/ 840 h 878"/>
                  <a:gd name="T74" fmla="*/ 514 w 702"/>
                  <a:gd name="T75" fmla="*/ 861 h 878"/>
                  <a:gd name="T76" fmla="*/ 486 w 702"/>
                  <a:gd name="T77" fmla="*/ 871 h 878"/>
                  <a:gd name="T78" fmla="*/ 453 w 702"/>
                  <a:gd name="T79" fmla="*/ 847 h 878"/>
                  <a:gd name="T80" fmla="*/ 436 w 702"/>
                  <a:gd name="T81" fmla="*/ 826 h 878"/>
                  <a:gd name="T82" fmla="*/ 424 w 702"/>
                  <a:gd name="T83" fmla="*/ 805 h 878"/>
                  <a:gd name="T84" fmla="*/ 376 w 702"/>
                  <a:gd name="T85" fmla="*/ 819 h 878"/>
                  <a:gd name="T86" fmla="*/ 265 w 702"/>
                  <a:gd name="T87" fmla="*/ 732 h 878"/>
                  <a:gd name="T88" fmla="*/ 222 w 702"/>
                  <a:gd name="T89" fmla="*/ 728 h 878"/>
                  <a:gd name="T90" fmla="*/ 192 w 702"/>
                  <a:gd name="T91" fmla="*/ 698 h 878"/>
                  <a:gd name="T92" fmla="*/ 136 w 702"/>
                  <a:gd name="T93" fmla="*/ 657 h 878"/>
                  <a:gd name="T94" fmla="*/ 100 w 702"/>
                  <a:gd name="T95" fmla="*/ 604 h 878"/>
                  <a:gd name="T96" fmla="*/ 82 w 702"/>
                  <a:gd name="T97" fmla="*/ 529 h 878"/>
                  <a:gd name="T98" fmla="*/ 50 w 702"/>
                  <a:gd name="T99" fmla="*/ 402 h 878"/>
                  <a:gd name="T100" fmla="*/ 34 w 702"/>
                  <a:gd name="T101" fmla="*/ 325 h 878"/>
                  <a:gd name="T102" fmla="*/ 27 w 702"/>
                  <a:gd name="T103" fmla="*/ 198 h 878"/>
                  <a:gd name="T104" fmla="*/ 0 w 702"/>
                  <a:gd name="T105" fmla="*/ 75 h 878"/>
                  <a:gd name="T106" fmla="*/ 53 w 702"/>
                  <a:gd name="T107" fmla="*/ 69 h 878"/>
                  <a:gd name="T108" fmla="*/ 190 w 702"/>
                  <a:gd name="T109" fmla="*/ 50 h 878"/>
                  <a:gd name="T110" fmla="*/ 365 w 702"/>
                  <a:gd name="T111" fmla="*/ 27 h 878"/>
                  <a:gd name="T112" fmla="*/ 414 w 702"/>
                  <a:gd name="T113" fmla="*/ 133 h 878"/>
                  <a:gd name="T114" fmla="*/ 449 w 702"/>
                  <a:gd name="T115" fmla="*/ 190 h 878"/>
                  <a:gd name="T116" fmla="*/ 501 w 702"/>
                  <a:gd name="T117" fmla="*/ 24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 h="878">
                    <a:moveTo>
                      <a:pt x="510" y="248"/>
                    </a:moveTo>
                    <a:lnTo>
                      <a:pt x="507" y="263"/>
                    </a:lnTo>
                    <a:lnTo>
                      <a:pt x="503" y="283"/>
                    </a:lnTo>
                    <a:lnTo>
                      <a:pt x="501" y="294"/>
                    </a:lnTo>
                    <a:lnTo>
                      <a:pt x="501" y="302"/>
                    </a:lnTo>
                    <a:lnTo>
                      <a:pt x="505" y="306"/>
                    </a:lnTo>
                    <a:lnTo>
                      <a:pt x="503" y="310"/>
                    </a:lnTo>
                    <a:lnTo>
                      <a:pt x="499" y="313"/>
                    </a:lnTo>
                    <a:lnTo>
                      <a:pt x="493" y="317"/>
                    </a:lnTo>
                    <a:lnTo>
                      <a:pt x="491" y="321"/>
                    </a:lnTo>
                    <a:lnTo>
                      <a:pt x="489" y="327"/>
                    </a:lnTo>
                    <a:lnTo>
                      <a:pt x="495" y="331"/>
                    </a:lnTo>
                    <a:lnTo>
                      <a:pt x="499" y="331"/>
                    </a:lnTo>
                    <a:lnTo>
                      <a:pt x="507" y="329"/>
                    </a:lnTo>
                    <a:lnTo>
                      <a:pt x="512" y="327"/>
                    </a:lnTo>
                    <a:lnTo>
                      <a:pt x="516" y="333"/>
                    </a:lnTo>
                    <a:lnTo>
                      <a:pt x="520" y="340"/>
                    </a:lnTo>
                    <a:lnTo>
                      <a:pt x="520" y="352"/>
                    </a:lnTo>
                    <a:lnTo>
                      <a:pt x="520" y="361"/>
                    </a:lnTo>
                    <a:lnTo>
                      <a:pt x="514" y="371"/>
                    </a:lnTo>
                    <a:lnTo>
                      <a:pt x="512" y="373"/>
                    </a:lnTo>
                    <a:lnTo>
                      <a:pt x="507" y="385"/>
                    </a:lnTo>
                    <a:lnTo>
                      <a:pt x="503" y="390"/>
                    </a:lnTo>
                    <a:lnTo>
                      <a:pt x="503" y="396"/>
                    </a:lnTo>
                    <a:lnTo>
                      <a:pt x="505" y="398"/>
                    </a:lnTo>
                    <a:lnTo>
                      <a:pt x="510" y="398"/>
                    </a:lnTo>
                    <a:lnTo>
                      <a:pt x="516" y="396"/>
                    </a:lnTo>
                    <a:lnTo>
                      <a:pt x="522" y="394"/>
                    </a:lnTo>
                    <a:lnTo>
                      <a:pt x="528" y="394"/>
                    </a:lnTo>
                    <a:lnTo>
                      <a:pt x="535" y="398"/>
                    </a:lnTo>
                    <a:lnTo>
                      <a:pt x="539" y="404"/>
                    </a:lnTo>
                    <a:lnTo>
                      <a:pt x="543" y="406"/>
                    </a:lnTo>
                    <a:lnTo>
                      <a:pt x="547" y="406"/>
                    </a:lnTo>
                    <a:lnTo>
                      <a:pt x="549" y="404"/>
                    </a:lnTo>
                    <a:lnTo>
                      <a:pt x="553" y="404"/>
                    </a:lnTo>
                    <a:lnTo>
                      <a:pt x="558" y="408"/>
                    </a:lnTo>
                    <a:lnTo>
                      <a:pt x="562" y="413"/>
                    </a:lnTo>
                    <a:lnTo>
                      <a:pt x="570" y="415"/>
                    </a:lnTo>
                    <a:lnTo>
                      <a:pt x="576" y="409"/>
                    </a:lnTo>
                    <a:lnTo>
                      <a:pt x="582" y="404"/>
                    </a:lnTo>
                    <a:lnTo>
                      <a:pt x="585" y="402"/>
                    </a:lnTo>
                    <a:lnTo>
                      <a:pt x="587" y="402"/>
                    </a:lnTo>
                    <a:lnTo>
                      <a:pt x="597" y="406"/>
                    </a:lnTo>
                    <a:lnTo>
                      <a:pt x="599" y="408"/>
                    </a:lnTo>
                    <a:lnTo>
                      <a:pt x="608" y="415"/>
                    </a:lnTo>
                    <a:lnTo>
                      <a:pt x="614" y="421"/>
                    </a:lnTo>
                    <a:lnTo>
                      <a:pt x="606" y="427"/>
                    </a:lnTo>
                    <a:lnTo>
                      <a:pt x="595" y="434"/>
                    </a:lnTo>
                    <a:lnTo>
                      <a:pt x="585" y="444"/>
                    </a:lnTo>
                    <a:lnTo>
                      <a:pt x="576" y="452"/>
                    </a:lnTo>
                    <a:lnTo>
                      <a:pt x="583" y="471"/>
                    </a:lnTo>
                    <a:lnTo>
                      <a:pt x="587" y="479"/>
                    </a:lnTo>
                    <a:lnTo>
                      <a:pt x="591" y="488"/>
                    </a:lnTo>
                    <a:lnTo>
                      <a:pt x="597" y="507"/>
                    </a:lnTo>
                    <a:lnTo>
                      <a:pt x="599" y="513"/>
                    </a:lnTo>
                    <a:lnTo>
                      <a:pt x="612" y="531"/>
                    </a:lnTo>
                    <a:lnTo>
                      <a:pt x="612" y="538"/>
                    </a:lnTo>
                    <a:lnTo>
                      <a:pt x="606" y="552"/>
                    </a:lnTo>
                    <a:lnTo>
                      <a:pt x="606" y="559"/>
                    </a:lnTo>
                    <a:lnTo>
                      <a:pt x="605" y="567"/>
                    </a:lnTo>
                    <a:lnTo>
                      <a:pt x="599" y="579"/>
                    </a:lnTo>
                    <a:lnTo>
                      <a:pt x="591" y="592"/>
                    </a:lnTo>
                    <a:lnTo>
                      <a:pt x="582" y="602"/>
                    </a:lnTo>
                    <a:lnTo>
                      <a:pt x="568" y="607"/>
                    </a:lnTo>
                    <a:lnTo>
                      <a:pt x="562" y="607"/>
                    </a:lnTo>
                    <a:lnTo>
                      <a:pt x="555" y="605"/>
                    </a:lnTo>
                    <a:lnTo>
                      <a:pt x="549" y="605"/>
                    </a:lnTo>
                    <a:lnTo>
                      <a:pt x="541" y="605"/>
                    </a:lnTo>
                    <a:lnTo>
                      <a:pt x="539" y="605"/>
                    </a:lnTo>
                    <a:lnTo>
                      <a:pt x="535" y="609"/>
                    </a:lnTo>
                    <a:lnTo>
                      <a:pt x="534" y="611"/>
                    </a:lnTo>
                    <a:lnTo>
                      <a:pt x="532" y="617"/>
                    </a:lnTo>
                    <a:lnTo>
                      <a:pt x="528" y="623"/>
                    </a:lnTo>
                    <a:lnTo>
                      <a:pt x="522" y="628"/>
                    </a:lnTo>
                    <a:lnTo>
                      <a:pt x="520" y="634"/>
                    </a:lnTo>
                    <a:lnTo>
                      <a:pt x="516" y="642"/>
                    </a:lnTo>
                    <a:lnTo>
                      <a:pt x="512" y="646"/>
                    </a:lnTo>
                    <a:lnTo>
                      <a:pt x="507" y="646"/>
                    </a:lnTo>
                    <a:lnTo>
                      <a:pt x="503" y="648"/>
                    </a:lnTo>
                    <a:lnTo>
                      <a:pt x="499" y="648"/>
                    </a:lnTo>
                    <a:lnTo>
                      <a:pt x="495" y="650"/>
                    </a:lnTo>
                    <a:lnTo>
                      <a:pt x="493" y="653"/>
                    </a:lnTo>
                    <a:lnTo>
                      <a:pt x="491" y="659"/>
                    </a:lnTo>
                    <a:lnTo>
                      <a:pt x="493" y="663"/>
                    </a:lnTo>
                    <a:lnTo>
                      <a:pt x="501" y="673"/>
                    </a:lnTo>
                    <a:lnTo>
                      <a:pt x="509" y="680"/>
                    </a:lnTo>
                    <a:lnTo>
                      <a:pt x="530" y="698"/>
                    </a:lnTo>
                    <a:lnTo>
                      <a:pt x="539" y="703"/>
                    </a:lnTo>
                    <a:lnTo>
                      <a:pt x="564" y="701"/>
                    </a:lnTo>
                    <a:lnTo>
                      <a:pt x="599" y="678"/>
                    </a:lnTo>
                    <a:lnTo>
                      <a:pt x="626" y="688"/>
                    </a:lnTo>
                    <a:lnTo>
                      <a:pt x="653" y="715"/>
                    </a:lnTo>
                    <a:lnTo>
                      <a:pt x="653" y="725"/>
                    </a:lnTo>
                    <a:lnTo>
                      <a:pt x="668" y="730"/>
                    </a:lnTo>
                    <a:lnTo>
                      <a:pt x="691" y="750"/>
                    </a:lnTo>
                    <a:lnTo>
                      <a:pt x="697" y="761"/>
                    </a:lnTo>
                    <a:lnTo>
                      <a:pt x="702" y="771"/>
                    </a:lnTo>
                    <a:lnTo>
                      <a:pt x="702" y="792"/>
                    </a:lnTo>
                    <a:lnTo>
                      <a:pt x="699" y="796"/>
                    </a:lnTo>
                    <a:lnTo>
                      <a:pt x="691" y="803"/>
                    </a:lnTo>
                    <a:lnTo>
                      <a:pt x="697" y="813"/>
                    </a:lnTo>
                    <a:lnTo>
                      <a:pt x="676" y="824"/>
                    </a:lnTo>
                    <a:lnTo>
                      <a:pt x="666" y="826"/>
                    </a:lnTo>
                    <a:lnTo>
                      <a:pt x="658" y="826"/>
                    </a:lnTo>
                    <a:lnTo>
                      <a:pt x="645" y="824"/>
                    </a:lnTo>
                    <a:lnTo>
                      <a:pt x="631" y="823"/>
                    </a:lnTo>
                    <a:lnTo>
                      <a:pt x="608" y="819"/>
                    </a:lnTo>
                    <a:lnTo>
                      <a:pt x="578" y="819"/>
                    </a:lnTo>
                    <a:lnTo>
                      <a:pt x="535" y="832"/>
                    </a:lnTo>
                    <a:lnTo>
                      <a:pt x="530" y="836"/>
                    </a:lnTo>
                    <a:lnTo>
                      <a:pt x="526" y="840"/>
                    </a:lnTo>
                    <a:lnTo>
                      <a:pt x="522" y="847"/>
                    </a:lnTo>
                    <a:lnTo>
                      <a:pt x="516" y="861"/>
                    </a:lnTo>
                    <a:lnTo>
                      <a:pt x="514" y="861"/>
                    </a:lnTo>
                    <a:lnTo>
                      <a:pt x="509" y="876"/>
                    </a:lnTo>
                    <a:lnTo>
                      <a:pt x="503" y="878"/>
                    </a:lnTo>
                    <a:lnTo>
                      <a:pt x="486" y="871"/>
                    </a:lnTo>
                    <a:lnTo>
                      <a:pt x="476" y="861"/>
                    </a:lnTo>
                    <a:lnTo>
                      <a:pt x="466" y="853"/>
                    </a:lnTo>
                    <a:lnTo>
                      <a:pt x="453" y="847"/>
                    </a:lnTo>
                    <a:lnTo>
                      <a:pt x="445" y="844"/>
                    </a:lnTo>
                    <a:lnTo>
                      <a:pt x="438" y="838"/>
                    </a:lnTo>
                    <a:lnTo>
                      <a:pt x="436" y="826"/>
                    </a:lnTo>
                    <a:lnTo>
                      <a:pt x="436" y="813"/>
                    </a:lnTo>
                    <a:lnTo>
                      <a:pt x="434" y="805"/>
                    </a:lnTo>
                    <a:lnTo>
                      <a:pt x="424" y="805"/>
                    </a:lnTo>
                    <a:lnTo>
                      <a:pt x="414" y="811"/>
                    </a:lnTo>
                    <a:lnTo>
                      <a:pt x="401" y="815"/>
                    </a:lnTo>
                    <a:lnTo>
                      <a:pt x="376" y="819"/>
                    </a:lnTo>
                    <a:lnTo>
                      <a:pt x="359" y="821"/>
                    </a:lnTo>
                    <a:lnTo>
                      <a:pt x="272" y="736"/>
                    </a:lnTo>
                    <a:lnTo>
                      <a:pt x="265" y="732"/>
                    </a:lnTo>
                    <a:lnTo>
                      <a:pt x="247" y="728"/>
                    </a:lnTo>
                    <a:lnTo>
                      <a:pt x="234" y="728"/>
                    </a:lnTo>
                    <a:lnTo>
                      <a:pt x="222" y="728"/>
                    </a:lnTo>
                    <a:lnTo>
                      <a:pt x="217" y="730"/>
                    </a:lnTo>
                    <a:lnTo>
                      <a:pt x="201" y="707"/>
                    </a:lnTo>
                    <a:lnTo>
                      <a:pt x="192" y="698"/>
                    </a:lnTo>
                    <a:lnTo>
                      <a:pt x="174" y="686"/>
                    </a:lnTo>
                    <a:lnTo>
                      <a:pt x="153" y="671"/>
                    </a:lnTo>
                    <a:lnTo>
                      <a:pt x="136" y="657"/>
                    </a:lnTo>
                    <a:lnTo>
                      <a:pt x="121" y="642"/>
                    </a:lnTo>
                    <a:lnTo>
                      <a:pt x="107" y="621"/>
                    </a:lnTo>
                    <a:lnTo>
                      <a:pt x="100" y="604"/>
                    </a:lnTo>
                    <a:lnTo>
                      <a:pt x="92" y="582"/>
                    </a:lnTo>
                    <a:lnTo>
                      <a:pt x="86" y="559"/>
                    </a:lnTo>
                    <a:lnTo>
                      <a:pt x="82" y="529"/>
                    </a:lnTo>
                    <a:lnTo>
                      <a:pt x="75" y="496"/>
                    </a:lnTo>
                    <a:lnTo>
                      <a:pt x="71" y="481"/>
                    </a:lnTo>
                    <a:lnTo>
                      <a:pt x="50" y="402"/>
                    </a:lnTo>
                    <a:lnTo>
                      <a:pt x="42" y="367"/>
                    </a:lnTo>
                    <a:lnTo>
                      <a:pt x="40" y="352"/>
                    </a:lnTo>
                    <a:lnTo>
                      <a:pt x="34" y="325"/>
                    </a:lnTo>
                    <a:lnTo>
                      <a:pt x="30" y="290"/>
                    </a:lnTo>
                    <a:lnTo>
                      <a:pt x="27" y="250"/>
                    </a:lnTo>
                    <a:lnTo>
                      <a:pt x="27" y="198"/>
                    </a:lnTo>
                    <a:lnTo>
                      <a:pt x="17" y="142"/>
                    </a:lnTo>
                    <a:lnTo>
                      <a:pt x="7" y="106"/>
                    </a:lnTo>
                    <a:lnTo>
                      <a:pt x="0" y="75"/>
                    </a:lnTo>
                    <a:lnTo>
                      <a:pt x="23" y="79"/>
                    </a:lnTo>
                    <a:lnTo>
                      <a:pt x="42" y="73"/>
                    </a:lnTo>
                    <a:lnTo>
                      <a:pt x="53" y="69"/>
                    </a:lnTo>
                    <a:lnTo>
                      <a:pt x="136" y="66"/>
                    </a:lnTo>
                    <a:lnTo>
                      <a:pt x="157" y="60"/>
                    </a:lnTo>
                    <a:lnTo>
                      <a:pt x="190" y="50"/>
                    </a:lnTo>
                    <a:lnTo>
                      <a:pt x="318" y="12"/>
                    </a:lnTo>
                    <a:lnTo>
                      <a:pt x="342" y="0"/>
                    </a:lnTo>
                    <a:lnTo>
                      <a:pt x="365" y="27"/>
                    </a:lnTo>
                    <a:lnTo>
                      <a:pt x="380" y="58"/>
                    </a:lnTo>
                    <a:lnTo>
                      <a:pt x="401" y="112"/>
                    </a:lnTo>
                    <a:lnTo>
                      <a:pt x="414" y="133"/>
                    </a:lnTo>
                    <a:lnTo>
                      <a:pt x="426" y="152"/>
                    </a:lnTo>
                    <a:lnTo>
                      <a:pt x="436" y="164"/>
                    </a:lnTo>
                    <a:lnTo>
                      <a:pt x="449" y="190"/>
                    </a:lnTo>
                    <a:lnTo>
                      <a:pt x="459" y="219"/>
                    </a:lnTo>
                    <a:lnTo>
                      <a:pt x="474" y="233"/>
                    </a:lnTo>
                    <a:lnTo>
                      <a:pt x="501" y="246"/>
                    </a:lnTo>
                    <a:lnTo>
                      <a:pt x="510" y="2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38">
                <a:extLst>
                  <a:ext uri="{FF2B5EF4-FFF2-40B4-BE49-F238E27FC236}">
                    <a16:creationId xmlns:a16="http://schemas.microsoft.com/office/drawing/2014/main" id="{0E8FEF0B-F1B4-AC3E-1782-8E9AAD1F2BD0}"/>
                  </a:ext>
                </a:extLst>
              </p:cNvPr>
              <p:cNvSpPr>
                <a:spLocks/>
              </p:cNvSpPr>
              <p:nvPr/>
            </p:nvSpPr>
            <p:spPr bwMode="gray">
              <a:xfrm>
                <a:off x="4685344" y="2777009"/>
                <a:ext cx="757877" cy="310143"/>
              </a:xfrm>
              <a:custGeom>
                <a:avLst/>
                <a:gdLst>
                  <a:gd name="T0" fmla="*/ 638 w 672"/>
                  <a:gd name="T1" fmla="*/ 167 h 275"/>
                  <a:gd name="T2" fmla="*/ 668 w 672"/>
                  <a:gd name="T3" fmla="*/ 202 h 275"/>
                  <a:gd name="T4" fmla="*/ 672 w 672"/>
                  <a:gd name="T5" fmla="*/ 204 h 275"/>
                  <a:gd name="T6" fmla="*/ 651 w 672"/>
                  <a:gd name="T7" fmla="*/ 231 h 275"/>
                  <a:gd name="T8" fmla="*/ 605 w 672"/>
                  <a:gd name="T9" fmla="*/ 260 h 275"/>
                  <a:gd name="T10" fmla="*/ 592 w 672"/>
                  <a:gd name="T11" fmla="*/ 275 h 275"/>
                  <a:gd name="T12" fmla="*/ 574 w 672"/>
                  <a:gd name="T13" fmla="*/ 248 h 275"/>
                  <a:gd name="T14" fmla="*/ 563 w 672"/>
                  <a:gd name="T15" fmla="*/ 240 h 275"/>
                  <a:gd name="T16" fmla="*/ 534 w 672"/>
                  <a:gd name="T17" fmla="*/ 233 h 275"/>
                  <a:gd name="T18" fmla="*/ 528 w 672"/>
                  <a:gd name="T19" fmla="*/ 233 h 275"/>
                  <a:gd name="T20" fmla="*/ 486 w 672"/>
                  <a:gd name="T21" fmla="*/ 240 h 275"/>
                  <a:gd name="T22" fmla="*/ 457 w 672"/>
                  <a:gd name="T23" fmla="*/ 240 h 275"/>
                  <a:gd name="T24" fmla="*/ 452 w 672"/>
                  <a:gd name="T25" fmla="*/ 238 h 275"/>
                  <a:gd name="T26" fmla="*/ 436 w 672"/>
                  <a:gd name="T27" fmla="*/ 231 h 275"/>
                  <a:gd name="T28" fmla="*/ 407 w 672"/>
                  <a:gd name="T29" fmla="*/ 231 h 275"/>
                  <a:gd name="T30" fmla="*/ 396 w 672"/>
                  <a:gd name="T31" fmla="*/ 231 h 275"/>
                  <a:gd name="T32" fmla="*/ 386 w 672"/>
                  <a:gd name="T33" fmla="*/ 223 h 275"/>
                  <a:gd name="T34" fmla="*/ 363 w 672"/>
                  <a:gd name="T35" fmla="*/ 206 h 275"/>
                  <a:gd name="T36" fmla="*/ 338 w 672"/>
                  <a:gd name="T37" fmla="*/ 185 h 275"/>
                  <a:gd name="T38" fmla="*/ 321 w 672"/>
                  <a:gd name="T39" fmla="*/ 169 h 275"/>
                  <a:gd name="T40" fmla="*/ 315 w 672"/>
                  <a:gd name="T41" fmla="*/ 167 h 275"/>
                  <a:gd name="T42" fmla="*/ 288 w 672"/>
                  <a:gd name="T43" fmla="*/ 148 h 275"/>
                  <a:gd name="T44" fmla="*/ 277 w 672"/>
                  <a:gd name="T45" fmla="*/ 141 h 275"/>
                  <a:gd name="T46" fmla="*/ 258 w 672"/>
                  <a:gd name="T47" fmla="*/ 137 h 275"/>
                  <a:gd name="T48" fmla="*/ 236 w 672"/>
                  <a:gd name="T49" fmla="*/ 137 h 275"/>
                  <a:gd name="T50" fmla="*/ 219 w 672"/>
                  <a:gd name="T51" fmla="*/ 146 h 275"/>
                  <a:gd name="T52" fmla="*/ 198 w 672"/>
                  <a:gd name="T53" fmla="*/ 154 h 275"/>
                  <a:gd name="T54" fmla="*/ 185 w 672"/>
                  <a:gd name="T55" fmla="*/ 148 h 275"/>
                  <a:gd name="T56" fmla="*/ 152 w 672"/>
                  <a:gd name="T57" fmla="*/ 142 h 275"/>
                  <a:gd name="T58" fmla="*/ 96 w 672"/>
                  <a:gd name="T59" fmla="*/ 125 h 275"/>
                  <a:gd name="T60" fmla="*/ 33 w 672"/>
                  <a:gd name="T61" fmla="*/ 108 h 275"/>
                  <a:gd name="T62" fmla="*/ 33 w 672"/>
                  <a:gd name="T63" fmla="*/ 85 h 275"/>
                  <a:gd name="T64" fmla="*/ 27 w 672"/>
                  <a:gd name="T65" fmla="*/ 68 h 275"/>
                  <a:gd name="T66" fmla="*/ 18 w 672"/>
                  <a:gd name="T67" fmla="*/ 54 h 275"/>
                  <a:gd name="T68" fmla="*/ 0 w 672"/>
                  <a:gd name="T69" fmla="*/ 37 h 275"/>
                  <a:gd name="T70" fmla="*/ 37 w 672"/>
                  <a:gd name="T71" fmla="*/ 10 h 275"/>
                  <a:gd name="T72" fmla="*/ 54 w 672"/>
                  <a:gd name="T73" fmla="*/ 6 h 275"/>
                  <a:gd name="T74" fmla="*/ 83 w 672"/>
                  <a:gd name="T75" fmla="*/ 4 h 275"/>
                  <a:gd name="T76" fmla="*/ 150 w 672"/>
                  <a:gd name="T77" fmla="*/ 2 h 275"/>
                  <a:gd name="T78" fmla="*/ 167 w 672"/>
                  <a:gd name="T79" fmla="*/ 2 h 275"/>
                  <a:gd name="T80" fmla="*/ 187 w 672"/>
                  <a:gd name="T81" fmla="*/ 2 h 275"/>
                  <a:gd name="T82" fmla="*/ 225 w 672"/>
                  <a:gd name="T83" fmla="*/ 2 h 275"/>
                  <a:gd name="T84" fmla="*/ 302 w 672"/>
                  <a:gd name="T85" fmla="*/ 0 h 275"/>
                  <a:gd name="T86" fmla="*/ 319 w 672"/>
                  <a:gd name="T87" fmla="*/ 0 h 275"/>
                  <a:gd name="T88" fmla="*/ 344 w 672"/>
                  <a:gd name="T89" fmla="*/ 4 h 275"/>
                  <a:gd name="T90" fmla="*/ 379 w 672"/>
                  <a:gd name="T91" fmla="*/ 6 h 275"/>
                  <a:gd name="T92" fmla="*/ 411 w 672"/>
                  <a:gd name="T93" fmla="*/ 12 h 275"/>
                  <a:gd name="T94" fmla="*/ 442 w 672"/>
                  <a:gd name="T95" fmla="*/ 18 h 275"/>
                  <a:gd name="T96" fmla="*/ 463 w 672"/>
                  <a:gd name="T97" fmla="*/ 21 h 275"/>
                  <a:gd name="T98" fmla="*/ 496 w 672"/>
                  <a:gd name="T99" fmla="*/ 33 h 275"/>
                  <a:gd name="T100" fmla="*/ 523 w 672"/>
                  <a:gd name="T101" fmla="*/ 48 h 275"/>
                  <a:gd name="T102" fmla="*/ 555 w 672"/>
                  <a:gd name="T103" fmla="*/ 73 h 275"/>
                  <a:gd name="T104" fmla="*/ 638 w 672"/>
                  <a:gd name="T105" fmla="*/ 16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2" h="275">
                    <a:moveTo>
                      <a:pt x="638" y="167"/>
                    </a:moveTo>
                    <a:lnTo>
                      <a:pt x="668" y="202"/>
                    </a:lnTo>
                    <a:lnTo>
                      <a:pt x="672" y="204"/>
                    </a:lnTo>
                    <a:lnTo>
                      <a:pt x="651" y="231"/>
                    </a:lnTo>
                    <a:lnTo>
                      <a:pt x="605" y="260"/>
                    </a:lnTo>
                    <a:lnTo>
                      <a:pt x="592" y="275"/>
                    </a:lnTo>
                    <a:lnTo>
                      <a:pt x="574" y="248"/>
                    </a:lnTo>
                    <a:lnTo>
                      <a:pt x="563" y="240"/>
                    </a:lnTo>
                    <a:lnTo>
                      <a:pt x="534" y="233"/>
                    </a:lnTo>
                    <a:lnTo>
                      <a:pt x="528" y="233"/>
                    </a:lnTo>
                    <a:lnTo>
                      <a:pt x="486" y="240"/>
                    </a:lnTo>
                    <a:lnTo>
                      <a:pt x="457" y="240"/>
                    </a:lnTo>
                    <a:lnTo>
                      <a:pt x="452" y="238"/>
                    </a:lnTo>
                    <a:lnTo>
                      <a:pt x="436" y="231"/>
                    </a:lnTo>
                    <a:lnTo>
                      <a:pt x="407" y="231"/>
                    </a:lnTo>
                    <a:lnTo>
                      <a:pt x="396" y="231"/>
                    </a:lnTo>
                    <a:lnTo>
                      <a:pt x="386" y="223"/>
                    </a:lnTo>
                    <a:lnTo>
                      <a:pt x="363" y="206"/>
                    </a:lnTo>
                    <a:lnTo>
                      <a:pt x="338" y="185"/>
                    </a:lnTo>
                    <a:lnTo>
                      <a:pt x="321" y="169"/>
                    </a:lnTo>
                    <a:lnTo>
                      <a:pt x="315" y="167"/>
                    </a:lnTo>
                    <a:lnTo>
                      <a:pt x="288" y="148"/>
                    </a:lnTo>
                    <a:lnTo>
                      <a:pt x="277" y="141"/>
                    </a:lnTo>
                    <a:lnTo>
                      <a:pt x="258" y="137"/>
                    </a:lnTo>
                    <a:lnTo>
                      <a:pt x="236" y="137"/>
                    </a:lnTo>
                    <a:lnTo>
                      <a:pt x="219" y="146"/>
                    </a:lnTo>
                    <a:lnTo>
                      <a:pt x="198" y="154"/>
                    </a:lnTo>
                    <a:lnTo>
                      <a:pt x="185" y="148"/>
                    </a:lnTo>
                    <a:lnTo>
                      <a:pt x="152" y="142"/>
                    </a:lnTo>
                    <a:lnTo>
                      <a:pt x="96" y="125"/>
                    </a:lnTo>
                    <a:lnTo>
                      <a:pt x="33" y="108"/>
                    </a:lnTo>
                    <a:lnTo>
                      <a:pt x="33" y="85"/>
                    </a:lnTo>
                    <a:lnTo>
                      <a:pt x="27" y="68"/>
                    </a:lnTo>
                    <a:lnTo>
                      <a:pt x="18" y="54"/>
                    </a:lnTo>
                    <a:lnTo>
                      <a:pt x="0" y="37"/>
                    </a:lnTo>
                    <a:lnTo>
                      <a:pt x="37" y="10"/>
                    </a:lnTo>
                    <a:lnTo>
                      <a:pt x="54" y="6"/>
                    </a:lnTo>
                    <a:lnTo>
                      <a:pt x="83" y="4"/>
                    </a:lnTo>
                    <a:lnTo>
                      <a:pt x="150" y="2"/>
                    </a:lnTo>
                    <a:lnTo>
                      <a:pt x="167" y="2"/>
                    </a:lnTo>
                    <a:lnTo>
                      <a:pt x="187" y="2"/>
                    </a:lnTo>
                    <a:lnTo>
                      <a:pt x="225" y="2"/>
                    </a:lnTo>
                    <a:lnTo>
                      <a:pt x="302" y="0"/>
                    </a:lnTo>
                    <a:lnTo>
                      <a:pt x="319" y="0"/>
                    </a:lnTo>
                    <a:lnTo>
                      <a:pt x="344" y="4"/>
                    </a:lnTo>
                    <a:lnTo>
                      <a:pt x="379" y="6"/>
                    </a:lnTo>
                    <a:lnTo>
                      <a:pt x="411" y="12"/>
                    </a:lnTo>
                    <a:lnTo>
                      <a:pt x="442" y="18"/>
                    </a:lnTo>
                    <a:lnTo>
                      <a:pt x="463" y="21"/>
                    </a:lnTo>
                    <a:lnTo>
                      <a:pt x="496" y="33"/>
                    </a:lnTo>
                    <a:lnTo>
                      <a:pt x="523" y="48"/>
                    </a:lnTo>
                    <a:lnTo>
                      <a:pt x="555" y="73"/>
                    </a:lnTo>
                    <a:lnTo>
                      <a:pt x="638" y="167"/>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39">
                <a:extLst>
                  <a:ext uri="{FF2B5EF4-FFF2-40B4-BE49-F238E27FC236}">
                    <a16:creationId xmlns:a16="http://schemas.microsoft.com/office/drawing/2014/main" id="{BA2D9DDC-15A5-80B9-E36A-D5730FEACE45}"/>
                  </a:ext>
                </a:extLst>
              </p:cNvPr>
              <p:cNvSpPr>
                <a:spLocks/>
              </p:cNvSpPr>
              <p:nvPr/>
            </p:nvSpPr>
            <p:spPr bwMode="gray">
              <a:xfrm>
                <a:off x="4709028" y="2898810"/>
                <a:ext cx="345105" cy="614648"/>
              </a:xfrm>
              <a:custGeom>
                <a:avLst/>
                <a:gdLst>
                  <a:gd name="T0" fmla="*/ 283 w 306"/>
                  <a:gd name="T1" fmla="*/ 542 h 545"/>
                  <a:gd name="T2" fmla="*/ 265 w 306"/>
                  <a:gd name="T3" fmla="*/ 532 h 545"/>
                  <a:gd name="T4" fmla="*/ 227 w 306"/>
                  <a:gd name="T5" fmla="*/ 511 h 545"/>
                  <a:gd name="T6" fmla="*/ 210 w 306"/>
                  <a:gd name="T7" fmla="*/ 507 h 545"/>
                  <a:gd name="T8" fmla="*/ 191 w 306"/>
                  <a:gd name="T9" fmla="*/ 515 h 545"/>
                  <a:gd name="T10" fmla="*/ 171 w 306"/>
                  <a:gd name="T11" fmla="*/ 515 h 545"/>
                  <a:gd name="T12" fmla="*/ 150 w 306"/>
                  <a:gd name="T13" fmla="*/ 517 h 545"/>
                  <a:gd name="T14" fmla="*/ 139 w 306"/>
                  <a:gd name="T15" fmla="*/ 522 h 545"/>
                  <a:gd name="T16" fmla="*/ 119 w 306"/>
                  <a:gd name="T17" fmla="*/ 517 h 545"/>
                  <a:gd name="T18" fmla="*/ 85 w 306"/>
                  <a:gd name="T19" fmla="*/ 505 h 545"/>
                  <a:gd name="T20" fmla="*/ 39 w 306"/>
                  <a:gd name="T21" fmla="*/ 519 h 545"/>
                  <a:gd name="T22" fmla="*/ 14 w 306"/>
                  <a:gd name="T23" fmla="*/ 447 h 545"/>
                  <a:gd name="T24" fmla="*/ 0 w 306"/>
                  <a:gd name="T25" fmla="*/ 405 h 545"/>
                  <a:gd name="T26" fmla="*/ 4 w 306"/>
                  <a:gd name="T27" fmla="*/ 367 h 545"/>
                  <a:gd name="T28" fmla="*/ 22 w 306"/>
                  <a:gd name="T29" fmla="*/ 317 h 545"/>
                  <a:gd name="T30" fmla="*/ 41 w 306"/>
                  <a:gd name="T31" fmla="*/ 236 h 545"/>
                  <a:gd name="T32" fmla="*/ 22 w 306"/>
                  <a:gd name="T33" fmla="*/ 180 h 545"/>
                  <a:gd name="T34" fmla="*/ 16 w 306"/>
                  <a:gd name="T35" fmla="*/ 157 h 545"/>
                  <a:gd name="T36" fmla="*/ 14 w 306"/>
                  <a:gd name="T37" fmla="*/ 130 h 545"/>
                  <a:gd name="T38" fmla="*/ 16 w 306"/>
                  <a:gd name="T39" fmla="*/ 73 h 545"/>
                  <a:gd name="T40" fmla="*/ 12 w 306"/>
                  <a:gd name="T41" fmla="*/ 9 h 545"/>
                  <a:gd name="T42" fmla="*/ 75 w 306"/>
                  <a:gd name="T43" fmla="*/ 17 h 545"/>
                  <a:gd name="T44" fmla="*/ 164 w 306"/>
                  <a:gd name="T45" fmla="*/ 40 h 545"/>
                  <a:gd name="T46" fmla="*/ 192 w 306"/>
                  <a:gd name="T47" fmla="*/ 56 h 545"/>
                  <a:gd name="T48" fmla="*/ 214 w 306"/>
                  <a:gd name="T49" fmla="*/ 79 h 545"/>
                  <a:gd name="T50" fmla="*/ 214 w 306"/>
                  <a:gd name="T51" fmla="*/ 88 h 545"/>
                  <a:gd name="T52" fmla="*/ 212 w 306"/>
                  <a:gd name="T53" fmla="*/ 132 h 545"/>
                  <a:gd name="T54" fmla="*/ 214 w 306"/>
                  <a:gd name="T55" fmla="*/ 152 h 545"/>
                  <a:gd name="T56" fmla="*/ 217 w 306"/>
                  <a:gd name="T57" fmla="*/ 194 h 545"/>
                  <a:gd name="T58" fmla="*/ 192 w 306"/>
                  <a:gd name="T59" fmla="*/ 275 h 545"/>
                  <a:gd name="T60" fmla="*/ 179 w 306"/>
                  <a:gd name="T61" fmla="*/ 301 h 545"/>
                  <a:gd name="T62" fmla="*/ 179 w 306"/>
                  <a:gd name="T63" fmla="*/ 321 h 545"/>
                  <a:gd name="T64" fmla="*/ 187 w 306"/>
                  <a:gd name="T65" fmla="*/ 351 h 545"/>
                  <a:gd name="T66" fmla="*/ 223 w 306"/>
                  <a:gd name="T67" fmla="*/ 399 h 545"/>
                  <a:gd name="T68" fmla="*/ 221 w 306"/>
                  <a:gd name="T69" fmla="*/ 407 h 545"/>
                  <a:gd name="T70" fmla="*/ 215 w 306"/>
                  <a:gd name="T71" fmla="*/ 422 h 545"/>
                  <a:gd name="T72" fmla="*/ 240 w 306"/>
                  <a:gd name="T73" fmla="*/ 434 h 545"/>
                  <a:gd name="T74" fmla="*/ 252 w 306"/>
                  <a:gd name="T75" fmla="*/ 467 h 545"/>
                  <a:gd name="T76" fmla="*/ 269 w 306"/>
                  <a:gd name="T77" fmla="*/ 495 h 545"/>
                  <a:gd name="T78" fmla="*/ 290 w 306"/>
                  <a:gd name="T79" fmla="*/ 53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6" h="545">
                    <a:moveTo>
                      <a:pt x="306" y="545"/>
                    </a:moveTo>
                    <a:lnTo>
                      <a:pt x="283" y="542"/>
                    </a:lnTo>
                    <a:lnTo>
                      <a:pt x="267" y="534"/>
                    </a:lnTo>
                    <a:lnTo>
                      <a:pt x="265" y="532"/>
                    </a:lnTo>
                    <a:lnTo>
                      <a:pt x="248" y="522"/>
                    </a:lnTo>
                    <a:lnTo>
                      <a:pt x="227" y="511"/>
                    </a:lnTo>
                    <a:lnTo>
                      <a:pt x="219" y="507"/>
                    </a:lnTo>
                    <a:lnTo>
                      <a:pt x="210" y="507"/>
                    </a:lnTo>
                    <a:lnTo>
                      <a:pt x="202" y="509"/>
                    </a:lnTo>
                    <a:lnTo>
                      <a:pt x="191" y="515"/>
                    </a:lnTo>
                    <a:lnTo>
                      <a:pt x="181" y="517"/>
                    </a:lnTo>
                    <a:lnTo>
                      <a:pt x="171" y="515"/>
                    </a:lnTo>
                    <a:lnTo>
                      <a:pt x="158" y="515"/>
                    </a:lnTo>
                    <a:lnTo>
                      <a:pt x="150" y="517"/>
                    </a:lnTo>
                    <a:lnTo>
                      <a:pt x="144" y="520"/>
                    </a:lnTo>
                    <a:lnTo>
                      <a:pt x="139" y="522"/>
                    </a:lnTo>
                    <a:lnTo>
                      <a:pt x="133" y="522"/>
                    </a:lnTo>
                    <a:lnTo>
                      <a:pt x="119" y="517"/>
                    </a:lnTo>
                    <a:lnTo>
                      <a:pt x="93" y="507"/>
                    </a:lnTo>
                    <a:lnTo>
                      <a:pt x="85" y="505"/>
                    </a:lnTo>
                    <a:lnTo>
                      <a:pt x="60" y="513"/>
                    </a:lnTo>
                    <a:lnTo>
                      <a:pt x="39" y="519"/>
                    </a:lnTo>
                    <a:lnTo>
                      <a:pt x="31" y="495"/>
                    </a:lnTo>
                    <a:lnTo>
                      <a:pt x="14" y="447"/>
                    </a:lnTo>
                    <a:lnTo>
                      <a:pt x="8" y="432"/>
                    </a:lnTo>
                    <a:lnTo>
                      <a:pt x="0" y="405"/>
                    </a:lnTo>
                    <a:lnTo>
                      <a:pt x="0" y="386"/>
                    </a:lnTo>
                    <a:lnTo>
                      <a:pt x="4" y="367"/>
                    </a:lnTo>
                    <a:lnTo>
                      <a:pt x="10" y="351"/>
                    </a:lnTo>
                    <a:lnTo>
                      <a:pt x="22" y="317"/>
                    </a:lnTo>
                    <a:lnTo>
                      <a:pt x="43" y="253"/>
                    </a:lnTo>
                    <a:lnTo>
                      <a:pt x="41" y="236"/>
                    </a:lnTo>
                    <a:lnTo>
                      <a:pt x="39" y="228"/>
                    </a:lnTo>
                    <a:lnTo>
                      <a:pt x="22" y="180"/>
                    </a:lnTo>
                    <a:lnTo>
                      <a:pt x="16" y="167"/>
                    </a:lnTo>
                    <a:lnTo>
                      <a:pt x="16" y="157"/>
                    </a:lnTo>
                    <a:lnTo>
                      <a:pt x="16" y="148"/>
                    </a:lnTo>
                    <a:lnTo>
                      <a:pt x="14" y="130"/>
                    </a:lnTo>
                    <a:lnTo>
                      <a:pt x="16" y="98"/>
                    </a:lnTo>
                    <a:lnTo>
                      <a:pt x="16" y="73"/>
                    </a:lnTo>
                    <a:lnTo>
                      <a:pt x="14" y="36"/>
                    </a:lnTo>
                    <a:lnTo>
                      <a:pt x="12" y="9"/>
                    </a:lnTo>
                    <a:lnTo>
                      <a:pt x="12" y="0"/>
                    </a:lnTo>
                    <a:lnTo>
                      <a:pt x="75" y="17"/>
                    </a:lnTo>
                    <a:lnTo>
                      <a:pt x="131" y="34"/>
                    </a:lnTo>
                    <a:lnTo>
                      <a:pt x="164" y="40"/>
                    </a:lnTo>
                    <a:lnTo>
                      <a:pt x="177" y="46"/>
                    </a:lnTo>
                    <a:lnTo>
                      <a:pt x="192" y="56"/>
                    </a:lnTo>
                    <a:lnTo>
                      <a:pt x="204" y="67"/>
                    </a:lnTo>
                    <a:lnTo>
                      <a:pt x="214" y="79"/>
                    </a:lnTo>
                    <a:lnTo>
                      <a:pt x="214" y="81"/>
                    </a:lnTo>
                    <a:lnTo>
                      <a:pt x="214" y="88"/>
                    </a:lnTo>
                    <a:lnTo>
                      <a:pt x="212" y="117"/>
                    </a:lnTo>
                    <a:lnTo>
                      <a:pt x="212" y="132"/>
                    </a:lnTo>
                    <a:lnTo>
                      <a:pt x="212" y="134"/>
                    </a:lnTo>
                    <a:lnTo>
                      <a:pt x="214" y="152"/>
                    </a:lnTo>
                    <a:lnTo>
                      <a:pt x="215" y="190"/>
                    </a:lnTo>
                    <a:lnTo>
                      <a:pt x="217" y="194"/>
                    </a:lnTo>
                    <a:lnTo>
                      <a:pt x="208" y="232"/>
                    </a:lnTo>
                    <a:lnTo>
                      <a:pt x="192" y="275"/>
                    </a:lnTo>
                    <a:lnTo>
                      <a:pt x="185" y="292"/>
                    </a:lnTo>
                    <a:lnTo>
                      <a:pt x="179" y="301"/>
                    </a:lnTo>
                    <a:lnTo>
                      <a:pt x="177" y="311"/>
                    </a:lnTo>
                    <a:lnTo>
                      <a:pt x="179" y="321"/>
                    </a:lnTo>
                    <a:lnTo>
                      <a:pt x="181" y="325"/>
                    </a:lnTo>
                    <a:lnTo>
                      <a:pt x="187" y="351"/>
                    </a:lnTo>
                    <a:lnTo>
                      <a:pt x="217" y="394"/>
                    </a:lnTo>
                    <a:lnTo>
                      <a:pt x="223" y="399"/>
                    </a:lnTo>
                    <a:lnTo>
                      <a:pt x="227" y="403"/>
                    </a:lnTo>
                    <a:lnTo>
                      <a:pt x="221" y="407"/>
                    </a:lnTo>
                    <a:lnTo>
                      <a:pt x="210" y="417"/>
                    </a:lnTo>
                    <a:lnTo>
                      <a:pt x="215" y="422"/>
                    </a:lnTo>
                    <a:lnTo>
                      <a:pt x="231" y="426"/>
                    </a:lnTo>
                    <a:lnTo>
                      <a:pt x="240" y="434"/>
                    </a:lnTo>
                    <a:lnTo>
                      <a:pt x="250" y="455"/>
                    </a:lnTo>
                    <a:lnTo>
                      <a:pt x="252" y="467"/>
                    </a:lnTo>
                    <a:lnTo>
                      <a:pt x="254" y="478"/>
                    </a:lnTo>
                    <a:lnTo>
                      <a:pt x="269" y="495"/>
                    </a:lnTo>
                    <a:lnTo>
                      <a:pt x="279" y="517"/>
                    </a:lnTo>
                    <a:lnTo>
                      <a:pt x="290" y="530"/>
                    </a:lnTo>
                    <a:lnTo>
                      <a:pt x="306" y="54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40">
                <a:extLst>
                  <a:ext uri="{FF2B5EF4-FFF2-40B4-BE49-F238E27FC236}">
                    <a16:creationId xmlns:a16="http://schemas.microsoft.com/office/drawing/2014/main" id="{8FC38585-01D0-B2AF-993E-ECB83D32A8D8}"/>
                  </a:ext>
                </a:extLst>
              </p:cNvPr>
              <p:cNvSpPr>
                <a:spLocks/>
              </p:cNvSpPr>
              <p:nvPr/>
            </p:nvSpPr>
            <p:spPr bwMode="gray">
              <a:xfrm>
                <a:off x="4226332" y="3183014"/>
                <a:ext cx="526680" cy="318038"/>
              </a:xfrm>
              <a:custGeom>
                <a:avLst/>
                <a:gdLst>
                  <a:gd name="T0" fmla="*/ 428 w 467"/>
                  <a:gd name="T1" fmla="*/ 153 h 282"/>
                  <a:gd name="T2" fmla="*/ 442 w 467"/>
                  <a:gd name="T3" fmla="*/ 195 h 282"/>
                  <a:gd name="T4" fmla="*/ 467 w 467"/>
                  <a:gd name="T5" fmla="*/ 267 h 282"/>
                  <a:gd name="T6" fmla="*/ 415 w 467"/>
                  <a:gd name="T7" fmla="*/ 265 h 282"/>
                  <a:gd name="T8" fmla="*/ 371 w 467"/>
                  <a:gd name="T9" fmla="*/ 261 h 282"/>
                  <a:gd name="T10" fmla="*/ 342 w 467"/>
                  <a:gd name="T11" fmla="*/ 259 h 282"/>
                  <a:gd name="T12" fmla="*/ 315 w 467"/>
                  <a:gd name="T13" fmla="*/ 257 h 282"/>
                  <a:gd name="T14" fmla="*/ 288 w 467"/>
                  <a:gd name="T15" fmla="*/ 257 h 282"/>
                  <a:gd name="T16" fmla="*/ 267 w 467"/>
                  <a:gd name="T17" fmla="*/ 245 h 282"/>
                  <a:gd name="T18" fmla="*/ 248 w 467"/>
                  <a:gd name="T19" fmla="*/ 253 h 282"/>
                  <a:gd name="T20" fmla="*/ 229 w 467"/>
                  <a:gd name="T21" fmla="*/ 265 h 282"/>
                  <a:gd name="T22" fmla="*/ 206 w 467"/>
                  <a:gd name="T23" fmla="*/ 282 h 282"/>
                  <a:gd name="T24" fmla="*/ 208 w 467"/>
                  <a:gd name="T25" fmla="*/ 265 h 282"/>
                  <a:gd name="T26" fmla="*/ 211 w 467"/>
                  <a:gd name="T27" fmla="*/ 240 h 282"/>
                  <a:gd name="T28" fmla="*/ 200 w 467"/>
                  <a:gd name="T29" fmla="*/ 219 h 282"/>
                  <a:gd name="T30" fmla="*/ 162 w 467"/>
                  <a:gd name="T31" fmla="*/ 194 h 282"/>
                  <a:gd name="T32" fmla="*/ 135 w 467"/>
                  <a:gd name="T33" fmla="*/ 157 h 282"/>
                  <a:gd name="T34" fmla="*/ 73 w 467"/>
                  <a:gd name="T35" fmla="*/ 170 h 282"/>
                  <a:gd name="T36" fmla="*/ 39 w 467"/>
                  <a:gd name="T37" fmla="*/ 167 h 282"/>
                  <a:gd name="T38" fmla="*/ 10 w 467"/>
                  <a:gd name="T39" fmla="*/ 142 h 282"/>
                  <a:gd name="T40" fmla="*/ 0 w 467"/>
                  <a:gd name="T41" fmla="*/ 128 h 282"/>
                  <a:gd name="T42" fmla="*/ 4 w 467"/>
                  <a:gd name="T43" fmla="*/ 119 h 282"/>
                  <a:gd name="T44" fmla="*/ 12 w 467"/>
                  <a:gd name="T45" fmla="*/ 117 h 282"/>
                  <a:gd name="T46" fmla="*/ 21 w 467"/>
                  <a:gd name="T47" fmla="*/ 115 h 282"/>
                  <a:gd name="T48" fmla="*/ 29 w 467"/>
                  <a:gd name="T49" fmla="*/ 103 h 282"/>
                  <a:gd name="T50" fmla="*/ 37 w 467"/>
                  <a:gd name="T51" fmla="*/ 92 h 282"/>
                  <a:gd name="T52" fmla="*/ 43 w 467"/>
                  <a:gd name="T53" fmla="*/ 80 h 282"/>
                  <a:gd name="T54" fmla="*/ 48 w 467"/>
                  <a:gd name="T55" fmla="*/ 74 h 282"/>
                  <a:gd name="T56" fmla="*/ 58 w 467"/>
                  <a:gd name="T57" fmla="*/ 74 h 282"/>
                  <a:gd name="T58" fmla="*/ 71 w 467"/>
                  <a:gd name="T59" fmla="*/ 76 h 282"/>
                  <a:gd name="T60" fmla="*/ 91 w 467"/>
                  <a:gd name="T61" fmla="*/ 71 h 282"/>
                  <a:gd name="T62" fmla="*/ 108 w 467"/>
                  <a:gd name="T63" fmla="*/ 48 h 282"/>
                  <a:gd name="T64" fmla="*/ 115 w 467"/>
                  <a:gd name="T65" fmla="*/ 28 h 282"/>
                  <a:gd name="T66" fmla="*/ 121 w 467"/>
                  <a:gd name="T67" fmla="*/ 7 h 282"/>
                  <a:gd name="T68" fmla="*/ 148 w 467"/>
                  <a:gd name="T69" fmla="*/ 1 h 282"/>
                  <a:gd name="T70" fmla="*/ 181 w 467"/>
                  <a:gd name="T71" fmla="*/ 7 h 282"/>
                  <a:gd name="T72" fmla="*/ 211 w 467"/>
                  <a:gd name="T73" fmla="*/ 19 h 282"/>
                  <a:gd name="T74" fmla="*/ 238 w 467"/>
                  <a:gd name="T75" fmla="*/ 28 h 282"/>
                  <a:gd name="T76" fmla="*/ 258 w 467"/>
                  <a:gd name="T77" fmla="*/ 36 h 282"/>
                  <a:gd name="T78" fmla="*/ 279 w 467"/>
                  <a:gd name="T79" fmla="*/ 38 h 282"/>
                  <a:gd name="T80" fmla="*/ 306 w 467"/>
                  <a:gd name="T81" fmla="*/ 40 h 282"/>
                  <a:gd name="T82" fmla="*/ 329 w 467"/>
                  <a:gd name="T83" fmla="*/ 46 h 282"/>
                  <a:gd name="T84" fmla="*/ 348 w 467"/>
                  <a:gd name="T85" fmla="*/ 55 h 282"/>
                  <a:gd name="T86" fmla="*/ 379 w 467"/>
                  <a:gd name="T87" fmla="*/ 86 h 282"/>
                  <a:gd name="T88" fmla="*/ 400 w 467"/>
                  <a:gd name="T89" fmla="*/ 113 h 282"/>
                  <a:gd name="T90" fmla="*/ 415 w 467"/>
                  <a:gd name="T91" fmla="*/ 128 h 282"/>
                  <a:gd name="T92" fmla="*/ 428 w 467"/>
                  <a:gd name="T93" fmla="*/ 13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282">
                    <a:moveTo>
                      <a:pt x="428" y="134"/>
                    </a:moveTo>
                    <a:lnTo>
                      <a:pt x="428" y="153"/>
                    </a:lnTo>
                    <a:lnTo>
                      <a:pt x="436" y="180"/>
                    </a:lnTo>
                    <a:lnTo>
                      <a:pt x="442" y="195"/>
                    </a:lnTo>
                    <a:lnTo>
                      <a:pt x="459" y="243"/>
                    </a:lnTo>
                    <a:lnTo>
                      <a:pt x="467" y="267"/>
                    </a:lnTo>
                    <a:lnTo>
                      <a:pt x="434" y="265"/>
                    </a:lnTo>
                    <a:lnTo>
                      <a:pt x="415" y="265"/>
                    </a:lnTo>
                    <a:lnTo>
                      <a:pt x="394" y="265"/>
                    </a:lnTo>
                    <a:lnTo>
                      <a:pt x="371" y="261"/>
                    </a:lnTo>
                    <a:lnTo>
                      <a:pt x="363" y="259"/>
                    </a:lnTo>
                    <a:lnTo>
                      <a:pt x="342" y="259"/>
                    </a:lnTo>
                    <a:lnTo>
                      <a:pt x="319" y="257"/>
                    </a:lnTo>
                    <a:lnTo>
                      <a:pt x="315" y="257"/>
                    </a:lnTo>
                    <a:lnTo>
                      <a:pt x="294" y="261"/>
                    </a:lnTo>
                    <a:lnTo>
                      <a:pt x="288" y="257"/>
                    </a:lnTo>
                    <a:lnTo>
                      <a:pt x="277" y="249"/>
                    </a:lnTo>
                    <a:lnTo>
                      <a:pt x="267" y="245"/>
                    </a:lnTo>
                    <a:lnTo>
                      <a:pt x="259" y="247"/>
                    </a:lnTo>
                    <a:lnTo>
                      <a:pt x="248" y="253"/>
                    </a:lnTo>
                    <a:lnTo>
                      <a:pt x="236" y="263"/>
                    </a:lnTo>
                    <a:lnTo>
                      <a:pt x="229" y="265"/>
                    </a:lnTo>
                    <a:lnTo>
                      <a:pt x="223" y="270"/>
                    </a:lnTo>
                    <a:lnTo>
                      <a:pt x="206" y="282"/>
                    </a:lnTo>
                    <a:lnTo>
                      <a:pt x="200" y="272"/>
                    </a:lnTo>
                    <a:lnTo>
                      <a:pt x="208" y="265"/>
                    </a:lnTo>
                    <a:lnTo>
                      <a:pt x="211" y="261"/>
                    </a:lnTo>
                    <a:lnTo>
                      <a:pt x="211" y="240"/>
                    </a:lnTo>
                    <a:lnTo>
                      <a:pt x="206" y="230"/>
                    </a:lnTo>
                    <a:lnTo>
                      <a:pt x="200" y="219"/>
                    </a:lnTo>
                    <a:lnTo>
                      <a:pt x="177" y="199"/>
                    </a:lnTo>
                    <a:lnTo>
                      <a:pt x="162" y="194"/>
                    </a:lnTo>
                    <a:lnTo>
                      <a:pt x="162" y="184"/>
                    </a:lnTo>
                    <a:lnTo>
                      <a:pt x="135" y="157"/>
                    </a:lnTo>
                    <a:lnTo>
                      <a:pt x="108" y="147"/>
                    </a:lnTo>
                    <a:lnTo>
                      <a:pt x="73" y="170"/>
                    </a:lnTo>
                    <a:lnTo>
                      <a:pt x="48" y="172"/>
                    </a:lnTo>
                    <a:lnTo>
                      <a:pt x="39" y="167"/>
                    </a:lnTo>
                    <a:lnTo>
                      <a:pt x="18" y="149"/>
                    </a:lnTo>
                    <a:lnTo>
                      <a:pt x="10" y="142"/>
                    </a:lnTo>
                    <a:lnTo>
                      <a:pt x="2" y="132"/>
                    </a:lnTo>
                    <a:lnTo>
                      <a:pt x="0" y="128"/>
                    </a:lnTo>
                    <a:lnTo>
                      <a:pt x="2" y="122"/>
                    </a:lnTo>
                    <a:lnTo>
                      <a:pt x="4" y="119"/>
                    </a:lnTo>
                    <a:lnTo>
                      <a:pt x="8" y="117"/>
                    </a:lnTo>
                    <a:lnTo>
                      <a:pt x="12" y="117"/>
                    </a:lnTo>
                    <a:lnTo>
                      <a:pt x="16" y="115"/>
                    </a:lnTo>
                    <a:lnTo>
                      <a:pt x="21" y="115"/>
                    </a:lnTo>
                    <a:lnTo>
                      <a:pt x="25" y="111"/>
                    </a:lnTo>
                    <a:lnTo>
                      <a:pt x="29" y="103"/>
                    </a:lnTo>
                    <a:lnTo>
                      <a:pt x="31" y="97"/>
                    </a:lnTo>
                    <a:lnTo>
                      <a:pt x="37" y="92"/>
                    </a:lnTo>
                    <a:lnTo>
                      <a:pt x="41" y="86"/>
                    </a:lnTo>
                    <a:lnTo>
                      <a:pt x="43" y="80"/>
                    </a:lnTo>
                    <a:lnTo>
                      <a:pt x="44" y="78"/>
                    </a:lnTo>
                    <a:lnTo>
                      <a:pt x="48" y="74"/>
                    </a:lnTo>
                    <a:lnTo>
                      <a:pt x="50" y="74"/>
                    </a:lnTo>
                    <a:lnTo>
                      <a:pt x="58" y="74"/>
                    </a:lnTo>
                    <a:lnTo>
                      <a:pt x="64" y="74"/>
                    </a:lnTo>
                    <a:lnTo>
                      <a:pt x="71" y="76"/>
                    </a:lnTo>
                    <a:lnTo>
                      <a:pt x="77" y="76"/>
                    </a:lnTo>
                    <a:lnTo>
                      <a:pt x="91" y="71"/>
                    </a:lnTo>
                    <a:lnTo>
                      <a:pt x="100" y="61"/>
                    </a:lnTo>
                    <a:lnTo>
                      <a:pt x="108" y="48"/>
                    </a:lnTo>
                    <a:lnTo>
                      <a:pt x="114" y="36"/>
                    </a:lnTo>
                    <a:lnTo>
                      <a:pt x="115" y="28"/>
                    </a:lnTo>
                    <a:lnTo>
                      <a:pt x="115" y="21"/>
                    </a:lnTo>
                    <a:lnTo>
                      <a:pt x="121" y="7"/>
                    </a:lnTo>
                    <a:lnTo>
                      <a:pt x="121" y="0"/>
                    </a:lnTo>
                    <a:lnTo>
                      <a:pt x="148" y="1"/>
                    </a:lnTo>
                    <a:lnTo>
                      <a:pt x="165" y="3"/>
                    </a:lnTo>
                    <a:lnTo>
                      <a:pt x="181" y="7"/>
                    </a:lnTo>
                    <a:lnTo>
                      <a:pt x="200" y="15"/>
                    </a:lnTo>
                    <a:lnTo>
                      <a:pt x="211" y="19"/>
                    </a:lnTo>
                    <a:lnTo>
                      <a:pt x="213" y="19"/>
                    </a:lnTo>
                    <a:lnTo>
                      <a:pt x="238" y="28"/>
                    </a:lnTo>
                    <a:lnTo>
                      <a:pt x="244" y="30"/>
                    </a:lnTo>
                    <a:lnTo>
                      <a:pt x="258" y="36"/>
                    </a:lnTo>
                    <a:lnTo>
                      <a:pt x="271" y="38"/>
                    </a:lnTo>
                    <a:lnTo>
                      <a:pt x="279" y="38"/>
                    </a:lnTo>
                    <a:lnTo>
                      <a:pt x="292" y="40"/>
                    </a:lnTo>
                    <a:lnTo>
                      <a:pt x="306" y="40"/>
                    </a:lnTo>
                    <a:lnTo>
                      <a:pt x="311" y="42"/>
                    </a:lnTo>
                    <a:lnTo>
                      <a:pt x="329" y="46"/>
                    </a:lnTo>
                    <a:lnTo>
                      <a:pt x="340" y="53"/>
                    </a:lnTo>
                    <a:lnTo>
                      <a:pt x="348" y="55"/>
                    </a:lnTo>
                    <a:lnTo>
                      <a:pt x="369" y="73"/>
                    </a:lnTo>
                    <a:lnTo>
                      <a:pt x="379" y="86"/>
                    </a:lnTo>
                    <a:lnTo>
                      <a:pt x="390" y="101"/>
                    </a:lnTo>
                    <a:lnTo>
                      <a:pt x="400" y="113"/>
                    </a:lnTo>
                    <a:lnTo>
                      <a:pt x="403" y="119"/>
                    </a:lnTo>
                    <a:lnTo>
                      <a:pt x="415" y="128"/>
                    </a:lnTo>
                    <a:lnTo>
                      <a:pt x="423" y="132"/>
                    </a:lnTo>
                    <a:lnTo>
                      <a:pt x="428" y="1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41">
                <a:extLst>
                  <a:ext uri="{FF2B5EF4-FFF2-40B4-BE49-F238E27FC236}">
                    <a16:creationId xmlns:a16="http://schemas.microsoft.com/office/drawing/2014/main" id="{391C9F9D-D56A-5A1D-E7AB-D66CD666B755}"/>
                  </a:ext>
                </a:extLst>
              </p:cNvPr>
              <p:cNvSpPr>
                <a:spLocks/>
              </p:cNvSpPr>
              <p:nvPr/>
            </p:nvSpPr>
            <p:spPr bwMode="gray">
              <a:xfrm>
                <a:off x="4183476" y="3501052"/>
                <a:ext cx="590964" cy="376683"/>
              </a:xfrm>
              <a:custGeom>
                <a:avLst/>
                <a:gdLst>
                  <a:gd name="T0" fmla="*/ 524 w 524"/>
                  <a:gd name="T1" fmla="*/ 144 h 334"/>
                  <a:gd name="T2" fmla="*/ 443 w 524"/>
                  <a:gd name="T3" fmla="*/ 232 h 334"/>
                  <a:gd name="T4" fmla="*/ 422 w 524"/>
                  <a:gd name="T5" fmla="*/ 242 h 334"/>
                  <a:gd name="T6" fmla="*/ 405 w 524"/>
                  <a:gd name="T7" fmla="*/ 250 h 334"/>
                  <a:gd name="T8" fmla="*/ 370 w 524"/>
                  <a:gd name="T9" fmla="*/ 267 h 334"/>
                  <a:gd name="T10" fmla="*/ 344 w 524"/>
                  <a:gd name="T11" fmla="*/ 300 h 334"/>
                  <a:gd name="T12" fmla="*/ 330 w 524"/>
                  <a:gd name="T13" fmla="*/ 334 h 334"/>
                  <a:gd name="T14" fmla="*/ 278 w 524"/>
                  <a:gd name="T15" fmla="*/ 309 h 334"/>
                  <a:gd name="T16" fmla="*/ 232 w 524"/>
                  <a:gd name="T17" fmla="*/ 259 h 334"/>
                  <a:gd name="T18" fmla="*/ 142 w 524"/>
                  <a:gd name="T19" fmla="*/ 229 h 334"/>
                  <a:gd name="T20" fmla="*/ 127 w 524"/>
                  <a:gd name="T21" fmla="*/ 225 h 334"/>
                  <a:gd name="T22" fmla="*/ 82 w 524"/>
                  <a:gd name="T23" fmla="*/ 211 h 334"/>
                  <a:gd name="T24" fmla="*/ 29 w 524"/>
                  <a:gd name="T25" fmla="*/ 202 h 334"/>
                  <a:gd name="T26" fmla="*/ 0 w 524"/>
                  <a:gd name="T27" fmla="*/ 198 h 334"/>
                  <a:gd name="T28" fmla="*/ 4 w 524"/>
                  <a:gd name="T29" fmla="*/ 179 h 334"/>
                  <a:gd name="T30" fmla="*/ 6 w 524"/>
                  <a:gd name="T31" fmla="*/ 169 h 334"/>
                  <a:gd name="T32" fmla="*/ 6 w 524"/>
                  <a:gd name="T33" fmla="*/ 156 h 334"/>
                  <a:gd name="T34" fmla="*/ 8 w 524"/>
                  <a:gd name="T35" fmla="*/ 144 h 334"/>
                  <a:gd name="T36" fmla="*/ 19 w 524"/>
                  <a:gd name="T37" fmla="*/ 123 h 334"/>
                  <a:gd name="T38" fmla="*/ 42 w 524"/>
                  <a:gd name="T39" fmla="*/ 88 h 334"/>
                  <a:gd name="T40" fmla="*/ 56 w 524"/>
                  <a:gd name="T41" fmla="*/ 63 h 334"/>
                  <a:gd name="T42" fmla="*/ 63 w 524"/>
                  <a:gd name="T43" fmla="*/ 48 h 334"/>
                  <a:gd name="T44" fmla="*/ 73 w 524"/>
                  <a:gd name="T45" fmla="*/ 27 h 334"/>
                  <a:gd name="T46" fmla="*/ 82 w 524"/>
                  <a:gd name="T47" fmla="*/ 19 h 334"/>
                  <a:gd name="T48" fmla="*/ 155 w 524"/>
                  <a:gd name="T49" fmla="*/ 6 h 334"/>
                  <a:gd name="T50" fmla="*/ 192 w 524"/>
                  <a:gd name="T51" fmla="*/ 11 h 334"/>
                  <a:gd name="T52" fmla="*/ 213 w 524"/>
                  <a:gd name="T53" fmla="*/ 13 h 334"/>
                  <a:gd name="T54" fmla="*/ 244 w 524"/>
                  <a:gd name="T55" fmla="*/ 0 h 334"/>
                  <a:gd name="T56" fmla="*/ 255 w 524"/>
                  <a:gd name="T57" fmla="*/ 15 h 334"/>
                  <a:gd name="T58" fmla="*/ 257 w 524"/>
                  <a:gd name="T59" fmla="*/ 40 h 334"/>
                  <a:gd name="T60" fmla="*/ 255 w 524"/>
                  <a:gd name="T61" fmla="*/ 56 h 334"/>
                  <a:gd name="T62" fmla="*/ 253 w 524"/>
                  <a:gd name="T63" fmla="*/ 73 h 334"/>
                  <a:gd name="T64" fmla="*/ 259 w 524"/>
                  <a:gd name="T65" fmla="*/ 81 h 334"/>
                  <a:gd name="T66" fmla="*/ 269 w 524"/>
                  <a:gd name="T67" fmla="*/ 98 h 334"/>
                  <a:gd name="T68" fmla="*/ 288 w 524"/>
                  <a:gd name="T69" fmla="*/ 140 h 334"/>
                  <a:gd name="T70" fmla="*/ 303 w 524"/>
                  <a:gd name="T71" fmla="*/ 132 h 334"/>
                  <a:gd name="T72" fmla="*/ 317 w 524"/>
                  <a:gd name="T73" fmla="*/ 131 h 334"/>
                  <a:gd name="T74" fmla="*/ 449 w 524"/>
                  <a:gd name="T75" fmla="*/ 134 h 334"/>
                  <a:gd name="T76" fmla="*/ 476 w 524"/>
                  <a:gd name="T77" fmla="*/ 132 h 334"/>
                  <a:gd name="T78" fmla="*/ 524 w 524"/>
                  <a:gd name="T79" fmla="*/ 11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4" h="334">
                    <a:moveTo>
                      <a:pt x="524" y="119"/>
                    </a:moveTo>
                    <a:lnTo>
                      <a:pt x="524" y="144"/>
                    </a:lnTo>
                    <a:lnTo>
                      <a:pt x="514" y="159"/>
                    </a:lnTo>
                    <a:lnTo>
                      <a:pt x="443" y="232"/>
                    </a:lnTo>
                    <a:lnTo>
                      <a:pt x="430" y="238"/>
                    </a:lnTo>
                    <a:lnTo>
                      <a:pt x="422" y="242"/>
                    </a:lnTo>
                    <a:lnTo>
                      <a:pt x="418" y="244"/>
                    </a:lnTo>
                    <a:lnTo>
                      <a:pt x="405" y="250"/>
                    </a:lnTo>
                    <a:lnTo>
                      <a:pt x="395" y="255"/>
                    </a:lnTo>
                    <a:lnTo>
                      <a:pt x="370" y="267"/>
                    </a:lnTo>
                    <a:lnTo>
                      <a:pt x="353" y="282"/>
                    </a:lnTo>
                    <a:lnTo>
                      <a:pt x="344" y="300"/>
                    </a:lnTo>
                    <a:lnTo>
                      <a:pt x="336" y="315"/>
                    </a:lnTo>
                    <a:lnTo>
                      <a:pt x="330" y="334"/>
                    </a:lnTo>
                    <a:lnTo>
                      <a:pt x="311" y="325"/>
                    </a:lnTo>
                    <a:lnTo>
                      <a:pt x="278" y="309"/>
                    </a:lnTo>
                    <a:lnTo>
                      <a:pt x="263" y="294"/>
                    </a:lnTo>
                    <a:lnTo>
                      <a:pt x="232" y="259"/>
                    </a:lnTo>
                    <a:lnTo>
                      <a:pt x="194" y="248"/>
                    </a:lnTo>
                    <a:lnTo>
                      <a:pt x="142" y="229"/>
                    </a:lnTo>
                    <a:lnTo>
                      <a:pt x="129" y="225"/>
                    </a:lnTo>
                    <a:lnTo>
                      <a:pt x="127" y="225"/>
                    </a:lnTo>
                    <a:lnTo>
                      <a:pt x="96" y="215"/>
                    </a:lnTo>
                    <a:lnTo>
                      <a:pt x="82" y="211"/>
                    </a:lnTo>
                    <a:lnTo>
                      <a:pt x="57" y="205"/>
                    </a:lnTo>
                    <a:lnTo>
                      <a:pt x="29" y="202"/>
                    </a:lnTo>
                    <a:lnTo>
                      <a:pt x="6" y="198"/>
                    </a:lnTo>
                    <a:lnTo>
                      <a:pt x="0" y="198"/>
                    </a:lnTo>
                    <a:lnTo>
                      <a:pt x="4" y="184"/>
                    </a:lnTo>
                    <a:lnTo>
                      <a:pt x="4" y="179"/>
                    </a:lnTo>
                    <a:lnTo>
                      <a:pt x="6" y="173"/>
                    </a:lnTo>
                    <a:lnTo>
                      <a:pt x="6" y="169"/>
                    </a:lnTo>
                    <a:lnTo>
                      <a:pt x="4" y="159"/>
                    </a:lnTo>
                    <a:lnTo>
                      <a:pt x="6" y="156"/>
                    </a:lnTo>
                    <a:lnTo>
                      <a:pt x="6" y="152"/>
                    </a:lnTo>
                    <a:lnTo>
                      <a:pt x="8" y="144"/>
                    </a:lnTo>
                    <a:lnTo>
                      <a:pt x="9" y="136"/>
                    </a:lnTo>
                    <a:lnTo>
                      <a:pt x="19" y="123"/>
                    </a:lnTo>
                    <a:lnTo>
                      <a:pt x="34" y="100"/>
                    </a:lnTo>
                    <a:lnTo>
                      <a:pt x="42" y="88"/>
                    </a:lnTo>
                    <a:lnTo>
                      <a:pt x="52" y="75"/>
                    </a:lnTo>
                    <a:lnTo>
                      <a:pt x="56" y="63"/>
                    </a:lnTo>
                    <a:lnTo>
                      <a:pt x="61" y="48"/>
                    </a:lnTo>
                    <a:lnTo>
                      <a:pt x="63" y="48"/>
                    </a:lnTo>
                    <a:lnTo>
                      <a:pt x="69" y="34"/>
                    </a:lnTo>
                    <a:lnTo>
                      <a:pt x="73" y="27"/>
                    </a:lnTo>
                    <a:lnTo>
                      <a:pt x="77" y="23"/>
                    </a:lnTo>
                    <a:lnTo>
                      <a:pt x="82" y="19"/>
                    </a:lnTo>
                    <a:lnTo>
                      <a:pt x="125" y="6"/>
                    </a:lnTo>
                    <a:lnTo>
                      <a:pt x="155" y="6"/>
                    </a:lnTo>
                    <a:lnTo>
                      <a:pt x="178" y="10"/>
                    </a:lnTo>
                    <a:lnTo>
                      <a:pt x="192" y="11"/>
                    </a:lnTo>
                    <a:lnTo>
                      <a:pt x="205" y="13"/>
                    </a:lnTo>
                    <a:lnTo>
                      <a:pt x="213" y="13"/>
                    </a:lnTo>
                    <a:lnTo>
                      <a:pt x="223" y="11"/>
                    </a:lnTo>
                    <a:lnTo>
                      <a:pt x="244" y="0"/>
                    </a:lnTo>
                    <a:lnTo>
                      <a:pt x="248" y="6"/>
                    </a:lnTo>
                    <a:lnTo>
                      <a:pt x="255" y="15"/>
                    </a:lnTo>
                    <a:lnTo>
                      <a:pt x="257" y="27"/>
                    </a:lnTo>
                    <a:lnTo>
                      <a:pt x="257" y="40"/>
                    </a:lnTo>
                    <a:lnTo>
                      <a:pt x="257" y="46"/>
                    </a:lnTo>
                    <a:lnTo>
                      <a:pt x="255" y="56"/>
                    </a:lnTo>
                    <a:lnTo>
                      <a:pt x="251" y="67"/>
                    </a:lnTo>
                    <a:lnTo>
                      <a:pt x="253" y="73"/>
                    </a:lnTo>
                    <a:lnTo>
                      <a:pt x="257" y="79"/>
                    </a:lnTo>
                    <a:lnTo>
                      <a:pt x="259" y="81"/>
                    </a:lnTo>
                    <a:lnTo>
                      <a:pt x="265" y="88"/>
                    </a:lnTo>
                    <a:lnTo>
                      <a:pt x="269" y="98"/>
                    </a:lnTo>
                    <a:lnTo>
                      <a:pt x="276" y="117"/>
                    </a:lnTo>
                    <a:lnTo>
                      <a:pt x="288" y="140"/>
                    </a:lnTo>
                    <a:lnTo>
                      <a:pt x="294" y="136"/>
                    </a:lnTo>
                    <a:lnTo>
                      <a:pt x="303" y="132"/>
                    </a:lnTo>
                    <a:lnTo>
                      <a:pt x="307" y="132"/>
                    </a:lnTo>
                    <a:lnTo>
                      <a:pt x="317" y="131"/>
                    </a:lnTo>
                    <a:lnTo>
                      <a:pt x="374" y="129"/>
                    </a:lnTo>
                    <a:lnTo>
                      <a:pt x="449" y="134"/>
                    </a:lnTo>
                    <a:lnTo>
                      <a:pt x="453" y="134"/>
                    </a:lnTo>
                    <a:lnTo>
                      <a:pt x="476" y="132"/>
                    </a:lnTo>
                    <a:lnTo>
                      <a:pt x="503" y="121"/>
                    </a:lnTo>
                    <a:lnTo>
                      <a:pt x="524" y="1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42">
                <a:extLst>
                  <a:ext uri="{FF2B5EF4-FFF2-40B4-BE49-F238E27FC236}">
                    <a16:creationId xmlns:a16="http://schemas.microsoft.com/office/drawing/2014/main" id="{ED47336A-4F74-F991-714C-8693DCA66F1D}"/>
                  </a:ext>
                </a:extLst>
              </p:cNvPr>
              <p:cNvSpPr>
                <a:spLocks/>
              </p:cNvSpPr>
              <p:nvPr/>
            </p:nvSpPr>
            <p:spPr bwMode="gray">
              <a:xfrm>
                <a:off x="4458658" y="3459323"/>
                <a:ext cx="642842" cy="210898"/>
              </a:xfrm>
              <a:custGeom>
                <a:avLst/>
                <a:gdLst>
                  <a:gd name="T0" fmla="*/ 282 w 570"/>
                  <a:gd name="T1" fmla="*/ 16 h 187"/>
                  <a:gd name="T2" fmla="*/ 315 w 570"/>
                  <a:gd name="T3" fmla="*/ 10 h 187"/>
                  <a:gd name="T4" fmla="*/ 355 w 570"/>
                  <a:gd name="T5" fmla="*/ 25 h 187"/>
                  <a:gd name="T6" fmla="*/ 366 w 570"/>
                  <a:gd name="T7" fmla="*/ 23 h 187"/>
                  <a:gd name="T8" fmla="*/ 380 w 570"/>
                  <a:gd name="T9" fmla="*/ 18 h 187"/>
                  <a:gd name="T10" fmla="*/ 403 w 570"/>
                  <a:gd name="T11" fmla="*/ 20 h 187"/>
                  <a:gd name="T12" fmla="*/ 424 w 570"/>
                  <a:gd name="T13" fmla="*/ 12 h 187"/>
                  <a:gd name="T14" fmla="*/ 441 w 570"/>
                  <a:gd name="T15" fmla="*/ 10 h 187"/>
                  <a:gd name="T16" fmla="*/ 470 w 570"/>
                  <a:gd name="T17" fmla="*/ 25 h 187"/>
                  <a:gd name="T18" fmla="*/ 489 w 570"/>
                  <a:gd name="T19" fmla="*/ 37 h 187"/>
                  <a:gd name="T20" fmla="*/ 528 w 570"/>
                  <a:gd name="T21" fmla="*/ 48 h 187"/>
                  <a:gd name="T22" fmla="*/ 562 w 570"/>
                  <a:gd name="T23" fmla="*/ 102 h 187"/>
                  <a:gd name="T24" fmla="*/ 570 w 570"/>
                  <a:gd name="T25" fmla="*/ 125 h 187"/>
                  <a:gd name="T26" fmla="*/ 476 w 570"/>
                  <a:gd name="T27" fmla="*/ 146 h 187"/>
                  <a:gd name="T28" fmla="*/ 447 w 570"/>
                  <a:gd name="T29" fmla="*/ 154 h 187"/>
                  <a:gd name="T30" fmla="*/ 409 w 570"/>
                  <a:gd name="T31" fmla="*/ 169 h 187"/>
                  <a:gd name="T32" fmla="*/ 365 w 570"/>
                  <a:gd name="T33" fmla="*/ 183 h 187"/>
                  <a:gd name="T34" fmla="*/ 343 w 570"/>
                  <a:gd name="T35" fmla="*/ 183 h 187"/>
                  <a:gd name="T36" fmla="*/ 330 w 570"/>
                  <a:gd name="T37" fmla="*/ 177 h 187"/>
                  <a:gd name="T38" fmla="*/ 295 w 570"/>
                  <a:gd name="T39" fmla="*/ 162 h 187"/>
                  <a:gd name="T40" fmla="*/ 280 w 570"/>
                  <a:gd name="T41" fmla="*/ 156 h 187"/>
                  <a:gd name="T42" fmla="*/ 232 w 570"/>
                  <a:gd name="T43" fmla="*/ 169 h 187"/>
                  <a:gd name="T44" fmla="*/ 205 w 570"/>
                  <a:gd name="T45" fmla="*/ 171 h 187"/>
                  <a:gd name="T46" fmla="*/ 73 w 570"/>
                  <a:gd name="T47" fmla="*/ 168 h 187"/>
                  <a:gd name="T48" fmla="*/ 59 w 570"/>
                  <a:gd name="T49" fmla="*/ 169 h 187"/>
                  <a:gd name="T50" fmla="*/ 44 w 570"/>
                  <a:gd name="T51" fmla="*/ 177 h 187"/>
                  <a:gd name="T52" fmla="*/ 25 w 570"/>
                  <a:gd name="T53" fmla="*/ 135 h 187"/>
                  <a:gd name="T54" fmla="*/ 15 w 570"/>
                  <a:gd name="T55" fmla="*/ 118 h 187"/>
                  <a:gd name="T56" fmla="*/ 9 w 570"/>
                  <a:gd name="T57" fmla="*/ 110 h 187"/>
                  <a:gd name="T58" fmla="*/ 11 w 570"/>
                  <a:gd name="T59" fmla="*/ 93 h 187"/>
                  <a:gd name="T60" fmla="*/ 13 w 570"/>
                  <a:gd name="T61" fmla="*/ 77 h 187"/>
                  <a:gd name="T62" fmla="*/ 11 w 570"/>
                  <a:gd name="T63" fmla="*/ 52 h 187"/>
                  <a:gd name="T64" fmla="*/ 0 w 570"/>
                  <a:gd name="T65" fmla="*/ 37 h 187"/>
                  <a:gd name="T66" fmla="*/ 23 w 570"/>
                  <a:gd name="T67" fmla="*/ 20 h 187"/>
                  <a:gd name="T68" fmla="*/ 42 w 570"/>
                  <a:gd name="T69" fmla="*/ 8 h 187"/>
                  <a:gd name="T70" fmla="*/ 61 w 570"/>
                  <a:gd name="T71" fmla="*/ 0 h 187"/>
                  <a:gd name="T72" fmla="*/ 82 w 570"/>
                  <a:gd name="T73" fmla="*/ 12 h 187"/>
                  <a:gd name="T74" fmla="*/ 109 w 570"/>
                  <a:gd name="T75" fmla="*/ 12 h 187"/>
                  <a:gd name="T76" fmla="*/ 136 w 570"/>
                  <a:gd name="T77" fmla="*/ 14 h 187"/>
                  <a:gd name="T78" fmla="*/ 165 w 570"/>
                  <a:gd name="T79" fmla="*/ 16 h 187"/>
                  <a:gd name="T80" fmla="*/ 209 w 570"/>
                  <a:gd name="T81" fmla="*/ 20 h 187"/>
                  <a:gd name="T82" fmla="*/ 261 w 570"/>
                  <a:gd name="T83" fmla="*/ 2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0" h="187">
                    <a:moveTo>
                      <a:pt x="261" y="22"/>
                    </a:moveTo>
                    <a:lnTo>
                      <a:pt x="282" y="16"/>
                    </a:lnTo>
                    <a:lnTo>
                      <a:pt x="307" y="8"/>
                    </a:lnTo>
                    <a:lnTo>
                      <a:pt x="315" y="10"/>
                    </a:lnTo>
                    <a:lnTo>
                      <a:pt x="341" y="20"/>
                    </a:lnTo>
                    <a:lnTo>
                      <a:pt x="355" y="25"/>
                    </a:lnTo>
                    <a:lnTo>
                      <a:pt x="361" y="25"/>
                    </a:lnTo>
                    <a:lnTo>
                      <a:pt x="366" y="23"/>
                    </a:lnTo>
                    <a:lnTo>
                      <a:pt x="372" y="20"/>
                    </a:lnTo>
                    <a:lnTo>
                      <a:pt x="380" y="18"/>
                    </a:lnTo>
                    <a:lnTo>
                      <a:pt x="393" y="18"/>
                    </a:lnTo>
                    <a:lnTo>
                      <a:pt x="403" y="20"/>
                    </a:lnTo>
                    <a:lnTo>
                      <a:pt x="413" y="18"/>
                    </a:lnTo>
                    <a:lnTo>
                      <a:pt x="424" y="12"/>
                    </a:lnTo>
                    <a:lnTo>
                      <a:pt x="432" y="10"/>
                    </a:lnTo>
                    <a:lnTo>
                      <a:pt x="441" y="10"/>
                    </a:lnTo>
                    <a:lnTo>
                      <a:pt x="449" y="14"/>
                    </a:lnTo>
                    <a:lnTo>
                      <a:pt x="470" y="25"/>
                    </a:lnTo>
                    <a:lnTo>
                      <a:pt x="487" y="35"/>
                    </a:lnTo>
                    <a:lnTo>
                      <a:pt x="489" y="37"/>
                    </a:lnTo>
                    <a:lnTo>
                      <a:pt x="505" y="45"/>
                    </a:lnTo>
                    <a:lnTo>
                      <a:pt x="528" y="48"/>
                    </a:lnTo>
                    <a:lnTo>
                      <a:pt x="549" y="73"/>
                    </a:lnTo>
                    <a:lnTo>
                      <a:pt x="562" y="102"/>
                    </a:lnTo>
                    <a:lnTo>
                      <a:pt x="566" y="112"/>
                    </a:lnTo>
                    <a:lnTo>
                      <a:pt x="570" y="125"/>
                    </a:lnTo>
                    <a:lnTo>
                      <a:pt x="568" y="125"/>
                    </a:lnTo>
                    <a:lnTo>
                      <a:pt x="476" y="146"/>
                    </a:lnTo>
                    <a:lnTo>
                      <a:pt x="461" y="150"/>
                    </a:lnTo>
                    <a:lnTo>
                      <a:pt x="447" y="154"/>
                    </a:lnTo>
                    <a:lnTo>
                      <a:pt x="434" y="158"/>
                    </a:lnTo>
                    <a:lnTo>
                      <a:pt x="409" y="169"/>
                    </a:lnTo>
                    <a:lnTo>
                      <a:pt x="384" y="177"/>
                    </a:lnTo>
                    <a:lnTo>
                      <a:pt x="365" y="183"/>
                    </a:lnTo>
                    <a:lnTo>
                      <a:pt x="351" y="187"/>
                    </a:lnTo>
                    <a:lnTo>
                      <a:pt x="343" y="183"/>
                    </a:lnTo>
                    <a:lnTo>
                      <a:pt x="338" y="181"/>
                    </a:lnTo>
                    <a:lnTo>
                      <a:pt x="330" y="177"/>
                    </a:lnTo>
                    <a:lnTo>
                      <a:pt x="313" y="169"/>
                    </a:lnTo>
                    <a:lnTo>
                      <a:pt x="295" y="162"/>
                    </a:lnTo>
                    <a:lnTo>
                      <a:pt x="290" y="160"/>
                    </a:lnTo>
                    <a:lnTo>
                      <a:pt x="280" y="156"/>
                    </a:lnTo>
                    <a:lnTo>
                      <a:pt x="259" y="158"/>
                    </a:lnTo>
                    <a:lnTo>
                      <a:pt x="232" y="169"/>
                    </a:lnTo>
                    <a:lnTo>
                      <a:pt x="209" y="171"/>
                    </a:lnTo>
                    <a:lnTo>
                      <a:pt x="205" y="171"/>
                    </a:lnTo>
                    <a:lnTo>
                      <a:pt x="130" y="166"/>
                    </a:lnTo>
                    <a:lnTo>
                      <a:pt x="73" y="168"/>
                    </a:lnTo>
                    <a:lnTo>
                      <a:pt x="63" y="169"/>
                    </a:lnTo>
                    <a:lnTo>
                      <a:pt x="59" y="169"/>
                    </a:lnTo>
                    <a:lnTo>
                      <a:pt x="50" y="173"/>
                    </a:lnTo>
                    <a:lnTo>
                      <a:pt x="44" y="177"/>
                    </a:lnTo>
                    <a:lnTo>
                      <a:pt x="32" y="154"/>
                    </a:lnTo>
                    <a:lnTo>
                      <a:pt x="25" y="135"/>
                    </a:lnTo>
                    <a:lnTo>
                      <a:pt x="21" y="125"/>
                    </a:lnTo>
                    <a:lnTo>
                      <a:pt x="15" y="118"/>
                    </a:lnTo>
                    <a:lnTo>
                      <a:pt x="13" y="116"/>
                    </a:lnTo>
                    <a:lnTo>
                      <a:pt x="9" y="110"/>
                    </a:lnTo>
                    <a:lnTo>
                      <a:pt x="7" y="104"/>
                    </a:lnTo>
                    <a:lnTo>
                      <a:pt x="11" y="93"/>
                    </a:lnTo>
                    <a:lnTo>
                      <a:pt x="13" y="83"/>
                    </a:lnTo>
                    <a:lnTo>
                      <a:pt x="13" y="77"/>
                    </a:lnTo>
                    <a:lnTo>
                      <a:pt x="13" y="64"/>
                    </a:lnTo>
                    <a:lnTo>
                      <a:pt x="11" y="52"/>
                    </a:lnTo>
                    <a:lnTo>
                      <a:pt x="4" y="43"/>
                    </a:lnTo>
                    <a:lnTo>
                      <a:pt x="0" y="37"/>
                    </a:lnTo>
                    <a:lnTo>
                      <a:pt x="17" y="25"/>
                    </a:lnTo>
                    <a:lnTo>
                      <a:pt x="23" y="20"/>
                    </a:lnTo>
                    <a:lnTo>
                      <a:pt x="30" y="18"/>
                    </a:lnTo>
                    <a:lnTo>
                      <a:pt x="42" y="8"/>
                    </a:lnTo>
                    <a:lnTo>
                      <a:pt x="53" y="2"/>
                    </a:lnTo>
                    <a:lnTo>
                      <a:pt x="61" y="0"/>
                    </a:lnTo>
                    <a:lnTo>
                      <a:pt x="71" y="4"/>
                    </a:lnTo>
                    <a:lnTo>
                      <a:pt x="82" y="12"/>
                    </a:lnTo>
                    <a:lnTo>
                      <a:pt x="88" y="16"/>
                    </a:lnTo>
                    <a:lnTo>
                      <a:pt x="109" y="12"/>
                    </a:lnTo>
                    <a:lnTo>
                      <a:pt x="113" y="12"/>
                    </a:lnTo>
                    <a:lnTo>
                      <a:pt x="136" y="14"/>
                    </a:lnTo>
                    <a:lnTo>
                      <a:pt x="157" y="14"/>
                    </a:lnTo>
                    <a:lnTo>
                      <a:pt x="165" y="16"/>
                    </a:lnTo>
                    <a:lnTo>
                      <a:pt x="188" y="20"/>
                    </a:lnTo>
                    <a:lnTo>
                      <a:pt x="209" y="20"/>
                    </a:lnTo>
                    <a:lnTo>
                      <a:pt x="228" y="20"/>
                    </a:lnTo>
                    <a:lnTo>
                      <a:pt x="261"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43">
                <a:extLst>
                  <a:ext uri="{FF2B5EF4-FFF2-40B4-BE49-F238E27FC236}">
                    <a16:creationId xmlns:a16="http://schemas.microsoft.com/office/drawing/2014/main" id="{B0C1A6FA-FAD7-6247-1EFA-C9141D375FD0}"/>
                  </a:ext>
                </a:extLst>
              </p:cNvPr>
              <p:cNvSpPr>
                <a:spLocks/>
              </p:cNvSpPr>
              <p:nvPr/>
            </p:nvSpPr>
            <p:spPr bwMode="gray">
              <a:xfrm>
                <a:off x="4854513" y="3546164"/>
                <a:ext cx="459012" cy="403750"/>
              </a:xfrm>
              <a:custGeom>
                <a:avLst/>
                <a:gdLst>
                  <a:gd name="T0" fmla="*/ 159 w 407"/>
                  <a:gd name="T1" fmla="*/ 358 h 358"/>
                  <a:gd name="T2" fmla="*/ 150 w 407"/>
                  <a:gd name="T3" fmla="*/ 348 h 358"/>
                  <a:gd name="T4" fmla="*/ 133 w 407"/>
                  <a:gd name="T5" fmla="*/ 336 h 358"/>
                  <a:gd name="T6" fmla="*/ 110 w 407"/>
                  <a:gd name="T7" fmla="*/ 327 h 358"/>
                  <a:gd name="T8" fmla="*/ 92 w 407"/>
                  <a:gd name="T9" fmla="*/ 321 h 358"/>
                  <a:gd name="T10" fmla="*/ 73 w 407"/>
                  <a:gd name="T11" fmla="*/ 315 h 358"/>
                  <a:gd name="T12" fmla="*/ 67 w 407"/>
                  <a:gd name="T13" fmla="*/ 286 h 358"/>
                  <a:gd name="T14" fmla="*/ 65 w 407"/>
                  <a:gd name="T15" fmla="*/ 267 h 358"/>
                  <a:gd name="T16" fmla="*/ 65 w 407"/>
                  <a:gd name="T17" fmla="*/ 263 h 358"/>
                  <a:gd name="T18" fmla="*/ 65 w 407"/>
                  <a:gd name="T19" fmla="*/ 237 h 358"/>
                  <a:gd name="T20" fmla="*/ 67 w 407"/>
                  <a:gd name="T21" fmla="*/ 213 h 358"/>
                  <a:gd name="T22" fmla="*/ 67 w 407"/>
                  <a:gd name="T23" fmla="*/ 200 h 358"/>
                  <a:gd name="T24" fmla="*/ 67 w 407"/>
                  <a:gd name="T25" fmla="*/ 198 h 358"/>
                  <a:gd name="T26" fmla="*/ 65 w 407"/>
                  <a:gd name="T27" fmla="*/ 185 h 358"/>
                  <a:gd name="T28" fmla="*/ 23 w 407"/>
                  <a:gd name="T29" fmla="*/ 129 h 358"/>
                  <a:gd name="T30" fmla="*/ 0 w 407"/>
                  <a:gd name="T31" fmla="*/ 110 h 358"/>
                  <a:gd name="T32" fmla="*/ 14 w 407"/>
                  <a:gd name="T33" fmla="*/ 106 h 358"/>
                  <a:gd name="T34" fmla="*/ 33 w 407"/>
                  <a:gd name="T35" fmla="*/ 100 h 358"/>
                  <a:gd name="T36" fmla="*/ 58 w 407"/>
                  <a:gd name="T37" fmla="*/ 92 h 358"/>
                  <a:gd name="T38" fmla="*/ 83 w 407"/>
                  <a:gd name="T39" fmla="*/ 81 h 358"/>
                  <a:gd name="T40" fmla="*/ 96 w 407"/>
                  <a:gd name="T41" fmla="*/ 77 h 358"/>
                  <a:gd name="T42" fmla="*/ 110 w 407"/>
                  <a:gd name="T43" fmla="*/ 73 h 358"/>
                  <a:gd name="T44" fmla="*/ 125 w 407"/>
                  <a:gd name="T45" fmla="*/ 69 h 358"/>
                  <a:gd name="T46" fmla="*/ 217 w 407"/>
                  <a:gd name="T47" fmla="*/ 48 h 358"/>
                  <a:gd name="T48" fmla="*/ 219 w 407"/>
                  <a:gd name="T49" fmla="*/ 48 h 358"/>
                  <a:gd name="T50" fmla="*/ 232 w 407"/>
                  <a:gd name="T51" fmla="*/ 43 h 358"/>
                  <a:gd name="T52" fmla="*/ 265 w 407"/>
                  <a:gd name="T53" fmla="*/ 23 h 358"/>
                  <a:gd name="T54" fmla="*/ 292 w 407"/>
                  <a:gd name="T55" fmla="*/ 0 h 358"/>
                  <a:gd name="T56" fmla="*/ 302 w 407"/>
                  <a:gd name="T57" fmla="*/ 8 h 358"/>
                  <a:gd name="T58" fmla="*/ 386 w 407"/>
                  <a:gd name="T59" fmla="*/ 91 h 358"/>
                  <a:gd name="T60" fmla="*/ 392 w 407"/>
                  <a:gd name="T61" fmla="*/ 98 h 358"/>
                  <a:gd name="T62" fmla="*/ 394 w 407"/>
                  <a:gd name="T63" fmla="*/ 106 h 358"/>
                  <a:gd name="T64" fmla="*/ 396 w 407"/>
                  <a:gd name="T65" fmla="*/ 116 h 358"/>
                  <a:gd name="T66" fmla="*/ 396 w 407"/>
                  <a:gd name="T67" fmla="*/ 127 h 358"/>
                  <a:gd name="T68" fmla="*/ 394 w 407"/>
                  <a:gd name="T69" fmla="*/ 148 h 358"/>
                  <a:gd name="T70" fmla="*/ 386 w 407"/>
                  <a:gd name="T71" fmla="*/ 204 h 358"/>
                  <a:gd name="T72" fmla="*/ 388 w 407"/>
                  <a:gd name="T73" fmla="*/ 219 h 358"/>
                  <a:gd name="T74" fmla="*/ 390 w 407"/>
                  <a:gd name="T75" fmla="*/ 221 h 358"/>
                  <a:gd name="T76" fmla="*/ 407 w 407"/>
                  <a:gd name="T77" fmla="*/ 263 h 358"/>
                  <a:gd name="T78" fmla="*/ 367 w 407"/>
                  <a:gd name="T79" fmla="*/ 296 h 358"/>
                  <a:gd name="T80" fmla="*/ 357 w 407"/>
                  <a:gd name="T81" fmla="*/ 302 h 358"/>
                  <a:gd name="T82" fmla="*/ 353 w 407"/>
                  <a:gd name="T83" fmla="*/ 306 h 358"/>
                  <a:gd name="T84" fmla="*/ 351 w 407"/>
                  <a:gd name="T85" fmla="*/ 306 h 358"/>
                  <a:gd name="T86" fmla="*/ 348 w 407"/>
                  <a:gd name="T87" fmla="*/ 306 h 358"/>
                  <a:gd name="T88" fmla="*/ 342 w 407"/>
                  <a:gd name="T89" fmla="*/ 306 h 358"/>
                  <a:gd name="T90" fmla="*/ 326 w 407"/>
                  <a:gd name="T91" fmla="*/ 306 h 358"/>
                  <a:gd name="T92" fmla="*/ 273 w 407"/>
                  <a:gd name="T93" fmla="*/ 306 h 358"/>
                  <a:gd name="T94" fmla="*/ 225 w 407"/>
                  <a:gd name="T95" fmla="*/ 315 h 358"/>
                  <a:gd name="T96" fmla="*/ 229 w 407"/>
                  <a:gd name="T97" fmla="*/ 335 h 358"/>
                  <a:gd name="T98" fmla="*/ 225 w 407"/>
                  <a:gd name="T99" fmla="*/ 338 h 358"/>
                  <a:gd name="T100" fmla="*/ 217 w 407"/>
                  <a:gd name="T101" fmla="*/ 340 h 358"/>
                  <a:gd name="T102" fmla="*/ 177 w 407"/>
                  <a:gd name="T103" fmla="*/ 348 h 358"/>
                  <a:gd name="T104" fmla="*/ 167 w 407"/>
                  <a:gd name="T105" fmla="*/ 350 h 358"/>
                  <a:gd name="T106" fmla="*/ 161 w 407"/>
                  <a:gd name="T107" fmla="*/ 356 h 358"/>
                  <a:gd name="T108" fmla="*/ 159 w 407"/>
                  <a:gd name="T10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7" h="358">
                    <a:moveTo>
                      <a:pt x="159" y="358"/>
                    </a:moveTo>
                    <a:lnTo>
                      <a:pt x="150" y="348"/>
                    </a:lnTo>
                    <a:lnTo>
                      <a:pt x="133" y="336"/>
                    </a:lnTo>
                    <a:lnTo>
                      <a:pt x="110" y="327"/>
                    </a:lnTo>
                    <a:lnTo>
                      <a:pt x="92" y="321"/>
                    </a:lnTo>
                    <a:lnTo>
                      <a:pt x="73" y="315"/>
                    </a:lnTo>
                    <a:lnTo>
                      <a:pt x="67" y="286"/>
                    </a:lnTo>
                    <a:lnTo>
                      <a:pt x="65" y="267"/>
                    </a:lnTo>
                    <a:lnTo>
                      <a:pt x="65" y="263"/>
                    </a:lnTo>
                    <a:lnTo>
                      <a:pt x="65" y="237"/>
                    </a:lnTo>
                    <a:lnTo>
                      <a:pt x="67" y="213"/>
                    </a:lnTo>
                    <a:lnTo>
                      <a:pt x="67" y="200"/>
                    </a:lnTo>
                    <a:lnTo>
                      <a:pt x="67" y="198"/>
                    </a:lnTo>
                    <a:lnTo>
                      <a:pt x="65" y="185"/>
                    </a:lnTo>
                    <a:lnTo>
                      <a:pt x="23" y="129"/>
                    </a:lnTo>
                    <a:lnTo>
                      <a:pt x="0" y="110"/>
                    </a:lnTo>
                    <a:lnTo>
                      <a:pt x="14" y="106"/>
                    </a:lnTo>
                    <a:lnTo>
                      <a:pt x="33" y="100"/>
                    </a:lnTo>
                    <a:lnTo>
                      <a:pt x="58" y="92"/>
                    </a:lnTo>
                    <a:lnTo>
                      <a:pt x="83" y="81"/>
                    </a:lnTo>
                    <a:lnTo>
                      <a:pt x="96" y="77"/>
                    </a:lnTo>
                    <a:lnTo>
                      <a:pt x="110" y="73"/>
                    </a:lnTo>
                    <a:lnTo>
                      <a:pt x="125" y="69"/>
                    </a:lnTo>
                    <a:lnTo>
                      <a:pt x="217" y="48"/>
                    </a:lnTo>
                    <a:lnTo>
                      <a:pt x="219" y="48"/>
                    </a:lnTo>
                    <a:lnTo>
                      <a:pt x="232" y="43"/>
                    </a:lnTo>
                    <a:lnTo>
                      <a:pt x="265" y="23"/>
                    </a:lnTo>
                    <a:lnTo>
                      <a:pt x="292" y="0"/>
                    </a:lnTo>
                    <a:lnTo>
                      <a:pt x="302" y="8"/>
                    </a:lnTo>
                    <a:lnTo>
                      <a:pt x="386" y="91"/>
                    </a:lnTo>
                    <a:lnTo>
                      <a:pt x="392" y="98"/>
                    </a:lnTo>
                    <a:lnTo>
                      <a:pt x="394" y="106"/>
                    </a:lnTo>
                    <a:lnTo>
                      <a:pt x="396" y="116"/>
                    </a:lnTo>
                    <a:lnTo>
                      <a:pt x="396" y="127"/>
                    </a:lnTo>
                    <a:lnTo>
                      <a:pt x="394" y="148"/>
                    </a:lnTo>
                    <a:lnTo>
                      <a:pt x="386" y="204"/>
                    </a:lnTo>
                    <a:lnTo>
                      <a:pt x="388" y="219"/>
                    </a:lnTo>
                    <a:lnTo>
                      <a:pt x="390" y="221"/>
                    </a:lnTo>
                    <a:lnTo>
                      <a:pt x="407" y="263"/>
                    </a:lnTo>
                    <a:lnTo>
                      <a:pt x="367" y="296"/>
                    </a:lnTo>
                    <a:lnTo>
                      <a:pt x="357" y="302"/>
                    </a:lnTo>
                    <a:lnTo>
                      <a:pt x="353" y="306"/>
                    </a:lnTo>
                    <a:lnTo>
                      <a:pt x="351" y="306"/>
                    </a:lnTo>
                    <a:lnTo>
                      <a:pt x="348" y="306"/>
                    </a:lnTo>
                    <a:lnTo>
                      <a:pt x="342" y="306"/>
                    </a:lnTo>
                    <a:lnTo>
                      <a:pt x="326" y="306"/>
                    </a:lnTo>
                    <a:lnTo>
                      <a:pt x="273" y="306"/>
                    </a:lnTo>
                    <a:lnTo>
                      <a:pt x="225" y="315"/>
                    </a:lnTo>
                    <a:lnTo>
                      <a:pt x="229" y="335"/>
                    </a:lnTo>
                    <a:lnTo>
                      <a:pt x="225" y="338"/>
                    </a:lnTo>
                    <a:lnTo>
                      <a:pt x="217" y="340"/>
                    </a:lnTo>
                    <a:lnTo>
                      <a:pt x="177" y="348"/>
                    </a:lnTo>
                    <a:lnTo>
                      <a:pt x="167" y="350"/>
                    </a:lnTo>
                    <a:lnTo>
                      <a:pt x="161" y="356"/>
                    </a:lnTo>
                    <a:lnTo>
                      <a:pt x="159" y="358"/>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44">
                <a:extLst>
                  <a:ext uri="{FF2B5EF4-FFF2-40B4-BE49-F238E27FC236}">
                    <a16:creationId xmlns:a16="http://schemas.microsoft.com/office/drawing/2014/main" id="{25AADB93-CB54-9631-568E-015F9D1CEF3E}"/>
                  </a:ext>
                </a:extLst>
              </p:cNvPr>
              <p:cNvSpPr>
                <a:spLocks/>
              </p:cNvSpPr>
              <p:nvPr/>
            </p:nvSpPr>
            <p:spPr bwMode="gray">
              <a:xfrm>
                <a:off x="5183829" y="3414212"/>
                <a:ext cx="823289" cy="567280"/>
              </a:xfrm>
              <a:custGeom>
                <a:avLst/>
                <a:gdLst>
                  <a:gd name="T0" fmla="*/ 722 w 730"/>
                  <a:gd name="T1" fmla="*/ 375 h 503"/>
                  <a:gd name="T2" fmla="*/ 701 w 730"/>
                  <a:gd name="T3" fmla="*/ 377 h 503"/>
                  <a:gd name="T4" fmla="*/ 632 w 730"/>
                  <a:gd name="T5" fmla="*/ 398 h 503"/>
                  <a:gd name="T6" fmla="*/ 609 w 730"/>
                  <a:gd name="T7" fmla="*/ 403 h 503"/>
                  <a:gd name="T8" fmla="*/ 587 w 730"/>
                  <a:gd name="T9" fmla="*/ 405 h 503"/>
                  <a:gd name="T10" fmla="*/ 561 w 730"/>
                  <a:gd name="T11" fmla="*/ 409 h 503"/>
                  <a:gd name="T12" fmla="*/ 422 w 730"/>
                  <a:gd name="T13" fmla="*/ 461 h 503"/>
                  <a:gd name="T14" fmla="*/ 392 w 730"/>
                  <a:gd name="T15" fmla="*/ 465 h 503"/>
                  <a:gd name="T16" fmla="*/ 334 w 730"/>
                  <a:gd name="T17" fmla="*/ 484 h 503"/>
                  <a:gd name="T18" fmla="*/ 315 w 730"/>
                  <a:gd name="T19" fmla="*/ 486 h 503"/>
                  <a:gd name="T20" fmla="*/ 290 w 730"/>
                  <a:gd name="T21" fmla="*/ 490 h 503"/>
                  <a:gd name="T22" fmla="*/ 255 w 730"/>
                  <a:gd name="T23" fmla="*/ 498 h 503"/>
                  <a:gd name="T24" fmla="*/ 251 w 730"/>
                  <a:gd name="T25" fmla="*/ 482 h 503"/>
                  <a:gd name="T26" fmla="*/ 240 w 730"/>
                  <a:gd name="T27" fmla="*/ 444 h 503"/>
                  <a:gd name="T28" fmla="*/ 200 w 730"/>
                  <a:gd name="T29" fmla="*/ 453 h 503"/>
                  <a:gd name="T30" fmla="*/ 144 w 730"/>
                  <a:gd name="T31" fmla="*/ 453 h 503"/>
                  <a:gd name="T32" fmla="*/ 136 w 730"/>
                  <a:gd name="T33" fmla="*/ 440 h 503"/>
                  <a:gd name="T34" fmla="*/ 129 w 730"/>
                  <a:gd name="T35" fmla="*/ 407 h 503"/>
                  <a:gd name="T36" fmla="*/ 98 w 730"/>
                  <a:gd name="T37" fmla="*/ 338 h 503"/>
                  <a:gd name="T38" fmla="*/ 94 w 730"/>
                  <a:gd name="T39" fmla="*/ 321 h 503"/>
                  <a:gd name="T40" fmla="*/ 104 w 730"/>
                  <a:gd name="T41" fmla="*/ 244 h 503"/>
                  <a:gd name="T42" fmla="*/ 102 w 730"/>
                  <a:gd name="T43" fmla="*/ 223 h 503"/>
                  <a:gd name="T44" fmla="*/ 94 w 730"/>
                  <a:gd name="T45" fmla="*/ 208 h 503"/>
                  <a:gd name="T46" fmla="*/ 0 w 730"/>
                  <a:gd name="T47" fmla="*/ 117 h 503"/>
                  <a:gd name="T48" fmla="*/ 10 w 730"/>
                  <a:gd name="T49" fmla="*/ 106 h 503"/>
                  <a:gd name="T50" fmla="*/ 23 w 730"/>
                  <a:gd name="T51" fmla="*/ 90 h 503"/>
                  <a:gd name="T52" fmla="*/ 67 w 730"/>
                  <a:gd name="T53" fmla="*/ 111 h 503"/>
                  <a:gd name="T54" fmla="*/ 92 w 730"/>
                  <a:gd name="T55" fmla="*/ 104 h 503"/>
                  <a:gd name="T56" fmla="*/ 125 w 730"/>
                  <a:gd name="T57" fmla="*/ 102 h 503"/>
                  <a:gd name="T58" fmla="*/ 144 w 730"/>
                  <a:gd name="T59" fmla="*/ 75 h 503"/>
                  <a:gd name="T60" fmla="*/ 159 w 730"/>
                  <a:gd name="T61" fmla="*/ 65 h 503"/>
                  <a:gd name="T62" fmla="*/ 182 w 730"/>
                  <a:gd name="T63" fmla="*/ 44 h 503"/>
                  <a:gd name="T64" fmla="*/ 219 w 730"/>
                  <a:gd name="T65" fmla="*/ 69 h 503"/>
                  <a:gd name="T66" fmla="*/ 236 w 730"/>
                  <a:gd name="T67" fmla="*/ 48 h 503"/>
                  <a:gd name="T68" fmla="*/ 244 w 730"/>
                  <a:gd name="T69" fmla="*/ 38 h 503"/>
                  <a:gd name="T70" fmla="*/ 261 w 730"/>
                  <a:gd name="T71" fmla="*/ 25 h 503"/>
                  <a:gd name="T72" fmla="*/ 305 w 730"/>
                  <a:gd name="T73" fmla="*/ 8 h 503"/>
                  <a:gd name="T74" fmla="*/ 317 w 730"/>
                  <a:gd name="T75" fmla="*/ 4 h 503"/>
                  <a:gd name="T76" fmla="*/ 372 w 730"/>
                  <a:gd name="T77" fmla="*/ 46 h 503"/>
                  <a:gd name="T78" fmla="*/ 422 w 730"/>
                  <a:gd name="T79" fmla="*/ 94 h 503"/>
                  <a:gd name="T80" fmla="*/ 465 w 730"/>
                  <a:gd name="T81" fmla="*/ 136 h 503"/>
                  <a:gd name="T82" fmla="*/ 480 w 730"/>
                  <a:gd name="T83" fmla="*/ 138 h 503"/>
                  <a:gd name="T84" fmla="*/ 507 w 730"/>
                  <a:gd name="T85" fmla="*/ 144 h 503"/>
                  <a:gd name="T86" fmla="*/ 572 w 730"/>
                  <a:gd name="T87" fmla="*/ 158 h 503"/>
                  <a:gd name="T88" fmla="*/ 576 w 730"/>
                  <a:gd name="T89" fmla="*/ 160 h 503"/>
                  <a:gd name="T90" fmla="*/ 603 w 730"/>
                  <a:gd name="T91" fmla="*/ 200 h 503"/>
                  <a:gd name="T92" fmla="*/ 685 w 730"/>
                  <a:gd name="T93" fmla="*/ 288 h 503"/>
                  <a:gd name="T94" fmla="*/ 708 w 730"/>
                  <a:gd name="T95" fmla="*/ 332 h 503"/>
                  <a:gd name="T96" fmla="*/ 718 w 730"/>
                  <a:gd name="T97" fmla="*/ 354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0" h="503">
                    <a:moveTo>
                      <a:pt x="730" y="373"/>
                    </a:moveTo>
                    <a:lnTo>
                      <a:pt x="722" y="375"/>
                    </a:lnTo>
                    <a:lnTo>
                      <a:pt x="720" y="367"/>
                    </a:lnTo>
                    <a:lnTo>
                      <a:pt x="701" y="377"/>
                    </a:lnTo>
                    <a:lnTo>
                      <a:pt x="641" y="402"/>
                    </a:lnTo>
                    <a:lnTo>
                      <a:pt x="632" y="398"/>
                    </a:lnTo>
                    <a:lnTo>
                      <a:pt x="614" y="405"/>
                    </a:lnTo>
                    <a:lnTo>
                      <a:pt x="609" y="403"/>
                    </a:lnTo>
                    <a:lnTo>
                      <a:pt x="593" y="411"/>
                    </a:lnTo>
                    <a:lnTo>
                      <a:pt x="587" y="405"/>
                    </a:lnTo>
                    <a:lnTo>
                      <a:pt x="568" y="413"/>
                    </a:lnTo>
                    <a:lnTo>
                      <a:pt x="561" y="409"/>
                    </a:lnTo>
                    <a:lnTo>
                      <a:pt x="453" y="450"/>
                    </a:lnTo>
                    <a:lnTo>
                      <a:pt x="422" y="461"/>
                    </a:lnTo>
                    <a:lnTo>
                      <a:pt x="403" y="471"/>
                    </a:lnTo>
                    <a:lnTo>
                      <a:pt x="392" y="465"/>
                    </a:lnTo>
                    <a:lnTo>
                      <a:pt x="346" y="482"/>
                    </a:lnTo>
                    <a:lnTo>
                      <a:pt x="334" y="484"/>
                    </a:lnTo>
                    <a:lnTo>
                      <a:pt x="322" y="488"/>
                    </a:lnTo>
                    <a:lnTo>
                      <a:pt x="315" y="486"/>
                    </a:lnTo>
                    <a:lnTo>
                      <a:pt x="299" y="492"/>
                    </a:lnTo>
                    <a:lnTo>
                      <a:pt x="290" y="490"/>
                    </a:lnTo>
                    <a:lnTo>
                      <a:pt x="257" y="503"/>
                    </a:lnTo>
                    <a:lnTo>
                      <a:pt x="255" y="498"/>
                    </a:lnTo>
                    <a:lnTo>
                      <a:pt x="255" y="492"/>
                    </a:lnTo>
                    <a:lnTo>
                      <a:pt x="251" y="482"/>
                    </a:lnTo>
                    <a:lnTo>
                      <a:pt x="244" y="444"/>
                    </a:lnTo>
                    <a:lnTo>
                      <a:pt x="240" y="444"/>
                    </a:lnTo>
                    <a:lnTo>
                      <a:pt x="207" y="452"/>
                    </a:lnTo>
                    <a:lnTo>
                      <a:pt x="200" y="453"/>
                    </a:lnTo>
                    <a:lnTo>
                      <a:pt x="150" y="465"/>
                    </a:lnTo>
                    <a:lnTo>
                      <a:pt x="144" y="453"/>
                    </a:lnTo>
                    <a:lnTo>
                      <a:pt x="140" y="450"/>
                    </a:lnTo>
                    <a:lnTo>
                      <a:pt x="136" y="440"/>
                    </a:lnTo>
                    <a:lnTo>
                      <a:pt x="134" y="425"/>
                    </a:lnTo>
                    <a:lnTo>
                      <a:pt x="129" y="407"/>
                    </a:lnTo>
                    <a:lnTo>
                      <a:pt x="115" y="380"/>
                    </a:lnTo>
                    <a:lnTo>
                      <a:pt x="98" y="338"/>
                    </a:lnTo>
                    <a:lnTo>
                      <a:pt x="96" y="336"/>
                    </a:lnTo>
                    <a:lnTo>
                      <a:pt x="94" y="321"/>
                    </a:lnTo>
                    <a:lnTo>
                      <a:pt x="102" y="265"/>
                    </a:lnTo>
                    <a:lnTo>
                      <a:pt x="104" y="244"/>
                    </a:lnTo>
                    <a:lnTo>
                      <a:pt x="104" y="233"/>
                    </a:lnTo>
                    <a:lnTo>
                      <a:pt x="102" y="223"/>
                    </a:lnTo>
                    <a:lnTo>
                      <a:pt x="100" y="215"/>
                    </a:lnTo>
                    <a:lnTo>
                      <a:pt x="94" y="208"/>
                    </a:lnTo>
                    <a:lnTo>
                      <a:pt x="10" y="125"/>
                    </a:lnTo>
                    <a:lnTo>
                      <a:pt x="0" y="117"/>
                    </a:lnTo>
                    <a:lnTo>
                      <a:pt x="4" y="115"/>
                    </a:lnTo>
                    <a:lnTo>
                      <a:pt x="10" y="106"/>
                    </a:lnTo>
                    <a:lnTo>
                      <a:pt x="19" y="96"/>
                    </a:lnTo>
                    <a:lnTo>
                      <a:pt x="23" y="90"/>
                    </a:lnTo>
                    <a:lnTo>
                      <a:pt x="50" y="104"/>
                    </a:lnTo>
                    <a:lnTo>
                      <a:pt x="67" y="111"/>
                    </a:lnTo>
                    <a:lnTo>
                      <a:pt x="81" y="111"/>
                    </a:lnTo>
                    <a:lnTo>
                      <a:pt x="92" y="104"/>
                    </a:lnTo>
                    <a:lnTo>
                      <a:pt x="123" y="106"/>
                    </a:lnTo>
                    <a:lnTo>
                      <a:pt x="125" y="102"/>
                    </a:lnTo>
                    <a:lnTo>
                      <a:pt x="136" y="81"/>
                    </a:lnTo>
                    <a:lnTo>
                      <a:pt x="144" y="75"/>
                    </a:lnTo>
                    <a:lnTo>
                      <a:pt x="150" y="71"/>
                    </a:lnTo>
                    <a:lnTo>
                      <a:pt x="159" y="65"/>
                    </a:lnTo>
                    <a:lnTo>
                      <a:pt x="173" y="56"/>
                    </a:lnTo>
                    <a:lnTo>
                      <a:pt x="182" y="44"/>
                    </a:lnTo>
                    <a:lnTo>
                      <a:pt x="203" y="60"/>
                    </a:lnTo>
                    <a:lnTo>
                      <a:pt x="219" y="69"/>
                    </a:lnTo>
                    <a:lnTo>
                      <a:pt x="226" y="58"/>
                    </a:lnTo>
                    <a:lnTo>
                      <a:pt x="236" y="48"/>
                    </a:lnTo>
                    <a:lnTo>
                      <a:pt x="242" y="44"/>
                    </a:lnTo>
                    <a:lnTo>
                      <a:pt x="244" y="38"/>
                    </a:lnTo>
                    <a:lnTo>
                      <a:pt x="250" y="33"/>
                    </a:lnTo>
                    <a:lnTo>
                      <a:pt x="261" y="25"/>
                    </a:lnTo>
                    <a:lnTo>
                      <a:pt x="290" y="14"/>
                    </a:lnTo>
                    <a:lnTo>
                      <a:pt x="305" y="8"/>
                    </a:lnTo>
                    <a:lnTo>
                      <a:pt x="311" y="0"/>
                    </a:lnTo>
                    <a:lnTo>
                      <a:pt x="317" y="4"/>
                    </a:lnTo>
                    <a:lnTo>
                      <a:pt x="326" y="15"/>
                    </a:lnTo>
                    <a:lnTo>
                      <a:pt x="372" y="46"/>
                    </a:lnTo>
                    <a:lnTo>
                      <a:pt x="397" y="75"/>
                    </a:lnTo>
                    <a:lnTo>
                      <a:pt x="422" y="94"/>
                    </a:lnTo>
                    <a:lnTo>
                      <a:pt x="432" y="104"/>
                    </a:lnTo>
                    <a:lnTo>
                      <a:pt x="465" y="136"/>
                    </a:lnTo>
                    <a:lnTo>
                      <a:pt x="472" y="138"/>
                    </a:lnTo>
                    <a:lnTo>
                      <a:pt x="480" y="138"/>
                    </a:lnTo>
                    <a:lnTo>
                      <a:pt x="491" y="140"/>
                    </a:lnTo>
                    <a:lnTo>
                      <a:pt x="507" y="144"/>
                    </a:lnTo>
                    <a:lnTo>
                      <a:pt x="511" y="144"/>
                    </a:lnTo>
                    <a:lnTo>
                      <a:pt x="572" y="158"/>
                    </a:lnTo>
                    <a:lnTo>
                      <a:pt x="574" y="158"/>
                    </a:lnTo>
                    <a:lnTo>
                      <a:pt x="576" y="160"/>
                    </a:lnTo>
                    <a:lnTo>
                      <a:pt x="601" y="200"/>
                    </a:lnTo>
                    <a:lnTo>
                      <a:pt x="603" y="200"/>
                    </a:lnTo>
                    <a:lnTo>
                      <a:pt x="626" y="238"/>
                    </a:lnTo>
                    <a:lnTo>
                      <a:pt x="685" y="288"/>
                    </a:lnTo>
                    <a:lnTo>
                      <a:pt x="693" y="300"/>
                    </a:lnTo>
                    <a:lnTo>
                      <a:pt x="708" y="332"/>
                    </a:lnTo>
                    <a:lnTo>
                      <a:pt x="714" y="346"/>
                    </a:lnTo>
                    <a:lnTo>
                      <a:pt x="718" y="354"/>
                    </a:lnTo>
                    <a:lnTo>
                      <a:pt x="730" y="373"/>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45">
                <a:extLst>
                  <a:ext uri="{FF2B5EF4-FFF2-40B4-BE49-F238E27FC236}">
                    <a16:creationId xmlns:a16="http://schemas.microsoft.com/office/drawing/2014/main" id="{DFBE6AA0-7157-4335-6421-B9A450572D41}"/>
                  </a:ext>
                </a:extLst>
              </p:cNvPr>
              <p:cNvSpPr>
                <a:spLocks/>
              </p:cNvSpPr>
              <p:nvPr/>
            </p:nvSpPr>
            <p:spPr bwMode="gray">
              <a:xfrm>
                <a:off x="5534573" y="3087152"/>
                <a:ext cx="725172" cy="747727"/>
              </a:xfrm>
              <a:custGeom>
                <a:avLst/>
                <a:gdLst>
                  <a:gd name="T0" fmla="*/ 618 w 643"/>
                  <a:gd name="T1" fmla="*/ 640 h 663"/>
                  <a:gd name="T2" fmla="*/ 572 w 643"/>
                  <a:gd name="T3" fmla="*/ 638 h 663"/>
                  <a:gd name="T4" fmla="*/ 549 w 643"/>
                  <a:gd name="T5" fmla="*/ 638 h 663"/>
                  <a:gd name="T6" fmla="*/ 501 w 643"/>
                  <a:gd name="T7" fmla="*/ 640 h 663"/>
                  <a:gd name="T8" fmla="*/ 486 w 643"/>
                  <a:gd name="T9" fmla="*/ 640 h 663"/>
                  <a:gd name="T10" fmla="*/ 468 w 643"/>
                  <a:gd name="T11" fmla="*/ 651 h 663"/>
                  <a:gd name="T12" fmla="*/ 444 w 643"/>
                  <a:gd name="T13" fmla="*/ 657 h 663"/>
                  <a:gd name="T14" fmla="*/ 419 w 643"/>
                  <a:gd name="T15" fmla="*/ 663 h 663"/>
                  <a:gd name="T16" fmla="*/ 403 w 643"/>
                  <a:gd name="T17" fmla="*/ 636 h 663"/>
                  <a:gd name="T18" fmla="*/ 382 w 643"/>
                  <a:gd name="T19" fmla="*/ 590 h 663"/>
                  <a:gd name="T20" fmla="*/ 315 w 643"/>
                  <a:gd name="T21" fmla="*/ 528 h 663"/>
                  <a:gd name="T22" fmla="*/ 290 w 643"/>
                  <a:gd name="T23" fmla="*/ 490 h 663"/>
                  <a:gd name="T24" fmla="*/ 263 w 643"/>
                  <a:gd name="T25" fmla="*/ 448 h 663"/>
                  <a:gd name="T26" fmla="*/ 200 w 643"/>
                  <a:gd name="T27" fmla="*/ 434 h 663"/>
                  <a:gd name="T28" fmla="*/ 180 w 643"/>
                  <a:gd name="T29" fmla="*/ 430 h 663"/>
                  <a:gd name="T30" fmla="*/ 161 w 643"/>
                  <a:gd name="T31" fmla="*/ 428 h 663"/>
                  <a:gd name="T32" fmla="*/ 121 w 643"/>
                  <a:gd name="T33" fmla="*/ 394 h 663"/>
                  <a:gd name="T34" fmla="*/ 86 w 643"/>
                  <a:gd name="T35" fmla="*/ 365 h 663"/>
                  <a:gd name="T36" fmla="*/ 15 w 643"/>
                  <a:gd name="T37" fmla="*/ 305 h 663"/>
                  <a:gd name="T38" fmla="*/ 0 w 643"/>
                  <a:gd name="T39" fmla="*/ 290 h 663"/>
                  <a:gd name="T40" fmla="*/ 11 w 643"/>
                  <a:gd name="T41" fmla="*/ 275 h 663"/>
                  <a:gd name="T42" fmla="*/ 60 w 643"/>
                  <a:gd name="T43" fmla="*/ 181 h 663"/>
                  <a:gd name="T44" fmla="*/ 63 w 643"/>
                  <a:gd name="T45" fmla="*/ 159 h 663"/>
                  <a:gd name="T46" fmla="*/ 61 w 643"/>
                  <a:gd name="T47" fmla="*/ 77 h 663"/>
                  <a:gd name="T48" fmla="*/ 60 w 643"/>
                  <a:gd name="T49" fmla="*/ 58 h 663"/>
                  <a:gd name="T50" fmla="*/ 58 w 643"/>
                  <a:gd name="T51" fmla="*/ 38 h 663"/>
                  <a:gd name="T52" fmla="*/ 65 w 643"/>
                  <a:gd name="T53" fmla="*/ 21 h 663"/>
                  <a:gd name="T54" fmla="*/ 81 w 643"/>
                  <a:gd name="T55" fmla="*/ 4 h 663"/>
                  <a:gd name="T56" fmla="*/ 148 w 643"/>
                  <a:gd name="T57" fmla="*/ 36 h 663"/>
                  <a:gd name="T58" fmla="*/ 180 w 643"/>
                  <a:gd name="T59" fmla="*/ 58 h 663"/>
                  <a:gd name="T60" fmla="*/ 230 w 643"/>
                  <a:gd name="T61" fmla="*/ 92 h 663"/>
                  <a:gd name="T62" fmla="*/ 313 w 643"/>
                  <a:gd name="T63" fmla="*/ 113 h 663"/>
                  <a:gd name="T64" fmla="*/ 342 w 643"/>
                  <a:gd name="T65" fmla="*/ 125 h 663"/>
                  <a:gd name="T66" fmla="*/ 388 w 643"/>
                  <a:gd name="T67" fmla="*/ 169 h 663"/>
                  <a:gd name="T68" fmla="*/ 422 w 643"/>
                  <a:gd name="T69" fmla="*/ 248 h 663"/>
                  <a:gd name="T70" fmla="*/ 442 w 643"/>
                  <a:gd name="T71" fmla="*/ 298 h 663"/>
                  <a:gd name="T72" fmla="*/ 493 w 643"/>
                  <a:gd name="T73" fmla="*/ 375 h 663"/>
                  <a:gd name="T74" fmla="*/ 591 w 643"/>
                  <a:gd name="T75" fmla="*/ 419 h 663"/>
                  <a:gd name="T76" fmla="*/ 641 w 643"/>
                  <a:gd name="T77" fmla="*/ 442 h 663"/>
                  <a:gd name="T78" fmla="*/ 603 w 643"/>
                  <a:gd name="T79" fmla="*/ 528 h 663"/>
                  <a:gd name="T80" fmla="*/ 593 w 643"/>
                  <a:gd name="T81" fmla="*/ 559 h 663"/>
                  <a:gd name="T82" fmla="*/ 588 w 643"/>
                  <a:gd name="T83" fmla="*/ 576 h 663"/>
                  <a:gd name="T84" fmla="*/ 599 w 643"/>
                  <a:gd name="T85" fmla="*/ 592 h 663"/>
                  <a:gd name="T86" fmla="*/ 643 w 643"/>
                  <a:gd name="T87" fmla="*/ 61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3" h="663">
                    <a:moveTo>
                      <a:pt x="628" y="632"/>
                    </a:moveTo>
                    <a:lnTo>
                      <a:pt x="618" y="640"/>
                    </a:lnTo>
                    <a:lnTo>
                      <a:pt x="597" y="636"/>
                    </a:lnTo>
                    <a:lnTo>
                      <a:pt x="572" y="638"/>
                    </a:lnTo>
                    <a:lnTo>
                      <a:pt x="551" y="647"/>
                    </a:lnTo>
                    <a:lnTo>
                      <a:pt x="549" y="638"/>
                    </a:lnTo>
                    <a:lnTo>
                      <a:pt x="511" y="642"/>
                    </a:lnTo>
                    <a:lnTo>
                      <a:pt x="501" y="640"/>
                    </a:lnTo>
                    <a:lnTo>
                      <a:pt x="493" y="645"/>
                    </a:lnTo>
                    <a:lnTo>
                      <a:pt x="486" y="640"/>
                    </a:lnTo>
                    <a:lnTo>
                      <a:pt x="478" y="644"/>
                    </a:lnTo>
                    <a:lnTo>
                      <a:pt x="468" y="651"/>
                    </a:lnTo>
                    <a:lnTo>
                      <a:pt x="463" y="647"/>
                    </a:lnTo>
                    <a:lnTo>
                      <a:pt x="444" y="657"/>
                    </a:lnTo>
                    <a:lnTo>
                      <a:pt x="440" y="655"/>
                    </a:lnTo>
                    <a:lnTo>
                      <a:pt x="419" y="663"/>
                    </a:lnTo>
                    <a:lnTo>
                      <a:pt x="407" y="644"/>
                    </a:lnTo>
                    <a:lnTo>
                      <a:pt x="403" y="636"/>
                    </a:lnTo>
                    <a:lnTo>
                      <a:pt x="397" y="622"/>
                    </a:lnTo>
                    <a:lnTo>
                      <a:pt x="382" y="590"/>
                    </a:lnTo>
                    <a:lnTo>
                      <a:pt x="374" y="578"/>
                    </a:lnTo>
                    <a:lnTo>
                      <a:pt x="315" y="528"/>
                    </a:lnTo>
                    <a:lnTo>
                      <a:pt x="292" y="490"/>
                    </a:lnTo>
                    <a:lnTo>
                      <a:pt x="290" y="490"/>
                    </a:lnTo>
                    <a:lnTo>
                      <a:pt x="265" y="450"/>
                    </a:lnTo>
                    <a:lnTo>
                      <a:pt x="263" y="448"/>
                    </a:lnTo>
                    <a:lnTo>
                      <a:pt x="261" y="448"/>
                    </a:lnTo>
                    <a:lnTo>
                      <a:pt x="200" y="434"/>
                    </a:lnTo>
                    <a:lnTo>
                      <a:pt x="196" y="434"/>
                    </a:lnTo>
                    <a:lnTo>
                      <a:pt x="180" y="430"/>
                    </a:lnTo>
                    <a:lnTo>
                      <a:pt x="169" y="428"/>
                    </a:lnTo>
                    <a:lnTo>
                      <a:pt x="161" y="428"/>
                    </a:lnTo>
                    <a:lnTo>
                      <a:pt x="154" y="426"/>
                    </a:lnTo>
                    <a:lnTo>
                      <a:pt x="121" y="394"/>
                    </a:lnTo>
                    <a:lnTo>
                      <a:pt x="111" y="384"/>
                    </a:lnTo>
                    <a:lnTo>
                      <a:pt x="86" y="365"/>
                    </a:lnTo>
                    <a:lnTo>
                      <a:pt x="61" y="336"/>
                    </a:lnTo>
                    <a:lnTo>
                      <a:pt x="15" y="305"/>
                    </a:lnTo>
                    <a:lnTo>
                      <a:pt x="6" y="294"/>
                    </a:lnTo>
                    <a:lnTo>
                      <a:pt x="0" y="290"/>
                    </a:lnTo>
                    <a:lnTo>
                      <a:pt x="6" y="282"/>
                    </a:lnTo>
                    <a:lnTo>
                      <a:pt x="11" y="275"/>
                    </a:lnTo>
                    <a:lnTo>
                      <a:pt x="56" y="194"/>
                    </a:lnTo>
                    <a:lnTo>
                      <a:pt x="60" y="181"/>
                    </a:lnTo>
                    <a:lnTo>
                      <a:pt x="65" y="165"/>
                    </a:lnTo>
                    <a:lnTo>
                      <a:pt x="63" y="159"/>
                    </a:lnTo>
                    <a:lnTo>
                      <a:pt x="63" y="108"/>
                    </a:lnTo>
                    <a:lnTo>
                      <a:pt x="61" y="77"/>
                    </a:lnTo>
                    <a:lnTo>
                      <a:pt x="60" y="65"/>
                    </a:lnTo>
                    <a:lnTo>
                      <a:pt x="60" y="58"/>
                    </a:lnTo>
                    <a:lnTo>
                      <a:pt x="58" y="48"/>
                    </a:lnTo>
                    <a:lnTo>
                      <a:pt x="58" y="38"/>
                    </a:lnTo>
                    <a:lnTo>
                      <a:pt x="60" y="31"/>
                    </a:lnTo>
                    <a:lnTo>
                      <a:pt x="65" y="21"/>
                    </a:lnTo>
                    <a:lnTo>
                      <a:pt x="75" y="0"/>
                    </a:lnTo>
                    <a:lnTo>
                      <a:pt x="81" y="4"/>
                    </a:lnTo>
                    <a:lnTo>
                      <a:pt x="138" y="31"/>
                    </a:lnTo>
                    <a:lnTo>
                      <a:pt x="148" y="36"/>
                    </a:lnTo>
                    <a:lnTo>
                      <a:pt x="163" y="46"/>
                    </a:lnTo>
                    <a:lnTo>
                      <a:pt x="180" y="58"/>
                    </a:lnTo>
                    <a:lnTo>
                      <a:pt x="211" y="85"/>
                    </a:lnTo>
                    <a:lnTo>
                      <a:pt x="230" y="92"/>
                    </a:lnTo>
                    <a:lnTo>
                      <a:pt x="307" y="111"/>
                    </a:lnTo>
                    <a:lnTo>
                      <a:pt x="313" y="113"/>
                    </a:lnTo>
                    <a:lnTo>
                      <a:pt x="326" y="117"/>
                    </a:lnTo>
                    <a:lnTo>
                      <a:pt x="342" y="125"/>
                    </a:lnTo>
                    <a:lnTo>
                      <a:pt x="365" y="144"/>
                    </a:lnTo>
                    <a:lnTo>
                      <a:pt x="388" y="169"/>
                    </a:lnTo>
                    <a:lnTo>
                      <a:pt x="403" y="190"/>
                    </a:lnTo>
                    <a:lnTo>
                      <a:pt x="422" y="248"/>
                    </a:lnTo>
                    <a:lnTo>
                      <a:pt x="424" y="263"/>
                    </a:lnTo>
                    <a:lnTo>
                      <a:pt x="442" y="298"/>
                    </a:lnTo>
                    <a:lnTo>
                      <a:pt x="484" y="363"/>
                    </a:lnTo>
                    <a:lnTo>
                      <a:pt x="493" y="375"/>
                    </a:lnTo>
                    <a:lnTo>
                      <a:pt x="507" y="382"/>
                    </a:lnTo>
                    <a:lnTo>
                      <a:pt x="591" y="419"/>
                    </a:lnTo>
                    <a:lnTo>
                      <a:pt x="603" y="426"/>
                    </a:lnTo>
                    <a:lnTo>
                      <a:pt x="641" y="442"/>
                    </a:lnTo>
                    <a:lnTo>
                      <a:pt x="612" y="507"/>
                    </a:lnTo>
                    <a:lnTo>
                      <a:pt x="603" y="528"/>
                    </a:lnTo>
                    <a:lnTo>
                      <a:pt x="601" y="542"/>
                    </a:lnTo>
                    <a:lnTo>
                      <a:pt x="593" y="559"/>
                    </a:lnTo>
                    <a:lnTo>
                      <a:pt x="589" y="567"/>
                    </a:lnTo>
                    <a:lnTo>
                      <a:pt x="588" y="576"/>
                    </a:lnTo>
                    <a:lnTo>
                      <a:pt x="589" y="584"/>
                    </a:lnTo>
                    <a:lnTo>
                      <a:pt x="599" y="592"/>
                    </a:lnTo>
                    <a:lnTo>
                      <a:pt x="614" y="599"/>
                    </a:lnTo>
                    <a:lnTo>
                      <a:pt x="643" y="611"/>
                    </a:lnTo>
                    <a:lnTo>
                      <a:pt x="628" y="632"/>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46">
                <a:extLst>
                  <a:ext uri="{FF2B5EF4-FFF2-40B4-BE49-F238E27FC236}">
                    <a16:creationId xmlns:a16="http://schemas.microsoft.com/office/drawing/2014/main" id="{F37FEFF7-3A65-4E4A-E5AC-2FFF11F862B8}"/>
                  </a:ext>
                </a:extLst>
              </p:cNvPr>
              <p:cNvSpPr>
                <a:spLocks/>
              </p:cNvSpPr>
              <p:nvPr/>
            </p:nvSpPr>
            <p:spPr bwMode="gray">
              <a:xfrm>
                <a:off x="5153379" y="3007079"/>
                <a:ext cx="465779" cy="532318"/>
              </a:xfrm>
              <a:custGeom>
                <a:avLst/>
                <a:gdLst>
                  <a:gd name="T0" fmla="*/ 332 w 413"/>
                  <a:gd name="T1" fmla="*/ 369 h 472"/>
                  <a:gd name="T2" fmla="*/ 288 w 413"/>
                  <a:gd name="T3" fmla="*/ 386 h 472"/>
                  <a:gd name="T4" fmla="*/ 271 w 413"/>
                  <a:gd name="T5" fmla="*/ 399 h 472"/>
                  <a:gd name="T6" fmla="*/ 263 w 413"/>
                  <a:gd name="T7" fmla="*/ 409 h 472"/>
                  <a:gd name="T8" fmla="*/ 246 w 413"/>
                  <a:gd name="T9" fmla="*/ 430 h 472"/>
                  <a:gd name="T10" fmla="*/ 209 w 413"/>
                  <a:gd name="T11" fmla="*/ 405 h 472"/>
                  <a:gd name="T12" fmla="*/ 186 w 413"/>
                  <a:gd name="T13" fmla="*/ 426 h 472"/>
                  <a:gd name="T14" fmla="*/ 171 w 413"/>
                  <a:gd name="T15" fmla="*/ 436 h 472"/>
                  <a:gd name="T16" fmla="*/ 152 w 413"/>
                  <a:gd name="T17" fmla="*/ 463 h 472"/>
                  <a:gd name="T18" fmla="*/ 119 w 413"/>
                  <a:gd name="T19" fmla="*/ 465 h 472"/>
                  <a:gd name="T20" fmla="*/ 94 w 413"/>
                  <a:gd name="T21" fmla="*/ 472 h 472"/>
                  <a:gd name="T22" fmla="*/ 50 w 413"/>
                  <a:gd name="T23" fmla="*/ 451 h 472"/>
                  <a:gd name="T24" fmla="*/ 61 w 413"/>
                  <a:gd name="T25" fmla="*/ 405 h 472"/>
                  <a:gd name="T26" fmla="*/ 52 w 413"/>
                  <a:gd name="T27" fmla="*/ 376 h 472"/>
                  <a:gd name="T28" fmla="*/ 4 w 413"/>
                  <a:gd name="T29" fmla="*/ 373 h 472"/>
                  <a:gd name="T30" fmla="*/ 23 w 413"/>
                  <a:gd name="T31" fmla="*/ 305 h 472"/>
                  <a:gd name="T32" fmla="*/ 52 w 413"/>
                  <a:gd name="T33" fmla="*/ 284 h 472"/>
                  <a:gd name="T34" fmla="*/ 61 w 413"/>
                  <a:gd name="T35" fmla="*/ 280 h 472"/>
                  <a:gd name="T36" fmla="*/ 67 w 413"/>
                  <a:gd name="T37" fmla="*/ 278 h 472"/>
                  <a:gd name="T38" fmla="*/ 86 w 413"/>
                  <a:gd name="T39" fmla="*/ 271 h 472"/>
                  <a:gd name="T40" fmla="*/ 90 w 413"/>
                  <a:gd name="T41" fmla="*/ 271 h 472"/>
                  <a:gd name="T42" fmla="*/ 131 w 413"/>
                  <a:gd name="T43" fmla="*/ 196 h 472"/>
                  <a:gd name="T44" fmla="*/ 163 w 413"/>
                  <a:gd name="T45" fmla="*/ 106 h 472"/>
                  <a:gd name="T46" fmla="*/ 190 w 413"/>
                  <a:gd name="T47" fmla="*/ 56 h 472"/>
                  <a:gd name="T48" fmla="*/ 257 w 413"/>
                  <a:gd name="T49" fmla="*/ 0 h 472"/>
                  <a:gd name="T50" fmla="*/ 290 w 413"/>
                  <a:gd name="T51" fmla="*/ 27 h 472"/>
                  <a:gd name="T52" fmla="*/ 386 w 413"/>
                  <a:gd name="T53" fmla="*/ 58 h 472"/>
                  <a:gd name="T54" fmla="*/ 403 w 413"/>
                  <a:gd name="T55" fmla="*/ 92 h 472"/>
                  <a:gd name="T56" fmla="*/ 396 w 413"/>
                  <a:gd name="T57" fmla="*/ 109 h 472"/>
                  <a:gd name="T58" fmla="*/ 398 w 413"/>
                  <a:gd name="T59" fmla="*/ 129 h 472"/>
                  <a:gd name="T60" fmla="*/ 399 w 413"/>
                  <a:gd name="T61" fmla="*/ 148 h 472"/>
                  <a:gd name="T62" fmla="*/ 401 w 413"/>
                  <a:gd name="T63" fmla="*/ 230 h 472"/>
                  <a:gd name="T64" fmla="*/ 398 w 413"/>
                  <a:gd name="T65" fmla="*/ 252 h 472"/>
                  <a:gd name="T66" fmla="*/ 349 w 413"/>
                  <a:gd name="T67" fmla="*/ 346 h 472"/>
                  <a:gd name="T68" fmla="*/ 338 w 413"/>
                  <a:gd name="T69" fmla="*/ 36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472">
                    <a:moveTo>
                      <a:pt x="338" y="361"/>
                    </a:moveTo>
                    <a:lnTo>
                      <a:pt x="332" y="369"/>
                    </a:lnTo>
                    <a:lnTo>
                      <a:pt x="317" y="375"/>
                    </a:lnTo>
                    <a:lnTo>
                      <a:pt x="288" y="386"/>
                    </a:lnTo>
                    <a:lnTo>
                      <a:pt x="277" y="394"/>
                    </a:lnTo>
                    <a:lnTo>
                      <a:pt x="271" y="399"/>
                    </a:lnTo>
                    <a:lnTo>
                      <a:pt x="269" y="405"/>
                    </a:lnTo>
                    <a:lnTo>
                      <a:pt x="263" y="409"/>
                    </a:lnTo>
                    <a:lnTo>
                      <a:pt x="253" y="419"/>
                    </a:lnTo>
                    <a:lnTo>
                      <a:pt x="246" y="430"/>
                    </a:lnTo>
                    <a:lnTo>
                      <a:pt x="230" y="421"/>
                    </a:lnTo>
                    <a:lnTo>
                      <a:pt x="209" y="405"/>
                    </a:lnTo>
                    <a:lnTo>
                      <a:pt x="200" y="417"/>
                    </a:lnTo>
                    <a:lnTo>
                      <a:pt x="186" y="426"/>
                    </a:lnTo>
                    <a:lnTo>
                      <a:pt x="177" y="432"/>
                    </a:lnTo>
                    <a:lnTo>
                      <a:pt x="171" y="436"/>
                    </a:lnTo>
                    <a:lnTo>
                      <a:pt x="163" y="442"/>
                    </a:lnTo>
                    <a:lnTo>
                      <a:pt x="152" y="463"/>
                    </a:lnTo>
                    <a:lnTo>
                      <a:pt x="150" y="467"/>
                    </a:lnTo>
                    <a:lnTo>
                      <a:pt x="119" y="465"/>
                    </a:lnTo>
                    <a:lnTo>
                      <a:pt x="108" y="472"/>
                    </a:lnTo>
                    <a:lnTo>
                      <a:pt x="94" y="472"/>
                    </a:lnTo>
                    <a:lnTo>
                      <a:pt x="77" y="465"/>
                    </a:lnTo>
                    <a:lnTo>
                      <a:pt x="50" y="451"/>
                    </a:lnTo>
                    <a:lnTo>
                      <a:pt x="63" y="421"/>
                    </a:lnTo>
                    <a:lnTo>
                      <a:pt x="61" y="405"/>
                    </a:lnTo>
                    <a:lnTo>
                      <a:pt x="54" y="384"/>
                    </a:lnTo>
                    <a:lnTo>
                      <a:pt x="52" y="376"/>
                    </a:lnTo>
                    <a:lnTo>
                      <a:pt x="29" y="382"/>
                    </a:lnTo>
                    <a:lnTo>
                      <a:pt x="4" y="373"/>
                    </a:lnTo>
                    <a:lnTo>
                      <a:pt x="0" y="361"/>
                    </a:lnTo>
                    <a:lnTo>
                      <a:pt x="23" y="305"/>
                    </a:lnTo>
                    <a:lnTo>
                      <a:pt x="38" y="313"/>
                    </a:lnTo>
                    <a:lnTo>
                      <a:pt x="52" y="284"/>
                    </a:lnTo>
                    <a:lnTo>
                      <a:pt x="56" y="280"/>
                    </a:lnTo>
                    <a:lnTo>
                      <a:pt x="61" y="280"/>
                    </a:lnTo>
                    <a:lnTo>
                      <a:pt x="65" y="282"/>
                    </a:lnTo>
                    <a:lnTo>
                      <a:pt x="67" y="278"/>
                    </a:lnTo>
                    <a:lnTo>
                      <a:pt x="71" y="275"/>
                    </a:lnTo>
                    <a:lnTo>
                      <a:pt x="86" y="271"/>
                    </a:lnTo>
                    <a:lnTo>
                      <a:pt x="88" y="271"/>
                    </a:lnTo>
                    <a:lnTo>
                      <a:pt x="90" y="271"/>
                    </a:lnTo>
                    <a:lnTo>
                      <a:pt x="125" y="209"/>
                    </a:lnTo>
                    <a:lnTo>
                      <a:pt x="131" y="196"/>
                    </a:lnTo>
                    <a:lnTo>
                      <a:pt x="140" y="173"/>
                    </a:lnTo>
                    <a:lnTo>
                      <a:pt x="163" y="106"/>
                    </a:lnTo>
                    <a:lnTo>
                      <a:pt x="177" y="71"/>
                    </a:lnTo>
                    <a:lnTo>
                      <a:pt x="190" y="56"/>
                    </a:lnTo>
                    <a:lnTo>
                      <a:pt x="236" y="27"/>
                    </a:lnTo>
                    <a:lnTo>
                      <a:pt x="257" y="0"/>
                    </a:lnTo>
                    <a:lnTo>
                      <a:pt x="271" y="15"/>
                    </a:lnTo>
                    <a:lnTo>
                      <a:pt x="290" y="27"/>
                    </a:lnTo>
                    <a:lnTo>
                      <a:pt x="309" y="38"/>
                    </a:lnTo>
                    <a:lnTo>
                      <a:pt x="386" y="58"/>
                    </a:lnTo>
                    <a:lnTo>
                      <a:pt x="413" y="71"/>
                    </a:lnTo>
                    <a:lnTo>
                      <a:pt x="403" y="92"/>
                    </a:lnTo>
                    <a:lnTo>
                      <a:pt x="398" y="102"/>
                    </a:lnTo>
                    <a:lnTo>
                      <a:pt x="396" y="109"/>
                    </a:lnTo>
                    <a:lnTo>
                      <a:pt x="396" y="119"/>
                    </a:lnTo>
                    <a:lnTo>
                      <a:pt x="398" y="129"/>
                    </a:lnTo>
                    <a:lnTo>
                      <a:pt x="398" y="136"/>
                    </a:lnTo>
                    <a:lnTo>
                      <a:pt x="399" y="148"/>
                    </a:lnTo>
                    <a:lnTo>
                      <a:pt x="401" y="179"/>
                    </a:lnTo>
                    <a:lnTo>
                      <a:pt x="401" y="230"/>
                    </a:lnTo>
                    <a:lnTo>
                      <a:pt x="403" y="236"/>
                    </a:lnTo>
                    <a:lnTo>
                      <a:pt x="398" y="252"/>
                    </a:lnTo>
                    <a:lnTo>
                      <a:pt x="394" y="265"/>
                    </a:lnTo>
                    <a:lnTo>
                      <a:pt x="349" y="346"/>
                    </a:lnTo>
                    <a:lnTo>
                      <a:pt x="344" y="353"/>
                    </a:lnTo>
                    <a:lnTo>
                      <a:pt x="33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47">
                <a:extLst>
                  <a:ext uri="{FF2B5EF4-FFF2-40B4-BE49-F238E27FC236}">
                    <a16:creationId xmlns:a16="http://schemas.microsoft.com/office/drawing/2014/main" id="{881D6C74-1C77-3A4C-1652-B5322970BD97}"/>
                  </a:ext>
                </a:extLst>
              </p:cNvPr>
              <p:cNvSpPr>
                <a:spLocks/>
              </p:cNvSpPr>
              <p:nvPr/>
            </p:nvSpPr>
            <p:spPr bwMode="gray">
              <a:xfrm>
                <a:off x="4908647" y="2931516"/>
                <a:ext cx="444351" cy="668782"/>
              </a:xfrm>
              <a:custGeom>
                <a:avLst/>
                <a:gdLst>
                  <a:gd name="T0" fmla="*/ 380 w 394"/>
                  <a:gd name="T1" fmla="*/ 173 h 593"/>
                  <a:gd name="T2" fmla="*/ 348 w 394"/>
                  <a:gd name="T3" fmla="*/ 263 h 593"/>
                  <a:gd name="T4" fmla="*/ 307 w 394"/>
                  <a:gd name="T5" fmla="*/ 338 h 593"/>
                  <a:gd name="T6" fmla="*/ 303 w 394"/>
                  <a:gd name="T7" fmla="*/ 338 h 593"/>
                  <a:gd name="T8" fmla="*/ 284 w 394"/>
                  <a:gd name="T9" fmla="*/ 345 h 593"/>
                  <a:gd name="T10" fmla="*/ 278 w 394"/>
                  <a:gd name="T11" fmla="*/ 347 h 593"/>
                  <a:gd name="T12" fmla="*/ 269 w 394"/>
                  <a:gd name="T13" fmla="*/ 351 h 593"/>
                  <a:gd name="T14" fmla="*/ 240 w 394"/>
                  <a:gd name="T15" fmla="*/ 372 h 593"/>
                  <a:gd name="T16" fmla="*/ 221 w 394"/>
                  <a:gd name="T17" fmla="*/ 440 h 593"/>
                  <a:gd name="T18" fmla="*/ 269 w 394"/>
                  <a:gd name="T19" fmla="*/ 443 h 593"/>
                  <a:gd name="T20" fmla="*/ 278 w 394"/>
                  <a:gd name="T21" fmla="*/ 472 h 593"/>
                  <a:gd name="T22" fmla="*/ 267 w 394"/>
                  <a:gd name="T23" fmla="*/ 518 h 593"/>
                  <a:gd name="T24" fmla="*/ 254 w 394"/>
                  <a:gd name="T25" fmla="*/ 534 h 593"/>
                  <a:gd name="T26" fmla="*/ 244 w 394"/>
                  <a:gd name="T27" fmla="*/ 545 h 593"/>
                  <a:gd name="T28" fmla="*/ 184 w 394"/>
                  <a:gd name="T29" fmla="*/ 588 h 593"/>
                  <a:gd name="T30" fmla="*/ 167 w 394"/>
                  <a:gd name="T31" fmla="*/ 580 h 593"/>
                  <a:gd name="T32" fmla="*/ 150 w 394"/>
                  <a:gd name="T33" fmla="*/ 541 h 593"/>
                  <a:gd name="T34" fmla="*/ 113 w 394"/>
                  <a:gd name="T35" fmla="*/ 501 h 593"/>
                  <a:gd name="T36" fmla="*/ 92 w 394"/>
                  <a:gd name="T37" fmla="*/ 466 h 593"/>
                  <a:gd name="T38" fmla="*/ 75 w 394"/>
                  <a:gd name="T39" fmla="*/ 438 h 593"/>
                  <a:gd name="T40" fmla="*/ 63 w 394"/>
                  <a:gd name="T41" fmla="*/ 405 h 593"/>
                  <a:gd name="T42" fmla="*/ 38 w 394"/>
                  <a:gd name="T43" fmla="*/ 393 h 593"/>
                  <a:gd name="T44" fmla="*/ 44 w 394"/>
                  <a:gd name="T45" fmla="*/ 378 h 593"/>
                  <a:gd name="T46" fmla="*/ 46 w 394"/>
                  <a:gd name="T47" fmla="*/ 370 h 593"/>
                  <a:gd name="T48" fmla="*/ 10 w 394"/>
                  <a:gd name="T49" fmla="*/ 322 h 593"/>
                  <a:gd name="T50" fmla="*/ 2 w 394"/>
                  <a:gd name="T51" fmla="*/ 292 h 593"/>
                  <a:gd name="T52" fmla="*/ 2 w 394"/>
                  <a:gd name="T53" fmla="*/ 272 h 593"/>
                  <a:gd name="T54" fmla="*/ 15 w 394"/>
                  <a:gd name="T55" fmla="*/ 246 h 593"/>
                  <a:gd name="T56" fmla="*/ 40 w 394"/>
                  <a:gd name="T57" fmla="*/ 165 h 593"/>
                  <a:gd name="T58" fmla="*/ 37 w 394"/>
                  <a:gd name="T59" fmla="*/ 123 h 593"/>
                  <a:gd name="T60" fmla="*/ 35 w 394"/>
                  <a:gd name="T61" fmla="*/ 103 h 593"/>
                  <a:gd name="T62" fmla="*/ 37 w 394"/>
                  <a:gd name="T63" fmla="*/ 59 h 593"/>
                  <a:gd name="T64" fmla="*/ 37 w 394"/>
                  <a:gd name="T65" fmla="*/ 50 h 593"/>
                  <a:gd name="T66" fmla="*/ 15 w 394"/>
                  <a:gd name="T67" fmla="*/ 27 h 593"/>
                  <a:gd name="T68" fmla="*/ 21 w 394"/>
                  <a:gd name="T69" fmla="*/ 9 h 593"/>
                  <a:gd name="T70" fmla="*/ 60 w 394"/>
                  <a:gd name="T71" fmla="*/ 0 h 593"/>
                  <a:gd name="T72" fmla="*/ 90 w 394"/>
                  <a:gd name="T73" fmla="*/ 11 h 593"/>
                  <a:gd name="T74" fmla="*/ 123 w 394"/>
                  <a:gd name="T75" fmla="*/ 32 h 593"/>
                  <a:gd name="T76" fmla="*/ 165 w 394"/>
                  <a:gd name="T77" fmla="*/ 69 h 593"/>
                  <a:gd name="T78" fmla="*/ 198 w 394"/>
                  <a:gd name="T79" fmla="*/ 94 h 593"/>
                  <a:gd name="T80" fmla="*/ 238 w 394"/>
                  <a:gd name="T81" fmla="*/ 94 h 593"/>
                  <a:gd name="T82" fmla="*/ 259 w 394"/>
                  <a:gd name="T83" fmla="*/ 103 h 593"/>
                  <a:gd name="T84" fmla="*/ 330 w 394"/>
                  <a:gd name="T85" fmla="*/ 96 h 593"/>
                  <a:gd name="T86" fmla="*/ 365 w 394"/>
                  <a:gd name="T87" fmla="*/ 103 h 593"/>
                  <a:gd name="T88" fmla="*/ 394 w 394"/>
                  <a:gd name="T89" fmla="*/ 13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4" h="593">
                    <a:moveTo>
                      <a:pt x="394" y="138"/>
                    </a:moveTo>
                    <a:lnTo>
                      <a:pt x="380" y="173"/>
                    </a:lnTo>
                    <a:lnTo>
                      <a:pt x="357" y="240"/>
                    </a:lnTo>
                    <a:lnTo>
                      <a:pt x="348" y="263"/>
                    </a:lnTo>
                    <a:lnTo>
                      <a:pt x="342" y="276"/>
                    </a:lnTo>
                    <a:lnTo>
                      <a:pt x="307" y="338"/>
                    </a:lnTo>
                    <a:lnTo>
                      <a:pt x="305" y="338"/>
                    </a:lnTo>
                    <a:lnTo>
                      <a:pt x="303" y="338"/>
                    </a:lnTo>
                    <a:lnTo>
                      <a:pt x="288" y="342"/>
                    </a:lnTo>
                    <a:lnTo>
                      <a:pt x="284" y="345"/>
                    </a:lnTo>
                    <a:lnTo>
                      <a:pt x="282" y="349"/>
                    </a:lnTo>
                    <a:lnTo>
                      <a:pt x="278" y="347"/>
                    </a:lnTo>
                    <a:lnTo>
                      <a:pt x="273" y="347"/>
                    </a:lnTo>
                    <a:lnTo>
                      <a:pt x="269" y="351"/>
                    </a:lnTo>
                    <a:lnTo>
                      <a:pt x="255" y="380"/>
                    </a:lnTo>
                    <a:lnTo>
                      <a:pt x="240" y="372"/>
                    </a:lnTo>
                    <a:lnTo>
                      <a:pt x="217" y="428"/>
                    </a:lnTo>
                    <a:lnTo>
                      <a:pt x="221" y="440"/>
                    </a:lnTo>
                    <a:lnTo>
                      <a:pt x="246" y="449"/>
                    </a:lnTo>
                    <a:lnTo>
                      <a:pt x="269" y="443"/>
                    </a:lnTo>
                    <a:lnTo>
                      <a:pt x="271" y="451"/>
                    </a:lnTo>
                    <a:lnTo>
                      <a:pt x="278" y="472"/>
                    </a:lnTo>
                    <a:lnTo>
                      <a:pt x="280" y="488"/>
                    </a:lnTo>
                    <a:lnTo>
                      <a:pt x="267" y="518"/>
                    </a:lnTo>
                    <a:lnTo>
                      <a:pt x="263" y="524"/>
                    </a:lnTo>
                    <a:lnTo>
                      <a:pt x="254" y="534"/>
                    </a:lnTo>
                    <a:lnTo>
                      <a:pt x="248" y="543"/>
                    </a:lnTo>
                    <a:lnTo>
                      <a:pt x="244" y="545"/>
                    </a:lnTo>
                    <a:lnTo>
                      <a:pt x="217" y="568"/>
                    </a:lnTo>
                    <a:lnTo>
                      <a:pt x="184" y="588"/>
                    </a:lnTo>
                    <a:lnTo>
                      <a:pt x="171" y="593"/>
                    </a:lnTo>
                    <a:lnTo>
                      <a:pt x="167" y="580"/>
                    </a:lnTo>
                    <a:lnTo>
                      <a:pt x="163" y="570"/>
                    </a:lnTo>
                    <a:lnTo>
                      <a:pt x="150" y="541"/>
                    </a:lnTo>
                    <a:lnTo>
                      <a:pt x="129" y="516"/>
                    </a:lnTo>
                    <a:lnTo>
                      <a:pt x="113" y="501"/>
                    </a:lnTo>
                    <a:lnTo>
                      <a:pt x="102" y="488"/>
                    </a:lnTo>
                    <a:lnTo>
                      <a:pt x="92" y="466"/>
                    </a:lnTo>
                    <a:lnTo>
                      <a:pt x="77" y="449"/>
                    </a:lnTo>
                    <a:lnTo>
                      <a:pt x="75" y="438"/>
                    </a:lnTo>
                    <a:lnTo>
                      <a:pt x="73" y="426"/>
                    </a:lnTo>
                    <a:lnTo>
                      <a:pt x="63" y="405"/>
                    </a:lnTo>
                    <a:lnTo>
                      <a:pt x="54" y="397"/>
                    </a:lnTo>
                    <a:lnTo>
                      <a:pt x="38" y="393"/>
                    </a:lnTo>
                    <a:lnTo>
                      <a:pt x="33" y="388"/>
                    </a:lnTo>
                    <a:lnTo>
                      <a:pt x="44" y="378"/>
                    </a:lnTo>
                    <a:lnTo>
                      <a:pt x="50" y="374"/>
                    </a:lnTo>
                    <a:lnTo>
                      <a:pt x="46" y="370"/>
                    </a:lnTo>
                    <a:lnTo>
                      <a:pt x="40" y="365"/>
                    </a:lnTo>
                    <a:lnTo>
                      <a:pt x="10" y="322"/>
                    </a:lnTo>
                    <a:lnTo>
                      <a:pt x="4" y="296"/>
                    </a:lnTo>
                    <a:lnTo>
                      <a:pt x="2" y="292"/>
                    </a:lnTo>
                    <a:lnTo>
                      <a:pt x="0" y="282"/>
                    </a:lnTo>
                    <a:lnTo>
                      <a:pt x="2" y="272"/>
                    </a:lnTo>
                    <a:lnTo>
                      <a:pt x="8" y="263"/>
                    </a:lnTo>
                    <a:lnTo>
                      <a:pt x="15" y="246"/>
                    </a:lnTo>
                    <a:lnTo>
                      <a:pt x="31" y="203"/>
                    </a:lnTo>
                    <a:lnTo>
                      <a:pt x="40" y="165"/>
                    </a:lnTo>
                    <a:lnTo>
                      <a:pt x="38" y="161"/>
                    </a:lnTo>
                    <a:lnTo>
                      <a:pt x="37" y="123"/>
                    </a:lnTo>
                    <a:lnTo>
                      <a:pt x="35" y="105"/>
                    </a:lnTo>
                    <a:lnTo>
                      <a:pt x="35" y="103"/>
                    </a:lnTo>
                    <a:lnTo>
                      <a:pt x="35" y="88"/>
                    </a:lnTo>
                    <a:lnTo>
                      <a:pt x="37" y="59"/>
                    </a:lnTo>
                    <a:lnTo>
                      <a:pt x="37" y="52"/>
                    </a:lnTo>
                    <a:lnTo>
                      <a:pt x="37" y="50"/>
                    </a:lnTo>
                    <a:lnTo>
                      <a:pt x="27" y="38"/>
                    </a:lnTo>
                    <a:lnTo>
                      <a:pt x="15" y="27"/>
                    </a:lnTo>
                    <a:lnTo>
                      <a:pt x="0" y="17"/>
                    </a:lnTo>
                    <a:lnTo>
                      <a:pt x="21" y="9"/>
                    </a:lnTo>
                    <a:lnTo>
                      <a:pt x="38" y="0"/>
                    </a:lnTo>
                    <a:lnTo>
                      <a:pt x="60" y="0"/>
                    </a:lnTo>
                    <a:lnTo>
                      <a:pt x="79" y="4"/>
                    </a:lnTo>
                    <a:lnTo>
                      <a:pt x="90" y="11"/>
                    </a:lnTo>
                    <a:lnTo>
                      <a:pt x="117" y="30"/>
                    </a:lnTo>
                    <a:lnTo>
                      <a:pt x="123" y="32"/>
                    </a:lnTo>
                    <a:lnTo>
                      <a:pt x="140" y="48"/>
                    </a:lnTo>
                    <a:lnTo>
                      <a:pt x="165" y="69"/>
                    </a:lnTo>
                    <a:lnTo>
                      <a:pt x="188" y="86"/>
                    </a:lnTo>
                    <a:lnTo>
                      <a:pt x="198" y="94"/>
                    </a:lnTo>
                    <a:lnTo>
                      <a:pt x="209" y="94"/>
                    </a:lnTo>
                    <a:lnTo>
                      <a:pt x="238" y="94"/>
                    </a:lnTo>
                    <a:lnTo>
                      <a:pt x="254" y="101"/>
                    </a:lnTo>
                    <a:lnTo>
                      <a:pt x="259" y="103"/>
                    </a:lnTo>
                    <a:lnTo>
                      <a:pt x="288" y="103"/>
                    </a:lnTo>
                    <a:lnTo>
                      <a:pt x="330" y="96"/>
                    </a:lnTo>
                    <a:lnTo>
                      <a:pt x="336" y="96"/>
                    </a:lnTo>
                    <a:lnTo>
                      <a:pt x="365" y="103"/>
                    </a:lnTo>
                    <a:lnTo>
                      <a:pt x="376" y="111"/>
                    </a:lnTo>
                    <a:lnTo>
                      <a:pt x="394" y="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48">
                <a:extLst>
                  <a:ext uri="{FF2B5EF4-FFF2-40B4-BE49-F238E27FC236}">
                    <a16:creationId xmlns:a16="http://schemas.microsoft.com/office/drawing/2014/main" id="{6ACDEE39-E1BE-9202-63BA-AADA770C7873}"/>
                  </a:ext>
                </a:extLst>
              </p:cNvPr>
              <p:cNvSpPr>
                <a:spLocks noEditPoints="1"/>
              </p:cNvSpPr>
              <p:nvPr/>
            </p:nvSpPr>
            <p:spPr bwMode="gray">
              <a:xfrm>
                <a:off x="5073305" y="2530022"/>
                <a:ext cx="539085" cy="435328"/>
              </a:xfrm>
              <a:custGeom>
                <a:avLst/>
                <a:gdLst>
                  <a:gd name="T0" fmla="*/ 461 w 478"/>
                  <a:gd name="T1" fmla="*/ 221 h 386"/>
                  <a:gd name="T2" fmla="*/ 442 w 478"/>
                  <a:gd name="T3" fmla="*/ 208 h 386"/>
                  <a:gd name="T4" fmla="*/ 424 w 478"/>
                  <a:gd name="T5" fmla="*/ 196 h 386"/>
                  <a:gd name="T6" fmla="*/ 413 w 478"/>
                  <a:gd name="T7" fmla="*/ 194 h 386"/>
                  <a:gd name="T8" fmla="*/ 388 w 478"/>
                  <a:gd name="T9" fmla="*/ 179 h 386"/>
                  <a:gd name="T10" fmla="*/ 371 w 478"/>
                  <a:gd name="T11" fmla="*/ 160 h 386"/>
                  <a:gd name="T12" fmla="*/ 344 w 478"/>
                  <a:gd name="T13" fmla="*/ 146 h 386"/>
                  <a:gd name="T14" fmla="*/ 315 w 478"/>
                  <a:gd name="T15" fmla="*/ 104 h 386"/>
                  <a:gd name="T16" fmla="*/ 313 w 478"/>
                  <a:gd name="T17" fmla="*/ 83 h 386"/>
                  <a:gd name="T18" fmla="*/ 301 w 478"/>
                  <a:gd name="T19" fmla="*/ 62 h 386"/>
                  <a:gd name="T20" fmla="*/ 307 w 478"/>
                  <a:gd name="T21" fmla="*/ 46 h 386"/>
                  <a:gd name="T22" fmla="*/ 323 w 478"/>
                  <a:gd name="T23" fmla="*/ 54 h 386"/>
                  <a:gd name="T24" fmla="*/ 332 w 478"/>
                  <a:gd name="T25" fmla="*/ 66 h 386"/>
                  <a:gd name="T26" fmla="*/ 361 w 478"/>
                  <a:gd name="T27" fmla="*/ 96 h 386"/>
                  <a:gd name="T28" fmla="*/ 390 w 478"/>
                  <a:gd name="T29" fmla="*/ 112 h 386"/>
                  <a:gd name="T30" fmla="*/ 478 w 478"/>
                  <a:gd name="T31" fmla="*/ 204 h 386"/>
                  <a:gd name="T32" fmla="*/ 465 w 478"/>
                  <a:gd name="T33" fmla="*/ 217 h 386"/>
                  <a:gd name="T34" fmla="*/ 294 w 478"/>
                  <a:gd name="T35" fmla="*/ 386 h 386"/>
                  <a:gd name="T36" fmla="*/ 179 w 478"/>
                  <a:gd name="T37" fmla="*/ 267 h 386"/>
                  <a:gd name="T38" fmla="*/ 119 w 478"/>
                  <a:gd name="T39" fmla="*/ 240 h 386"/>
                  <a:gd name="T40" fmla="*/ 67 w 478"/>
                  <a:gd name="T41" fmla="*/ 231 h 386"/>
                  <a:gd name="T42" fmla="*/ 0 w 478"/>
                  <a:gd name="T43" fmla="*/ 223 h 386"/>
                  <a:gd name="T44" fmla="*/ 2 w 478"/>
                  <a:gd name="T45" fmla="*/ 196 h 386"/>
                  <a:gd name="T46" fmla="*/ 13 w 478"/>
                  <a:gd name="T47" fmla="*/ 183 h 386"/>
                  <a:gd name="T48" fmla="*/ 33 w 478"/>
                  <a:gd name="T49" fmla="*/ 175 h 386"/>
                  <a:gd name="T50" fmla="*/ 54 w 478"/>
                  <a:gd name="T51" fmla="*/ 164 h 386"/>
                  <a:gd name="T52" fmla="*/ 75 w 478"/>
                  <a:gd name="T53" fmla="*/ 139 h 386"/>
                  <a:gd name="T54" fmla="*/ 98 w 478"/>
                  <a:gd name="T55" fmla="*/ 116 h 386"/>
                  <a:gd name="T56" fmla="*/ 117 w 478"/>
                  <a:gd name="T57" fmla="*/ 75 h 386"/>
                  <a:gd name="T58" fmla="*/ 161 w 478"/>
                  <a:gd name="T59" fmla="*/ 27 h 386"/>
                  <a:gd name="T60" fmla="*/ 202 w 478"/>
                  <a:gd name="T61" fmla="*/ 14 h 386"/>
                  <a:gd name="T62" fmla="*/ 223 w 478"/>
                  <a:gd name="T63" fmla="*/ 6 h 386"/>
                  <a:gd name="T64" fmla="*/ 255 w 478"/>
                  <a:gd name="T65" fmla="*/ 0 h 386"/>
                  <a:gd name="T66" fmla="*/ 282 w 478"/>
                  <a:gd name="T67" fmla="*/ 12 h 386"/>
                  <a:gd name="T68" fmla="*/ 292 w 478"/>
                  <a:gd name="T69" fmla="*/ 37 h 386"/>
                  <a:gd name="T70" fmla="*/ 292 w 478"/>
                  <a:gd name="T71" fmla="*/ 58 h 386"/>
                  <a:gd name="T72" fmla="*/ 323 w 478"/>
                  <a:gd name="T73" fmla="*/ 142 h 386"/>
                  <a:gd name="T74" fmla="*/ 401 w 478"/>
                  <a:gd name="T75" fmla="*/ 202 h 386"/>
                  <a:gd name="T76" fmla="*/ 403 w 478"/>
                  <a:gd name="T77" fmla="*/ 219 h 386"/>
                  <a:gd name="T78" fmla="*/ 419 w 478"/>
                  <a:gd name="T79" fmla="*/ 233 h 386"/>
                  <a:gd name="T80" fmla="*/ 394 w 478"/>
                  <a:gd name="T81" fmla="*/ 252 h 386"/>
                  <a:gd name="T82" fmla="*/ 357 w 478"/>
                  <a:gd name="T83" fmla="*/ 281 h 386"/>
                  <a:gd name="T84" fmla="*/ 340 w 478"/>
                  <a:gd name="T85" fmla="*/ 300 h 386"/>
                  <a:gd name="T86" fmla="*/ 296 w 478"/>
                  <a:gd name="T87" fmla="*/ 37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8" h="386">
                    <a:moveTo>
                      <a:pt x="465" y="217"/>
                    </a:moveTo>
                    <a:lnTo>
                      <a:pt x="461" y="221"/>
                    </a:lnTo>
                    <a:lnTo>
                      <a:pt x="449" y="217"/>
                    </a:lnTo>
                    <a:lnTo>
                      <a:pt x="442" y="208"/>
                    </a:lnTo>
                    <a:lnTo>
                      <a:pt x="438" y="198"/>
                    </a:lnTo>
                    <a:lnTo>
                      <a:pt x="424" y="196"/>
                    </a:lnTo>
                    <a:lnTo>
                      <a:pt x="424" y="194"/>
                    </a:lnTo>
                    <a:lnTo>
                      <a:pt x="413" y="194"/>
                    </a:lnTo>
                    <a:lnTo>
                      <a:pt x="399" y="189"/>
                    </a:lnTo>
                    <a:lnTo>
                      <a:pt x="388" y="179"/>
                    </a:lnTo>
                    <a:lnTo>
                      <a:pt x="380" y="167"/>
                    </a:lnTo>
                    <a:lnTo>
                      <a:pt x="371" y="160"/>
                    </a:lnTo>
                    <a:lnTo>
                      <a:pt x="359" y="156"/>
                    </a:lnTo>
                    <a:lnTo>
                      <a:pt x="344" y="146"/>
                    </a:lnTo>
                    <a:lnTo>
                      <a:pt x="326" y="123"/>
                    </a:lnTo>
                    <a:lnTo>
                      <a:pt x="315" y="104"/>
                    </a:lnTo>
                    <a:lnTo>
                      <a:pt x="315" y="94"/>
                    </a:lnTo>
                    <a:lnTo>
                      <a:pt x="313" y="83"/>
                    </a:lnTo>
                    <a:lnTo>
                      <a:pt x="307" y="73"/>
                    </a:lnTo>
                    <a:lnTo>
                      <a:pt x="301" y="62"/>
                    </a:lnTo>
                    <a:lnTo>
                      <a:pt x="303" y="50"/>
                    </a:lnTo>
                    <a:lnTo>
                      <a:pt x="307" y="46"/>
                    </a:lnTo>
                    <a:lnTo>
                      <a:pt x="315" y="46"/>
                    </a:lnTo>
                    <a:lnTo>
                      <a:pt x="323" y="54"/>
                    </a:lnTo>
                    <a:lnTo>
                      <a:pt x="326" y="62"/>
                    </a:lnTo>
                    <a:lnTo>
                      <a:pt x="332" y="66"/>
                    </a:lnTo>
                    <a:lnTo>
                      <a:pt x="342" y="79"/>
                    </a:lnTo>
                    <a:lnTo>
                      <a:pt x="361" y="96"/>
                    </a:lnTo>
                    <a:lnTo>
                      <a:pt x="374" y="102"/>
                    </a:lnTo>
                    <a:lnTo>
                      <a:pt x="390" y="112"/>
                    </a:lnTo>
                    <a:lnTo>
                      <a:pt x="474" y="194"/>
                    </a:lnTo>
                    <a:lnTo>
                      <a:pt x="478" y="204"/>
                    </a:lnTo>
                    <a:lnTo>
                      <a:pt x="472" y="214"/>
                    </a:lnTo>
                    <a:lnTo>
                      <a:pt x="465" y="217"/>
                    </a:lnTo>
                    <a:close/>
                    <a:moveTo>
                      <a:pt x="298" y="383"/>
                    </a:moveTo>
                    <a:lnTo>
                      <a:pt x="294" y="386"/>
                    </a:lnTo>
                    <a:lnTo>
                      <a:pt x="211" y="292"/>
                    </a:lnTo>
                    <a:lnTo>
                      <a:pt x="179" y="267"/>
                    </a:lnTo>
                    <a:lnTo>
                      <a:pt x="152" y="252"/>
                    </a:lnTo>
                    <a:lnTo>
                      <a:pt x="119" y="240"/>
                    </a:lnTo>
                    <a:lnTo>
                      <a:pt x="98" y="237"/>
                    </a:lnTo>
                    <a:lnTo>
                      <a:pt x="67" y="231"/>
                    </a:lnTo>
                    <a:lnTo>
                      <a:pt x="35" y="225"/>
                    </a:lnTo>
                    <a:lnTo>
                      <a:pt x="0" y="223"/>
                    </a:lnTo>
                    <a:lnTo>
                      <a:pt x="2" y="206"/>
                    </a:lnTo>
                    <a:lnTo>
                      <a:pt x="2" y="196"/>
                    </a:lnTo>
                    <a:lnTo>
                      <a:pt x="4" y="190"/>
                    </a:lnTo>
                    <a:lnTo>
                      <a:pt x="13" y="183"/>
                    </a:lnTo>
                    <a:lnTo>
                      <a:pt x="21" y="179"/>
                    </a:lnTo>
                    <a:lnTo>
                      <a:pt x="33" y="175"/>
                    </a:lnTo>
                    <a:lnTo>
                      <a:pt x="40" y="173"/>
                    </a:lnTo>
                    <a:lnTo>
                      <a:pt x="54" y="164"/>
                    </a:lnTo>
                    <a:lnTo>
                      <a:pt x="65" y="152"/>
                    </a:lnTo>
                    <a:lnTo>
                      <a:pt x="75" y="139"/>
                    </a:lnTo>
                    <a:lnTo>
                      <a:pt x="90" y="127"/>
                    </a:lnTo>
                    <a:lnTo>
                      <a:pt x="98" y="116"/>
                    </a:lnTo>
                    <a:lnTo>
                      <a:pt x="102" y="104"/>
                    </a:lnTo>
                    <a:lnTo>
                      <a:pt x="117" y="75"/>
                    </a:lnTo>
                    <a:lnTo>
                      <a:pt x="132" y="48"/>
                    </a:lnTo>
                    <a:lnTo>
                      <a:pt x="161" y="27"/>
                    </a:lnTo>
                    <a:lnTo>
                      <a:pt x="184" y="16"/>
                    </a:lnTo>
                    <a:lnTo>
                      <a:pt x="202" y="14"/>
                    </a:lnTo>
                    <a:lnTo>
                      <a:pt x="213" y="14"/>
                    </a:lnTo>
                    <a:lnTo>
                      <a:pt x="223" y="6"/>
                    </a:lnTo>
                    <a:lnTo>
                      <a:pt x="238" y="4"/>
                    </a:lnTo>
                    <a:lnTo>
                      <a:pt x="255" y="0"/>
                    </a:lnTo>
                    <a:lnTo>
                      <a:pt x="275" y="4"/>
                    </a:lnTo>
                    <a:lnTo>
                      <a:pt x="282" y="12"/>
                    </a:lnTo>
                    <a:lnTo>
                      <a:pt x="286" y="19"/>
                    </a:lnTo>
                    <a:lnTo>
                      <a:pt x="292" y="37"/>
                    </a:lnTo>
                    <a:lnTo>
                      <a:pt x="292" y="52"/>
                    </a:lnTo>
                    <a:lnTo>
                      <a:pt x="292" y="58"/>
                    </a:lnTo>
                    <a:lnTo>
                      <a:pt x="300" y="96"/>
                    </a:lnTo>
                    <a:lnTo>
                      <a:pt x="323" y="142"/>
                    </a:lnTo>
                    <a:lnTo>
                      <a:pt x="371" y="183"/>
                    </a:lnTo>
                    <a:lnTo>
                      <a:pt x="401" y="202"/>
                    </a:lnTo>
                    <a:lnTo>
                      <a:pt x="405" y="206"/>
                    </a:lnTo>
                    <a:lnTo>
                      <a:pt x="403" y="219"/>
                    </a:lnTo>
                    <a:lnTo>
                      <a:pt x="415" y="227"/>
                    </a:lnTo>
                    <a:lnTo>
                      <a:pt x="419" y="233"/>
                    </a:lnTo>
                    <a:lnTo>
                      <a:pt x="415" y="238"/>
                    </a:lnTo>
                    <a:lnTo>
                      <a:pt x="394" y="252"/>
                    </a:lnTo>
                    <a:lnTo>
                      <a:pt x="390" y="256"/>
                    </a:lnTo>
                    <a:lnTo>
                      <a:pt x="357" y="281"/>
                    </a:lnTo>
                    <a:lnTo>
                      <a:pt x="346" y="294"/>
                    </a:lnTo>
                    <a:lnTo>
                      <a:pt x="340" y="300"/>
                    </a:lnTo>
                    <a:lnTo>
                      <a:pt x="311" y="336"/>
                    </a:lnTo>
                    <a:lnTo>
                      <a:pt x="296" y="373"/>
                    </a:lnTo>
                    <a:lnTo>
                      <a:pt x="298" y="38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49">
                <a:extLst>
                  <a:ext uri="{FF2B5EF4-FFF2-40B4-BE49-F238E27FC236}">
                    <a16:creationId xmlns:a16="http://schemas.microsoft.com/office/drawing/2014/main" id="{D0D1D70D-EF33-7D2C-D05D-4949BA2045B3}"/>
                  </a:ext>
                </a:extLst>
              </p:cNvPr>
              <p:cNvSpPr>
                <a:spLocks/>
              </p:cNvSpPr>
              <p:nvPr/>
            </p:nvSpPr>
            <p:spPr bwMode="gray">
              <a:xfrm>
                <a:off x="5404876" y="2790542"/>
                <a:ext cx="796222" cy="576303"/>
              </a:xfrm>
              <a:custGeom>
                <a:avLst/>
                <a:gdLst>
                  <a:gd name="T0" fmla="*/ 649 w 706"/>
                  <a:gd name="T1" fmla="*/ 150 h 511"/>
                  <a:gd name="T2" fmla="*/ 689 w 706"/>
                  <a:gd name="T3" fmla="*/ 228 h 511"/>
                  <a:gd name="T4" fmla="*/ 689 w 706"/>
                  <a:gd name="T5" fmla="*/ 242 h 511"/>
                  <a:gd name="T6" fmla="*/ 651 w 706"/>
                  <a:gd name="T7" fmla="*/ 282 h 511"/>
                  <a:gd name="T8" fmla="*/ 672 w 706"/>
                  <a:gd name="T9" fmla="*/ 294 h 511"/>
                  <a:gd name="T10" fmla="*/ 697 w 706"/>
                  <a:gd name="T11" fmla="*/ 299 h 511"/>
                  <a:gd name="T12" fmla="*/ 706 w 706"/>
                  <a:gd name="T13" fmla="*/ 315 h 511"/>
                  <a:gd name="T14" fmla="*/ 685 w 706"/>
                  <a:gd name="T15" fmla="*/ 340 h 511"/>
                  <a:gd name="T16" fmla="*/ 660 w 706"/>
                  <a:gd name="T17" fmla="*/ 363 h 511"/>
                  <a:gd name="T18" fmla="*/ 637 w 706"/>
                  <a:gd name="T19" fmla="*/ 405 h 511"/>
                  <a:gd name="T20" fmla="*/ 620 w 706"/>
                  <a:gd name="T21" fmla="*/ 413 h 511"/>
                  <a:gd name="T22" fmla="*/ 593 w 706"/>
                  <a:gd name="T23" fmla="*/ 457 h 511"/>
                  <a:gd name="T24" fmla="*/ 582 w 706"/>
                  <a:gd name="T25" fmla="*/ 492 h 511"/>
                  <a:gd name="T26" fmla="*/ 574 w 706"/>
                  <a:gd name="T27" fmla="*/ 497 h 511"/>
                  <a:gd name="T28" fmla="*/ 555 w 706"/>
                  <a:gd name="T29" fmla="*/ 507 h 511"/>
                  <a:gd name="T30" fmla="*/ 518 w 706"/>
                  <a:gd name="T31" fmla="*/ 453 h 511"/>
                  <a:gd name="T32" fmla="*/ 480 w 706"/>
                  <a:gd name="T33" fmla="*/ 407 h 511"/>
                  <a:gd name="T34" fmla="*/ 441 w 706"/>
                  <a:gd name="T35" fmla="*/ 380 h 511"/>
                  <a:gd name="T36" fmla="*/ 422 w 706"/>
                  <a:gd name="T37" fmla="*/ 374 h 511"/>
                  <a:gd name="T38" fmla="*/ 326 w 706"/>
                  <a:gd name="T39" fmla="*/ 348 h 511"/>
                  <a:gd name="T40" fmla="*/ 278 w 706"/>
                  <a:gd name="T41" fmla="*/ 309 h 511"/>
                  <a:gd name="T42" fmla="*/ 253 w 706"/>
                  <a:gd name="T43" fmla="*/ 294 h 511"/>
                  <a:gd name="T44" fmla="*/ 190 w 706"/>
                  <a:gd name="T45" fmla="*/ 263 h 511"/>
                  <a:gd name="T46" fmla="*/ 86 w 706"/>
                  <a:gd name="T47" fmla="*/ 230 h 511"/>
                  <a:gd name="T48" fmla="*/ 48 w 706"/>
                  <a:gd name="T49" fmla="*/ 207 h 511"/>
                  <a:gd name="T50" fmla="*/ 30 w 706"/>
                  <a:gd name="T51" fmla="*/ 190 h 511"/>
                  <a:gd name="T52" fmla="*/ 4 w 706"/>
                  <a:gd name="T53" fmla="*/ 152 h 511"/>
                  <a:gd name="T54" fmla="*/ 17 w 706"/>
                  <a:gd name="T55" fmla="*/ 140 h 511"/>
                  <a:gd name="T56" fmla="*/ 55 w 706"/>
                  <a:gd name="T57" fmla="*/ 77 h 511"/>
                  <a:gd name="T58" fmla="*/ 123 w 706"/>
                  <a:gd name="T59" fmla="*/ 25 h 511"/>
                  <a:gd name="T60" fmla="*/ 165 w 706"/>
                  <a:gd name="T61" fmla="*/ 9 h 511"/>
                  <a:gd name="T62" fmla="*/ 171 w 706"/>
                  <a:gd name="T63" fmla="*/ 0 h 511"/>
                  <a:gd name="T64" fmla="*/ 173 w 706"/>
                  <a:gd name="T65" fmla="*/ 7 h 511"/>
                  <a:gd name="T66" fmla="*/ 182 w 706"/>
                  <a:gd name="T67" fmla="*/ 9 h 511"/>
                  <a:gd name="T68" fmla="*/ 251 w 706"/>
                  <a:gd name="T69" fmla="*/ 105 h 511"/>
                  <a:gd name="T70" fmla="*/ 322 w 706"/>
                  <a:gd name="T71" fmla="*/ 152 h 511"/>
                  <a:gd name="T72" fmla="*/ 374 w 706"/>
                  <a:gd name="T73" fmla="*/ 184 h 511"/>
                  <a:gd name="T74" fmla="*/ 418 w 706"/>
                  <a:gd name="T75" fmla="*/ 196 h 511"/>
                  <a:gd name="T76" fmla="*/ 426 w 706"/>
                  <a:gd name="T77" fmla="*/ 198 h 511"/>
                  <a:gd name="T78" fmla="*/ 432 w 706"/>
                  <a:gd name="T79" fmla="*/ 200 h 511"/>
                  <a:gd name="T80" fmla="*/ 439 w 706"/>
                  <a:gd name="T81" fmla="*/ 200 h 511"/>
                  <a:gd name="T82" fmla="*/ 457 w 706"/>
                  <a:gd name="T83" fmla="*/ 202 h 511"/>
                  <a:gd name="T84" fmla="*/ 480 w 706"/>
                  <a:gd name="T85" fmla="*/ 203 h 511"/>
                  <a:gd name="T86" fmla="*/ 499 w 706"/>
                  <a:gd name="T87" fmla="*/ 202 h 511"/>
                  <a:gd name="T88" fmla="*/ 532 w 706"/>
                  <a:gd name="T89" fmla="*/ 198 h 511"/>
                  <a:gd name="T90" fmla="*/ 545 w 706"/>
                  <a:gd name="T91" fmla="*/ 196 h 511"/>
                  <a:gd name="T92" fmla="*/ 553 w 706"/>
                  <a:gd name="T93" fmla="*/ 202 h 511"/>
                  <a:gd name="T94" fmla="*/ 559 w 706"/>
                  <a:gd name="T95" fmla="*/ 200 h 511"/>
                  <a:gd name="T96" fmla="*/ 562 w 706"/>
                  <a:gd name="T97" fmla="*/ 198 h 511"/>
                  <a:gd name="T98" fmla="*/ 566 w 706"/>
                  <a:gd name="T99" fmla="*/ 202 h 511"/>
                  <a:gd name="T100" fmla="*/ 574 w 706"/>
                  <a:gd name="T101" fmla="*/ 200 h 511"/>
                  <a:gd name="T102" fmla="*/ 582 w 706"/>
                  <a:gd name="T103" fmla="*/ 175 h 511"/>
                  <a:gd name="T104" fmla="*/ 639 w 706"/>
                  <a:gd name="T105" fmla="*/ 14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6" h="511">
                    <a:moveTo>
                      <a:pt x="639" y="140"/>
                    </a:moveTo>
                    <a:lnTo>
                      <a:pt x="649" y="150"/>
                    </a:lnTo>
                    <a:lnTo>
                      <a:pt x="679" y="211"/>
                    </a:lnTo>
                    <a:lnTo>
                      <a:pt x="689" y="228"/>
                    </a:lnTo>
                    <a:lnTo>
                      <a:pt x="691" y="234"/>
                    </a:lnTo>
                    <a:lnTo>
                      <a:pt x="689" y="242"/>
                    </a:lnTo>
                    <a:lnTo>
                      <a:pt x="683" y="251"/>
                    </a:lnTo>
                    <a:lnTo>
                      <a:pt x="651" y="282"/>
                    </a:lnTo>
                    <a:lnTo>
                      <a:pt x="656" y="290"/>
                    </a:lnTo>
                    <a:lnTo>
                      <a:pt x="672" y="294"/>
                    </a:lnTo>
                    <a:lnTo>
                      <a:pt x="687" y="296"/>
                    </a:lnTo>
                    <a:lnTo>
                      <a:pt x="697" y="299"/>
                    </a:lnTo>
                    <a:lnTo>
                      <a:pt x="704" y="305"/>
                    </a:lnTo>
                    <a:lnTo>
                      <a:pt x="706" y="315"/>
                    </a:lnTo>
                    <a:lnTo>
                      <a:pt x="703" y="323"/>
                    </a:lnTo>
                    <a:lnTo>
                      <a:pt x="685" y="340"/>
                    </a:lnTo>
                    <a:lnTo>
                      <a:pt x="662" y="359"/>
                    </a:lnTo>
                    <a:lnTo>
                      <a:pt x="660" y="363"/>
                    </a:lnTo>
                    <a:lnTo>
                      <a:pt x="649" y="399"/>
                    </a:lnTo>
                    <a:lnTo>
                      <a:pt x="637" y="405"/>
                    </a:lnTo>
                    <a:lnTo>
                      <a:pt x="630" y="409"/>
                    </a:lnTo>
                    <a:lnTo>
                      <a:pt x="620" y="413"/>
                    </a:lnTo>
                    <a:lnTo>
                      <a:pt x="601" y="434"/>
                    </a:lnTo>
                    <a:lnTo>
                      <a:pt x="593" y="457"/>
                    </a:lnTo>
                    <a:lnTo>
                      <a:pt x="585" y="478"/>
                    </a:lnTo>
                    <a:lnTo>
                      <a:pt x="582" y="492"/>
                    </a:lnTo>
                    <a:lnTo>
                      <a:pt x="578" y="495"/>
                    </a:lnTo>
                    <a:lnTo>
                      <a:pt x="574" y="497"/>
                    </a:lnTo>
                    <a:lnTo>
                      <a:pt x="568" y="501"/>
                    </a:lnTo>
                    <a:lnTo>
                      <a:pt x="555" y="507"/>
                    </a:lnTo>
                    <a:lnTo>
                      <a:pt x="537" y="511"/>
                    </a:lnTo>
                    <a:lnTo>
                      <a:pt x="518" y="453"/>
                    </a:lnTo>
                    <a:lnTo>
                      <a:pt x="503" y="432"/>
                    </a:lnTo>
                    <a:lnTo>
                      <a:pt x="480" y="407"/>
                    </a:lnTo>
                    <a:lnTo>
                      <a:pt x="457" y="388"/>
                    </a:lnTo>
                    <a:lnTo>
                      <a:pt x="441" y="380"/>
                    </a:lnTo>
                    <a:lnTo>
                      <a:pt x="428" y="376"/>
                    </a:lnTo>
                    <a:lnTo>
                      <a:pt x="422" y="374"/>
                    </a:lnTo>
                    <a:lnTo>
                      <a:pt x="345" y="355"/>
                    </a:lnTo>
                    <a:lnTo>
                      <a:pt x="326" y="348"/>
                    </a:lnTo>
                    <a:lnTo>
                      <a:pt x="295" y="321"/>
                    </a:lnTo>
                    <a:lnTo>
                      <a:pt x="278" y="309"/>
                    </a:lnTo>
                    <a:lnTo>
                      <a:pt x="263" y="299"/>
                    </a:lnTo>
                    <a:lnTo>
                      <a:pt x="253" y="294"/>
                    </a:lnTo>
                    <a:lnTo>
                      <a:pt x="196" y="267"/>
                    </a:lnTo>
                    <a:lnTo>
                      <a:pt x="190" y="263"/>
                    </a:lnTo>
                    <a:lnTo>
                      <a:pt x="163" y="250"/>
                    </a:lnTo>
                    <a:lnTo>
                      <a:pt x="86" y="230"/>
                    </a:lnTo>
                    <a:lnTo>
                      <a:pt x="67" y="219"/>
                    </a:lnTo>
                    <a:lnTo>
                      <a:pt x="48" y="207"/>
                    </a:lnTo>
                    <a:lnTo>
                      <a:pt x="34" y="192"/>
                    </a:lnTo>
                    <a:lnTo>
                      <a:pt x="30" y="190"/>
                    </a:lnTo>
                    <a:lnTo>
                      <a:pt x="0" y="155"/>
                    </a:lnTo>
                    <a:lnTo>
                      <a:pt x="4" y="152"/>
                    </a:lnTo>
                    <a:lnTo>
                      <a:pt x="9" y="153"/>
                    </a:lnTo>
                    <a:lnTo>
                      <a:pt x="17" y="140"/>
                    </a:lnTo>
                    <a:lnTo>
                      <a:pt x="25" y="113"/>
                    </a:lnTo>
                    <a:lnTo>
                      <a:pt x="55" y="77"/>
                    </a:lnTo>
                    <a:lnTo>
                      <a:pt x="98" y="38"/>
                    </a:lnTo>
                    <a:lnTo>
                      <a:pt x="123" y="25"/>
                    </a:lnTo>
                    <a:lnTo>
                      <a:pt x="150" y="13"/>
                    </a:lnTo>
                    <a:lnTo>
                      <a:pt x="165" y="9"/>
                    </a:lnTo>
                    <a:lnTo>
                      <a:pt x="165" y="2"/>
                    </a:lnTo>
                    <a:lnTo>
                      <a:pt x="171" y="0"/>
                    </a:lnTo>
                    <a:lnTo>
                      <a:pt x="171" y="2"/>
                    </a:lnTo>
                    <a:lnTo>
                      <a:pt x="173" y="7"/>
                    </a:lnTo>
                    <a:lnTo>
                      <a:pt x="175" y="7"/>
                    </a:lnTo>
                    <a:lnTo>
                      <a:pt x="182" y="9"/>
                    </a:lnTo>
                    <a:lnTo>
                      <a:pt x="213" y="34"/>
                    </a:lnTo>
                    <a:lnTo>
                      <a:pt x="251" y="105"/>
                    </a:lnTo>
                    <a:lnTo>
                      <a:pt x="271" y="117"/>
                    </a:lnTo>
                    <a:lnTo>
                      <a:pt x="322" y="152"/>
                    </a:lnTo>
                    <a:lnTo>
                      <a:pt x="332" y="161"/>
                    </a:lnTo>
                    <a:lnTo>
                      <a:pt x="374" y="184"/>
                    </a:lnTo>
                    <a:lnTo>
                      <a:pt x="416" y="196"/>
                    </a:lnTo>
                    <a:lnTo>
                      <a:pt x="418" y="196"/>
                    </a:lnTo>
                    <a:lnTo>
                      <a:pt x="424" y="196"/>
                    </a:lnTo>
                    <a:lnTo>
                      <a:pt x="426" y="198"/>
                    </a:lnTo>
                    <a:lnTo>
                      <a:pt x="430" y="200"/>
                    </a:lnTo>
                    <a:lnTo>
                      <a:pt x="432" y="200"/>
                    </a:lnTo>
                    <a:lnTo>
                      <a:pt x="434" y="198"/>
                    </a:lnTo>
                    <a:lnTo>
                      <a:pt x="439" y="200"/>
                    </a:lnTo>
                    <a:lnTo>
                      <a:pt x="447" y="202"/>
                    </a:lnTo>
                    <a:lnTo>
                      <a:pt x="457" y="202"/>
                    </a:lnTo>
                    <a:lnTo>
                      <a:pt x="468" y="202"/>
                    </a:lnTo>
                    <a:lnTo>
                      <a:pt x="480" y="203"/>
                    </a:lnTo>
                    <a:lnTo>
                      <a:pt x="493" y="205"/>
                    </a:lnTo>
                    <a:lnTo>
                      <a:pt x="499" y="202"/>
                    </a:lnTo>
                    <a:lnTo>
                      <a:pt x="520" y="200"/>
                    </a:lnTo>
                    <a:lnTo>
                      <a:pt x="532" y="198"/>
                    </a:lnTo>
                    <a:lnTo>
                      <a:pt x="539" y="194"/>
                    </a:lnTo>
                    <a:lnTo>
                      <a:pt x="545" y="196"/>
                    </a:lnTo>
                    <a:lnTo>
                      <a:pt x="551" y="200"/>
                    </a:lnTo>
                    <a:lnTo>
                      <a:pt x="553" y="202"/>
                    </a:lnTo>
                    <a:lnTo>
                      <a:pt x="555" y="202"/>
                    </a:lnTo>
                    <a:lnTo>
                      <a:pt x="559" y="200"/>
                    </a:lnTo>
                    <a:lnTo>
                      <a:pt x="560" y="200"/>
                    </a:lnTo>
                    <a:lnTo>
                      <a:pt x="562" y="198"/>
                    </a:lnTo>
                    <a:lnTo>
                      <a:pt x="564" y="200"/>
                    </a:lnTo>
                    <a:lnTo>
                      <a:pt x="566" y="202"/>
                    </a:lnTo>
                    <a:lnTo>
                      <a:pt x="568" y="205"/>
                    </a:lnTo>
                    <a:lnTo>
                      <a:pt x="574" y="200"/>
                    </a:lnTo>
                    <a:lnTo>
                      <a:pt x="568" y="180"/>
                    </a:lnTo>
                    <a:lnTo>
                      <a:pt x="582" y="175"/>
                    </a:lnTo>
                    <a:lnTo>
                      <a:pt x="624" y="138"/>
                    </a:lnTo>
                    <a:lnTo>
                      <a:pt x="639" y="14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0" name="Freeform 50">
                <a:extLst>
                  <a:ext uri="{FF2B5EF4-FFF2-40B4-BE49-F238E27FC236}">
                    <a16:creationId xmlns:a16="http://schemas.microsoft.com/office/drawing/2014/main" id="{8AE5B61D-C59E-79D1-6C5F-99DA2465C30D}"/>
                  </a:ext>
                </a:extLst>
              </p:cNvPr>
              <p:cNvSpPr>
                <a:spLocks noEditPoints="1"/>
              </p:cNvSpPr>
              <p:nvPr/>
            </p:nvSpPr>
            <p:spPr bwMode="gray">
              <a:xfrm>
                <a:off x="5546978" y="2298825"/>
                <a:ext cx="1934167" cy="881934"/>
              </a:xfrm>
              <a:custGeom>
                <a:avLst/>
                <a:gdLst>
                  <a:gd name="T0" fmla="*/ 1715 w 1715"/>
                  <a:gd name="T1" fmla="*/ 326 h 782"/>
                  <a:gd name="T2" fmla="*/ 1692 w 1715"/>
                  <a:gd name="T3" fmla="*/ 380 h 782"/>
                  <a:gd name="T4" fmla="*/ 1675 w 1715"/>
                  <a:gd name="T5" fmla="*/ 443 h 782"/>
                  <a:gd name="T6" fmla="*/ 1665 w 1715"/>
                  <a:gd name="T7" fmla="*/ 499 h 782"/>
                  <a:gd name="T8" fmla="*/ 1629 w 1715"/>
                  <a:gd name="T9" fmla="*/ 588 h 782"/>
                  <a:gd name="T10" fmla="*/ 1465 w 1715"/>
                  <a:gd name="T11" fmla="*/ 653 h 782"/>
                  <a:gd name="T12" fmla="*/ 1352 w 1715"/>
                  <a:gd name="T13" fmla="*/ 687 h 782"/>
                  <a:gd name="T14" fmla="*/ 1346 w 1715"/>
                  <a:gd name="T15" fmla="*/ 651 h 782"/>
                  <a:gd name="T16" fmla="*/ 1300 w 1715"/>
                  <a:gd name="T17" fmla="*/ 611 h 782"/>
                  <a:gd name="T18" fmla="*/ 1235 w 1715"/>
                  <a:gd name="T19" fmla="*/ 495 h 782"/>
                  <a:gd name="T20" fmla="*/ 1181 w 1715"/>
                  <a:gd name="T21" fmla="*/ 426 h 782"/>
                  <a:gd name="T22" fmla="*/ 1118 w 1715"/>
                  <a:gd name="T23" fmla="*/ 417 h 782"/>
                  <a:gd name="T24" fmla="*/ 1030 w 1715"/>
                  <a:gd name="T25" fmla="*/ 447 h 782"/>
                  <a:gd name="T26" fmla="*/ 1020 w 1715"/>
                  <a:gd name="T27" fmla="*/ 488 h 782"/>
                  <a:gd name="T28" fmla="*/ 999 w 1715"/>
                  <a:gd name="T29" fmla="*/ 486 h 782"/>
                  <a:gd name="T30" fmla="*/ 1080 w 1715"/>
                  <a:gd name="T31" fmla="*/ 603 h 782"/>
                  <a:gd name="T32" fmla="*/ 974 w 1715"/>
                  <a:gd name="T33" fmla="*/ 470 h 782"/>
                  <a:gd name="T34" fmla="*/ 1016 w 1715"/>
                  <a:gd name="T35" fmla="*/ 420 h 782"/>
                  <a:gd name="T36" fmla="*/ 1108 w 1715"/>
                  <a:gd name="T37" fmla="*/ 388 h 782"/>
                  <a:gd name="T38" fmla="*/ 1108 w 1715"/>
                  <a:gd name="T39" fmla="*/ 311 h 782"/>
                  <a:gd name="T40" fmla="*/ 961 w 1715"/>
                  <a:gd name="T41" fmla="*/ 346 h 782"/>
                  <a:gd name="T42" fmla="*/ 895 w 1715"/>
                  <a:gd name="T43" fmla="*/ 184 h 782"/>
                  <a:gd name="T44" fmla="*/ 987 w 1715"/>
                  <a:gd name="T45" fmla="*/ 134 h 782"/>
                  <a:gd name="T46" fmla="*/ 1014 w 1715"/>
                  <a:gd name="T47" fmla="*/ 200 h 782"/>
                  <a:gd name="T48" fmla="*/ 1085 w 1715"/>
                  <a:gd name="T49" fmla="*/ 276 h 782"/>
                  <a:gd name="T50" fmla="*/ 1129 w 1715"/>
                  <a:gd name="T51" fmla="*/ 276 h 782"/>
                  <a:gd name="T52" fmla="*/ 1105 w 1715"/>
                  <a:gd name="T53" fmla="*/ 167 h 782"/>
                  <a:gd name="T54" fmla="*/ 1218 w 1715"/>
                  <a:gd name="T55" fmla="*/ 157 h 782"/>
                  <a:gd name="T56" fmla="*/ 1297 w 1715"/>
                  <a:gd name="T57" fmla="*/ 117 h 782"/>
                  <a:gd name="T58" fmla="*/ 1373 w 1715"/>
                  <a:gd name="T59" fmla="*/ 121 h 782"/>
                  <a:gd name="T60" fmla="*/ 1512 w 1715"/>
                  <a:gd name="T61" fmla="*/ 136 h 782"/>
                  <a:gd name="T62" fmla="*/ 235 w 1715"/>
                  <a:gd name="T63" fmla="*/ 194 h 782"/>
                  <a:gd name="T64" fmla="*/ 329 w 1715"/>
                  <a:gd name="T65" fmla="*/ 249 h 782"/>
                  <a:gd name="T66" fmla="*/ 494 w 1715"/>
                  <a:gd name="T67" fmla="*/ 232 h 782"/>
                  <a:gd name="T68" fmla="*/ 552 w 1715"/>
                  <a:gd name="T69" fmla="*/ 248 h 782"/>
                  <a:gd name="T70" fmla="*/ 642 w 1715"/>
                  <a:gd name="T71" fmla="*/ 234 h 782"/>
                  <a:gd name="T72" fmla="*/ 703 w 1715"/>
                  <a:gd name="T73" fmla="*/ 288 h 782"/>
                  <a:gd name="T74" fmla="*/ 697 w 1715"/>
                  <a:gd name="T75" fmla="*/ 351 h 782"/>
                  <a:gd name="T76" fmla="*/ 617 w 1715"/>
                  <a:gd name="T77" fmla="*/ 361 h 782"/>
                  <a:gd name="T78" fmla="*/ 509 w 1715"/>
                  <a:gd name="T79" fmla="*/ 405 h 782"/>
                  <a:gd name="T80" fmla="*/ 352 w 1715"/>
                  <a:gd name="T81" fmla="*/ 442 h 782"/>
                  <a:gd name="T82" fmla="*/ 267 w 1715"/>
                  <a:gd name="T83" fmla="*/ 376 h 782"/>
                  <a:gd name="T84" fmla="*/ 187 w 1715"/>
                  <a:gd name="T85" fmla="*/ 313 h 782"/>
                  <a:gd name="T86" fmla="*/ 89 w 1715"/>
                  <a:gd name="T87" fmla="*/ 271 h 782"/>
                  <a:gd name="T88" fmla="*/ 10 w 1715"/>
                  <a:gd name="T89" fmla="*/ 207 h 782"/>
                  <a:gd name="T90" fmla="*/ 66 w 1715"/>
                  <a:gd name="T91" fmla="*/ 153 h 782"/>
                  <a:gd name="T92" fmla="*/ 1383 w 1715"/>
                  <a:gd name="T93" fmla="*/ 84 h 782"/>
                  <a:gd name="T94" fmla="*/ 1283 w 1715"/>
                  <a:gd name="T95" fmla="*/ 59 h 782"/>
                  <a:gd name="T96" fmla="*/ 1128 w 1715"/>
                  <a:gd name="T97" fmla="*/ 55 h 782"/>
                  <a:gd name="T98" fmla="*/ 1020 w 1715"/>
                  <a:gd name="T99" fmla="*/ 77 h 782"/>
                  <a:gd name="T100" fmla="*/ 1045 w 1715"/>
                  <a:gd name="T101" fmla="*/ 44 h 782"/>
                  <a:gd name="T102" fmla="*/ 1281 w 1715"/>
                  <a:gd name="T103" fmla="*/ 782 h 782"/>
                  <a:gd name="T104" fmla="*/ 1183 w 1715"/>
                  <a:gd name="T105" fmla="*/ 684 h 782"/>
                  <a:gd name="T106" fmla="*/ 285 w 1715"/>
                  <a:gd name="T107" fmla="*/ 442 h 782"/>
                  <a:gd name="T108" fmla="*/ 233 w 1715"/>
                  <a:gd name="T109" fmla="*/ 365 h 782"/>
                  <a:gd name="T110" fmla="*/ 1093 w 1715"/>
                  <a:gd name="T111" fmla="*/ 522 h 782"/>
                  <a:gd name="T112" fmla="*/ 1097 w 1715"/>
                  <a:gd name="T113" fmla="*/ 559 h 782"/>
                  <a:gd name="T114" fmla="*/ 1076 w 1715"/>
                  <a:gd name="T115" fmla="*/ 561 h 782"/>
                  <a:gd name="T116" fmla="*/ 1087 w 1715"/>
                  <a:gd name="T117" fmla="*/ 530 h 782"/>
                  <a:gd name="T118" fmla="*/ 1035 w 1715"/>
                  <a:gd name="T119" fmla="*/ 49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5" h="782">
                    <a:moveTo>
                      <a:pt x="1512" y="136"/>
                    </a:moveTo>
                    <a:lnTo>
                      <a:pt x="1537" y="142"/>
                    </a:lnTo>
                    <a:lnTo>
                      <a:pt x="1577" y="169"/>
                    </a:lnTo>
                    <a:lnTo>
                      <a:pt x="1617" y="201"/>
                    </a:lnTo>
                    <a:lnTo>
                      <a:pt x="1658" y="230"/>
                    </a:lnTo>
                    <a:lnTo>
                      <a:pt x="1682" y="257"/>
                    </a:lnTo>
                    <a:lnTo>
                      <a:pt x="1696" y="292"/>
                    </a:lnTo>
                    <a:lnTo>
                      <a:pt x="1707" y="311"/>
                    </a:lnTo>
                    <a:lnTo>
                      <a:pt x="1715" y="326"/>
                    </a:lnTo>
                    <a:lnTo>
                      <a:pt x="1713" y="336"/>
                    </a:lnTo>
                    <a:lnTo>
                      <a:pt x="1709" y="346"/>
                    </a:lnTo>
                    <a:lnTo>
                      <a:pt x="1700" y="349"/>
                    </a:lnTo>
                    <a:lnTo>
                      <a:pt x="1694" y="353"/>
                    </a:lnTo>
                    <a:lnTo>
                      <a:pt x="1692" y="359"/>
                    </a:lnTo>
                    <a:lnTo>
                      <a:pt x="1696" y="365"/>
                    </a:lnTo>
                    <a:lnTo>
                      <a:pt x="1692" y="369"/>
                    </a:lnTo>
                    <a:lnTo>
                      <a:pt x="1690" y="374"/>
                    </a:lnTo>
                    <a:lnTo>
                      <a:pt x="1692" y="380"/>
                    </a:lnTo>
                    <a:lnTo>
                      <a:pt x="1688" y="388"/>
                    </a:lnTo>
                    <a:lnTo>
                      <a:pt x="1686" y="394"/>
                    </a:lnTo>
                    <a:lnTo>
                      <a:pt x="1686" y="405"/>
                    </a:lnTo>
                    <a:lnTo>
                      <a:pt x="1681" y="411"/>
                    </a:lnTo>
                    <a:lnTo>
                      <a:pt x="1682" y="420"/>
                    </a:lnTo>
                    <a:lnTo>
                      <a:pt x="1679" y="424"/>
                    </a:lnTo>
                    <a:lnTo>
                      <a:pt x="1675" y="432"/>
                    </a:lnTo>
                    <a:lnTo>
                      <a:pt x="1679" y="440"/>
                    </a:lnTo>
                    <a:lnTo>
                      <a:pt x="1675" y="443"/>
                    </a:lnTo>
                    <a:lnTo>
                      <a:pt x="1671" y="449"/>
                    </a:lnTo>
                    <a:lnTo>
                      <a:pt x="1673" y="457"/>
                    </a:lnTo>
                    <a:lnTo>
                      <a:pt x="1673" y="463"/>
                    </a:lnTo>
                    <a:lnTo>
                      <a:pt x="1669" y="467"/>
                    </a:lnTo>
                    <a:lnTo>
                      <a:pt x="1667" y="472"/>
                    </a:lnTo>
                    <a:lnTo>
                      <a:pt x="1667" y="482"/>
                    </a:lnTo>
                    <a:lnTo>
                      <a:pt x="1663" y="488"/>
                    </a:lnTo>
                    <a:lnTo>
                      <a:pt x="1663" y="492"/>
                    </a:lnTo>
                    <a:lnTo>
                      <a:pt x="1665" y="499"/>
                    </a:lnTo>
                    <a:lnTo>
                      <a:pt x="1661" y="507"/>
                    </a:lnTo>
                    <a:lnTo>
                      <a:pt x="1659" y="515"/>
                    </a:lnTo>
                    <a:lnTo>
                      <a:pt x="1659" y="530"/>
                    </a:lnTo>
                    <a:lnTo>
                      <a:pt x="1658" y="540"/>
                    </a:lnTo>
                    <a:lnTo>
                      <a:pt x="1667" y="541"/>
                    </a:lnTo>
                    <a:lnTo>
                      <a:pt x="1663" y="559"/>
                    </a:lnTo>
                    <a:lnTo>
                      <a:pt x="1658" y="574"/>
                    </a:lnTo>
                    <a:lnTo>
                      <a:pt x="1652" y="582"/>
                    </a:lnTo>
                    <a:lnTo>
                      <a:pt x="1629" y="588"/>
                    </a:lnTo>
                    <a:lnTo>
                      <a:pt x="1623" y="588"/>
                    </a:lnTo>
                    <a:lnTo>
                      <a:pt x="1621" y="589"/>
                    </a:lnTo>
                    <a:lnTo>
                      <a:pt x="1602" y="599"/>
                    </a:lnTo>
                    <a:lnTo>
                      <a:pt x="1583" y="605"/>
                    </a:lnTo>
                    <a:lnTo>
                      <a:pt x="1556" y="613"/>
                    </a:lnTo>
                    <a:lnTo>
                      <a:pt x="1535" y="622"/>
                    </a:lnTo>
                    <a:lnTo>
                      <a:pt x="1523" y="634"/>
                    </a:lnTo>
                    <a:lnTo>
                      <a:pt x="1498" y="639"/>
                    </a:lnTo>
                    <a:lnTo>
                      <a:pt x="1465" y="653"/>
                    </a:lnTo>
                    <a:lnTo>
                      <a:pt x="1450" y="662"/>
                    </a:lnTo>
                    <a:lnTo>
                      <a:pt x="1437" y="668"/>
                    </a:lnTo>
                    <a:lnTo>
                      <a:pt x="1410" y="674"/>
                    </a:lnTo>
                    <a:lnTo>
                      <a:pt x="1394" y="680"/>
                    </a:lnTo>
                    <a:lnTo>
                      <a:pt x="1379" y="687"/>
                    </a:lnTo>
                    <a:lnTo>
                      <a:pt x="1371" y="697"/>
                    </a:lnTo>
                    <a:lnTo>
                      <a:pt x="1356" y="697"/>
                    </a:lnTo>
                    <a:lnTo>
                      <a:pt x="1352" y="695"/>
                    </a:lnTo>
                    <a:lnTo>
                      <a:pt x="1352" y="687"/>
                    </a:lnTo>
                    <a:lnTo>
                      <a:pt x="1354" y="684"/>
                    </a:lnTo>
                    <a:lnTo>
                      <a:pt x="1358" y="680"/>
                    </a:lnTo>
                    <a:lnTo>
                      <a:pt x="1360" y="676"/>
                    </a:lnTo>
                    <a:lnTo>
                      <a:pt x="1360" y="672"/>
                    </a:lnTo>
                    <a:lnTo>
                      <a:pt x="1354" y="672"/>
                    </a:lnTo>
                    <a:lnTo>
                      <a:pt x="1350" y="668"/>
                    </a:lnTo>
                    <a:lnTo>
                      <a:pt x="1350" y="662"/>
                    </a:lnTo>
                    <a:lnTo>
                      <a:pt x="1350" y="657"/>
                    </a:lnTo>
                    <a:lnTo>
                      <a:pt x="1346" y="651"/>
                    </a:lnTo>
                    <a:lnTo>
                      <a:pt x="1339" y="651"/>
                    </a:lnTo>
                    <a:lnTo>
                      <a:pt x="1331" y="647"/>
                    </a:lnTo>
                    <a:lnTo>
                      <a:pt x="1323" y="638"/>
                    </a:lnTo>
                    <a:lnTo>
                      <a:pt x="1323" y="636"/>
                    </a:lnTo>
                    <a:lnTo>
                      <a:pt x="1323" y="628"/>
                    </a:lnTo>
                    <a:lnTo>
                      <a:pt x="1316" y="624"/>
                    </a:lnTo>
                    <a:lnTo>
                      <a:pt x="1316" y="618"/>
                    </a:lnTo>
                    <a:lnTo>
                      <a:pt x="1308" y="614"/>
                    </a:lnTo>
                    <a:lnTo>
                      <a:pt x="1300" y="611"/>
                    </a:lnTo>
                    <a:lnTo>
                      <a:pt x="1283" y="609"/>
                    </a:lnTo>
                    <a:lnTo>
                      <a:pt x="1281" y="609"/>
                    </a:lnTo>
                    <a:lnTo>
                      <a:pt x="1285" y="603"/>
                    </a:lnTo>
                    <a:lnTo>
                      <a:pt x="1291" y="597"/>
                    </a:lnTo>
                    <a:lnTo>
                      <a:pt x="1291" y="588"/>
                    </a:lnTo>
                    <a:lnTo>
                      <a:pt x="1235" y="513"/>
                    </a:lnTo>
                    <a:lnTo>
                      <a:pt x="1235" y="505"/>
                    </a:lnTo>
                    <a:lnTo>
                      <a:pt x="1239" y="501"/>
                    </a:lnTo>
                    <a:lnTo>
                      <a:pt x="1235" y="495"/>
                    </a:lnTo>
                    <a:lnTo>
                      <a:pt x="1227" y="486"/>
                    </a:lnTo>
                    <a:lnTo>
                      <a:pt x="1222" y="486"/>
                    </a:lnTo>
                    <a:lnTo>
                      <a:pt x="1218" y="493"/>
                    </a:lnTo>
                    <a:lnTo>
                      <a:pt x="1214" y="488"/>
                    </a:lnTo>
                    <a:lnTo>
                      <a:pt x="1206" y="486"/>
                    </a:lnTo>
                    <a:lnTo>
                      <a:pt x="1202" y="480"/>
                    </a:lnTo>
                    <a:lnTo>
                      <a:pt x="1204" y="476"/>
                    </a:lnTo>
                    <a:lnTo>
                      <a:pt x="1195" y="443"/>
                    </a:lnTo>
                    <a:lnTo>
                      <a:pt x="1181" y="426"/>
                    </a:lnTo>
                    <a:lnTo>
                      <a:pt x="1170" y="415"/>
                    </a:lnTo>
                    <a:lnTo>
                      <a:pt x="1160" y="409"/>
                    </a:lnTo>
                    <a:lnTo>
                      <a:pt x="1158" y="403"/>
                    </a:lnTo>
                    <a:lnTo>
                      <a:pt x="1149" y="401"/>
                    </a:lnTo>
                    <a:lnTo>
                      <a:pt x="1141" y="397"/>
                    </a:lnTo>
                    <a:lnTo>
                      <a:pt x="1133" y="397"/>
                    </a:lnTo>
                    <a:lnTo>
                      <a:pt x="1129" y="403"/>
                    </a:lnTo>
                    <a:lnTo>
                      <a:pt x="1124" y="411"/>
                    </a:lnTo>
                    <a:lnTo>
                      <a:pt x="1118" y="417"/>
                    </a:lnTo>
                    <a:lnTo>
                      <a:pt x="1114" y="420"/>
                    </a:lnTo>
                    <a:lnTo>
                      <a:pt x="1105" y="424"/>
                    </a:lnTo>
                    <a:lnTo>
                      <a:pt x="1093" y="430"/>
                    </a:lnTo>
                    <a:lnTo>
                      <a:pt x="1072" y="438"/>
                    </a:lnTo>
                    <a:lnTo>
                      <a:pt x="1060" y="436"/>
                    </a:lnTo>
                    <a:lnTo>
                      <a:pt x="1057" y="434"/>
                    </a:lnTo>
                    <a:lnTo>
                      <a:pt x="1045" y="436"/>
                    </a:lnTo>
                    <a:lnTo>
                      <a:pt x="1035" y="440"/>
                    </a:lnTo>
                    <a:lnTo>
                      <a:pt x="1030" y="447"/>
                    </a:lnTo>
                    <a:lnTo>
                      <a:pt x="1026" y="447"/>
                    </a:lnTo>
                    <a:lnTo>
                      <a:pt x="1022" y="449"/>
                    </a:lnTo>
                    <a:lnTo>
                      <a:pt x="1024" y="453"/>
                    </a:lnTo>
                    <a:lnTo>
                      <a:pt x="1024" y="457"/>
                    </a:lnTo>
                    <a:lnTo>
                      <a:pt x="1026" y="459"/>
                    </a:lnTo>
                    <a:lnTo>
                      <a:pt x="1028" y="467"/>
                    </a:lnTo>
                    <a:lnTo>
                      <a:pt x="1033" y="470"/>
                    </a:lnTo>
                    <a:lnTo>
                      <a:pt x="1035" y="478"/>
                    </a:lnTo>
                    <a:lnTo>
                      <a:pt x="1020" y="488"/>
                    </a:lnTo>
                    <a:lnTo>
                      <a:pt x="1020" y="486"/>
                    </a:lnTo>
                    <a:lnTo>
                      <a:pt x="1010" y="470"/>
                    </a:lnTo>
                    <a:lnTo>
                      <a:pt x="1009" y="470"/>
                    </a:lnTo>
                    <a:lnTo>
                      <a:pt x="1005" y="470"/>
                    </a:lnTo>
                    <a:lnTo>
                      <a:pt x="1003" y="472"/>
                    </a:lnTo>
                    <a:lnTo>
                      <a:pt x="999" y="474"/>
                    </a:lnTo>
                    <a:lnTo>
                      <a:pt x="997" y="476"/>
                    </a:lnTo>
                    <a:lnTo>
                      <a:pt x="999" y="484"/>
                    </a:lnTo>
                    <a:lnTo>
                      <a:pt x="999" y="486"/>
                    </a:lnTo>
                    <a:lnTo>
                      <a:pt x="997" y="486"/>
                    </a:lnTo>
                    <a:lnTo>
                      <a:pt x="993" y="488"/>
                    </a:lnTo>
                    <a:lnTo>
                      <a:pt x="991" y="490"/>
                    </a:lnTo>
                    <a:lnTo>
                      <a:pt x="991" y="492"/>
                    </a:lnTo>
                    <a:lnTo>
                      <a:pt x="1003" y="515"/>
                    </a:lnTo>
                    <a:lnTo>
                      <a:pt x="1020" y="543"/>
                    </a:lnTo>
                    <a:lnTo>
                      <a:pt x="1041" y="566"/>
                    </a:lnTo>
                    <a:lnTo>
                      <a:pt x="1064" y="591"/>
                    </a:lnTo>
                    <a:lnTo>
                      <a:pt x="1080" y="603"/>
                    </a:lnTo>
                    <a:lnTo>
                      <a:pt x="1081" y="603"/>
                    </a:lnTo>
                    <a:lnTo>
                      <a:pt x="1083" y="607"/>
                    </a:lnTo>
                    <a:lnTo>
                      <a:pt x="1081" y="609"/>
                    </a:lnTo>
                    <a:lnTo>
                      <a:pt x="1076" y="609"/>
                    </a:lnTo>
                    <a:lnTo>
                      <a:pt x="1055" y="591"/>
                    </a:lnTo>
                    <a:lnTo>
                      <a:pt x="1037" y="574"/>
                    </a:lnTo>
                    <a:lnTo>
                      <a:pt x="1009" y="540"/>
                    </a:lnTo>
                    <a:lnTo>
                      <a:pt x="985" y="501"/>
                    </a:lnTo>
                    <a:lnTo>
                      <a:pt x="974" y="470"/>
                    </a:lnTo>
                    <a:lnTo>
                      <a:pt x="968" y="455"/>
                    </a:lnTo>
                    <a:lnTo>
                      <a:pt x="962" y="442"/>
                    </a:lnTo>
                    <a:lnTo>
                      <a:pt x="959" y="426"/>
                    </a:lnTo>
                    <a:lnTo>
                      <a:pt x="961" y="420"/>
                    </a:lnTo>
                    <a:lnTo>
                      <a:pt x="966" y="417"/>
                    </a:lnTo>
                    <a:lnTo>
                      <a:pt x="997" y="417"/>
                    </a:lnTo>
                    <a:lnTo>
                      <a:pt x="1003" y="419"/>
                    </a:lnTo>
                    <a:lnTo>
                      <a:pt x="1007" y="420"/>
                    </a:lnTo>
                    <a:lnTo>
                      <a:pt x="1016" y="420"/>
                    </a:lnTo>
                    <a:lnTo>
                      <a:pt x="1018" y="419"/>
                    </a:lnTo>
                    <a:lnTo>
                      <a:pt x="1060" y="419"/>
                    </a:lnTo>
                    <a:lnTo>
                      <a:pt x="1074" y="419"/>
                    </a:lnTo>
                    <a:lnTo>
                      <a:pt x="1091" y="413"/>
                    </a:lnTo>
                    <a:lnTo>
                      <a:pt x="1105" y="403"/>
                    </a:lnTo>
                    <a:lnTo>
                      <a:pt x="1106" y="397"/>
                    </a:lnTo>
                    <a:lnTo>
                      <a:pt x="1112" y="395"/>
                    </a:lnTo>
                    <a:lnTo>
                      <a:pt x="1114" y="394"/>
                    </a:lnTo>
                    <a:lnTo>
                      <a:pt x="1108" y="388"/>
                    </a:lnTo>
                    <a:lnTo>
                      <a:pt x="1105" y="386"/>
                    </a:lnTo>
                    <a:lnTo>
                      <a:pt x="1101" y="380"/>
                    </a:lnTo>
                    <a:lnTo>
                      <a:pt x="1099" y="376"/>
                    </a:lnTo>
                    <a:lnTo>
                      <a:pt x="1097" y="367"/>
                    </a:lnTo>
                    <a:lnTo>
                      <a:pt x="1099" y="359"/>
                    </a:lnTo>
                    <a:lnTo>
                      <a:pt x="1099" y="351"/>
                    </a:lnTo>
                    <a:lnTo>
                      <a:pt x="1114" y="321"/>
                    </a:lnTo>
                    <a:lnTo>
                      <a:pt x="1118" y="313"/>
                    </a:lnTo>
                    <a:lnTo>
                      <a:pt x="1108" y="311"/>
                    </a:lnTo>
                    <a:lnTo>
                      <a:pt x="1097" y="309"/>
                    </a:lnTo>
                    <a:lnTo>
                      <a:pt x="1087" y="313"/>
                    </a:lnTo>
                    <a:lnTo>
                      <a:pt x="1081" y="317"/>
                    </a:lnTo>
                    <a:lnTo>
                      <a:pt x="1074" y="328"/>
                    </a:lnTo>
                    <a:lnTo>
                      <a:pt x="1062" y="342"/>
                    </a:lnTo>
                    <a:lnTo>
                      <a:pt x="1051" y="347"/>
                    </a:lnTo>
                    <a:lnTo>
                      <a:pt x="1037" y="349"/>
                    </a:lnTo>
                    <a:lnTo>
                      <a:pt x="974" y="346"/>
                    </a:lnTo>
                    <a:lnTo>
                      <a:pt x="961" y="346"/>
                    </a:lnTo>
                    <a:lnTo>
                      <a:pt x="943" y="342"/>
                    </a:lnTo>
                    <a:lnTo>
                      <a:pt x="930" y="332"/>
                    </a:lnTo>
                    <a:lnTo>
                      <a:pt x="922" y="321"/>
                    </a:lnTo>
                    <a:lnTo>
                      <a:pt x="905" y="267"/>
                    </a:lnTo>
                    <a:lnTo>
                      <a:pt x="895" y="244"/>
                    </a:lnTo>
                    <a:lnTo>
                      <a:pt x="891" y="226"/>
                    </a:lnTo>
                    <a:lnTo>
                      <a:pt x="891" y="211"/>
                    </a:lnTo>
                    <a:lnTo>
                      <a:pt x="891" y="196"/>
                    </a:lnTo>
                    <a:lnTo>
                      <a:pt x="895" y="184"/>
                    </a:lnTo>
                    <a:lnTo>
                      <a:pt x="905" y="169"/>
                    </a:lnTo>
                    <a:lnTo>
                      <a:pt x="922" y="151"/>
                    </a:lnTo>
                    <a:lnTo>
                      <a:pt x="936" y="138"/>
                    </a:lnTo>
                    <a:lnTo>
                      <a:pt x="949" y="128"/>
                    </a:lnTo>
                    <a:lnTo>
                      <a:pt x="957" y="123"/>
                    </a:lnTo>
                    <a:lnTo>
                      <a:pt x="964" y="121"/>
                    </a:lnTo>
                    <a:lnTo>
                      <a:pt x="974" y="125"/>
                    </a:lnTo>
                    <a:lnTo>
                      <a:pt x="982" y="132"/>
                    </a:lnTo>
                    <a:lnTo>
                      <a:pt x="987" y="134"/>
                    </a:lnTo>
                    <a:lnTo>
                      <a:pt x="989" y="144"/>
                    </a:lnTo>
                    <a:lnTo>
                      <a:pt x="989" y="151"/>
                    </a:lnTo>
                    <a:lnTo>
                      <a:pt x="982" y="148"/>
                    </a:lnTo>
                    <a:lnTo>
                      <a:pt x="982" y="155"/>
                    </a:lnTo>
                    <a:lnTo>
                      <a:pt x="999" y="176"/>
                    </a:lnTo>
                    <a:lnTo>
                      <a:pt x="1005" y="184"/>
                    </a:lnTo>
                    <a:lnTo>
                      <a:pt x="1010" y="186"/>
                    </a:lnTo>
                    <a:lnTo>
                      <a:pt x="1010" y="192"/>
                    </a:lnTo>
                    <a:lnTo>
                      <a:pt x="1014" y="200"/>
                    </a:lnTo>
                    <a:lnTo>
                      <a:pt x="1022" y="209"/>
                    </a:lnTo>
                    <a:lnTo>
                      <a:pt x="1033" y="211"/>
                    </a:lnTo>
                    <a:lnTo>
                      <a:pt x="1047" y="219"/>
                    </a:lnTo>
                    <a:lnTo>
                      <a:pt x="1055" y="223"/>
                    </a:lnTo>
                    <a:lnTo>
                      <a:pt x="1064" y="230"/>
                    </a:lnTo>
                    <a:lnTo>
                      <a:pt x="1066" y="240"/>
                    </a:lnTo>
                    <a:lnTo>
                      <a:pt x="1074" y="249"/>
                    </a:lnTo>
                    <a:lnTo>
                      <a:pt x="1080" y="261"/>
                    </a:lnTo>
                    <a:lnTo>
                      <a:pt x="1085" y="276"/>
                    </a:lnTo>
                    <a:lnTo>
                      <a:pt x="1089" y="288"/>
                    </a:lnTo>
                    <a:lnTo>
                      <a:pt x="1085" y="299"/>
                    </a:lnTo>
                    <a:lnTo>
                      <a:pt x="1097" y="299"/>
                    </a:lnTo>
                    <a:lnTo>
                      <a:pt x="1108" y="297"/>
                    </a:lnTo>
                    <a:lnTo>
                      <a:pt x="1118" y="301"/>
                    </a:lnTo>
                    <a:lnTo>
                      <a:pt x="1126" y="301"/>
                    </a:lnTo>
                    <a:lnTo>
                      <a:pt x="1129" y="297"/>
                    </a:lnTo>
                    <a:lnTo>
                      <a:pt x="1131" y="292"/>
                    </a:lnTo>
                    <a:lnTo>
                      <a:pt x="1129" y="276"/>
                    </a:lnTo>
                    <a:lnTo>
                      <a:pt x="1122" y="255"/>
                    </a:lnTo>
                    <a:lnTo>
                      <a:pt x="1112" y="240"/>
                    </a:lnTo>
                    <a:lnTo>
                      <a:pt x="1110" y="232"/>
                    </a:lnTo>
                    <a:lnTo>
                      <a:pt x="1106" y="224"/>
                    </a:lnTo>
                    <a:lnTo>
                      <a:pt x="1108" y="215"/>
                    </a:lnTo>
                    <a:lnTo>
                      <a:pt x="1105" y="198"/>
                    </a:lnTo>
                    <a:lnTo>
                      <a:pt x="1105" y="180"/>
                    </a:lnTo>
                    <a:lnTo>
                      <a:pt x="1103" y="175"/>
                    </a:lnTo>
                    <a:lnTo>
                      <a:pt x="1105" y="167"/>
                    </a:lnTo>
                    <a:lnTo>
                      <a:pt x="1110" y="163"/>
                    </a:lnTo>
                    <a:lnTo>
                      <a:pt x="1116" y="159"/>
                    </a:lnTo>
                    <a:lnTo>
                      <a:pt x="1126" y="169"/>
                    </a:lnTo>
                    <a:lnTo>
                      <a:pt x="1141" y="171"/>
                    </a:lnTo>
                    <a:lnTo>
                      <a:pt x="1158" y="171"/>
                    </a:lnTo>
                    <a:lnTo>
                      <a:pt x="1170" y="171"/>
                    </a:lnTo>
                    <a:lnTo>
                      <a:pt x="1185" y="175"/>
                    </a:lnTo>
                    <a:lnTo>
                      <a:pt x="1204" y="165"/>
                    </a:lnTo>
                    <a:lnTo>
                      <a:pt x="1218" y="157"/>
                    </a:lnTo>
                    <a:lnTo>
                      <a:pt x="1227" y="148"/>
                    </a:lnTo>
                    <a:lnTo>
                      <a:pt x="1235" y="140"/>
                    </a:lnTo>
                    <a:lnTo>
                      <a:pt x="1239" y="128"/>
                    </a:lnTo>
                    <a:lnTo>
                      <a:pt x="1254" y="111"/>
                    </a:lnTo>
                    <a:lnTo>
                      <a:pt x="1252" y="100"/>
                    </a:lnTo>
                    <a:lnTo>
                      <a:pt x="1268" y="103"/>
                    </a:lnTo>
                    <a:lnTo>
                      <a:pt x="1277" y="111"/>
                    </a:lnTo>
                    <a:lnTo>
                      <a:pt x="1285" y="117"/>
                    </a:lnTo>
                    <a:lnTo>
                      <a:pt x="1297" y="117"/>
                    </a:lnTo>
                    <a:lnTo>
                      <a:pt x="1300" y="123"/>
                    </a:lnTo>
                    <a:lnTo>
                      <a:pt x="1304" y="117"/>
                    </a:lnTo>
                    <a:lnTo>
                      <a:pt x="1316" y="119"/>
                    </a:lnTo>
                    <a:lnTo>
                      <a:pt x="1325" y="121"/>
                    </a:lnTo>
                    <a:lnTo>
                      <a:pt x="1333" y="128"/>
                    </a:lnTo>
                    <a:lnTo>
                      <a:pt x="1343" y="128"/>
                    </a:lnTo>
                    <a:lnTo>
                      <a:pt x="1356" y="136"/>
                    </a:lnTo>
                    <a:lnTo>
                      <a:pt x="1360" y="127"/>
                    </a:lnTo>
                    <a:lnTo>
                      <a:pt x="1373" y="121"/>
                    </a:lnTo>
                    <a:lnTo>
                      <a:pt x="1381" y="113"/>
                    </a:lnTo>
                    <a:lnTo>
                      <a:pt x="1381" y="105"/>
                    </a:lnTo>
                    <a:lnTo>
                      <a:pt x="1393" y="96"/>
                    </a:lnTo>
                    <a:lnTo>
                      <a:pt x="1414" y="96"/>
                    </a:lnTo>
                    <a:lnTo>
                      <a:pt x="1429" y="98"/>
                    </a:lnTo>
                    <a:lnTo>
                      <a:pt x="1439" y="103"/>
                    </a:lnTo>
                    <a:lnTo>
                      <a:pt x="1467" y="115"/>
                    </a:lnTo>
                    <a:lnTo>
                      <a:pt x="1490" y="127"/>
                    </a:lnTo>
                    <a:lnTo>
                      <a:pt x="1512" y="136"/>
                    </a:lnTo>
                    <a:close/>
                    <a:moveTo>
                      <a:pt x="85" y="138"/>
                    </a:moveTo>
                    <a:lnTo>
                      <a:pt x="97" y="144"/>
                    </a:lnTo>
                    <a:lnTo>
                      <a:pt x="104" y="144"/>
                    </a:lnTo>
                    <a:lnTo>
                      <a:pt x="114" y="151"/>
                    </a:lnTo>
                    <a:lnTo>
                      <a:pt x="129" y="153"/>
                    </a:lnTo>
                    <a:lnTo>
                      <a:pt x="200" y="184"/>
                    </a:lnTo>
                    <a:lnTo>
                      <a:pt x="208" y="180"/>
                    </a:lnTo>
                    <a:lnTo>
                      <a:pt x="229" y="194"/>
                    </a:lnTo>
                    <a:lnTo>
                      <a:pt x="235" y="194"/>
                    </a:lnTo>
                    <a:lnTo>
                      <a:pt x="246" y="205"/>
                    </a:lnTo>
                    <a:lnTo>
                      <a:pt x="246" y="219"/>
                    </a:lnTo>
                    <a:lnTo>
                      <a:pt x="265" y="226"/>
                    </a:lnTo>
                    <a:lnTo>
                      <a:pt x="294" y="234"/>
                    </a:lnTo>
                    <a:lnTo>
                      <a:pt x="308" y="230"/>
                    </a:lnTo>
                    <a:lnTo>
                      <a:pt x="317" y="234"/>
                    </a:lnTo>
                    <a:lnTo>
                      <a:pt x="319" y="242"/>
                    </a:lnTo>
                    <a:lnTo>
                      <a:pt x="329" y="244"/>
                    </a:lnTo>
                    <a:lnTo>
                      <a:pt x="329" y="249"/>
                    </a:lnTo>
                    <a:lnTo>
                      <a:pt x="383" y="251"/>
                    </a:lnTo>
                    <a:lnTo>
                      <a:pt x="402" y="240"/>
                    </a:lnTo>
                    <a:lnTo>
                      <a:pt x="425" y="236"/>
                    </a:lnTo>
                    <a:lnTo>
                      <a:pt x="446" y="232"/>
                    </a:lnTo>
                    <a:lnTo>
                      <a:pt x="452" y="230"/>
                    </a:lnTo>
                    <a:lnTo>
                      <a:pt x="463" y="234"/>
                    </a:lnTo>
                    <a:lnTo>
                      <a:pt x="479" y="226"/>
                    </a:lnTo>
                    <a:lnTo>
                      <a:pt x="482" y="230"/>
                    </a:lnTo>
                    <a:lnTo>
                      <a:pt x="494" y="232"/>
                    </a:lnTo>
                    <a:lnTo>
                      <a:pt x="502" y="232"/>
                    </a:lnTo>
                    <a:lnTo>
                      <a:pt x="511" y="234"/>
                    </a:lnTo>
                    <a:lnTo>
                      <a:pt x="517" y="242"/>
                    </a:lnTo>
                    <a:lnTo>
                      <a:pt x="523" y="244"/>
                    </a:lnTo>
                    <a:lnTo>
                      <a:pt x="527" y="244"/>
                    </a:lnTo>
                    <a:lnTo>
                      <a:pt x="532" y="240"/>
                    </a:lnTo>
                    <a:lnTo>
                      <a:pt x="542" y="244"/>
                    </a:lnTo>
                    <a:lnTo>
                      <a:pt x="546" y="244"/>
                    </a:lnTo>
                    <a:lnTo>
                      <a:pt x="552" y="248"/>
                    </a:lnTo>
                    <a:lnTo>
                      <a:pt x="565" y="251"/>
                    </a:lnTo>
                    <a:lnTo>
                      <a:pt x="573" y="253"/>
                    </a:lnTo>
                    <a:lnTo>
                      <a:pt x="582" y="246"/>
                    </a:lnTo>
                    <a:lnTo>
                      <a:pt x="598" y="244"/>
                    </a:lnTo>
                    <a:lnTo>
                      <a:pt x="603" y="249"/>
                    </a:lnTo>
                    <a:lnTo>
                      <a:pt x="611" y="249"/>
                    </a:lnTo>
                    <a:lnTo>
                      <a:pt x="623" y="242"/>
                    </a:lnTo>
                    <a:lnTo>
                      <a:pt x="632" y="242"/>
                    </a:lnTo>
                    <a:lnTo>
                      <a:pt x="642" y="234"/>
                    </a:lnTo>
                    <a:lnTo>
                      <a:pt x="649" y="242"/>
                    </a:lnTo>
                    <a:lnTo>
                      <a:pt x="655" y="244"/>
                    </a:lnTo>
                    <a:lnTo>
                      <a:pt x="661" y="240"/>
                    </a:lnTo>
                    <a:lnTo>
                      <a:pt x="684" y="246"/>
                    </a:lnTo>
                    <a:lnTo>
                      <a:pt x="701" y="259"/>
                    </a:lnTo>
                    <a:lnTo>
                      <a:pt x="703" y="265"/>
                    </a:lnTo>
                    <a:lnTo>
                      <a:pt x="703" y="273"/>
                    </a:lnTo>
                    <a:lnTo>
                      <a:pt x="709" y="278"/>
                    </a:lnTo>
                    <a:lnTo>
                      <a:pt x="703" y="288"/>
                    </a:lnTo>
                    <a:lnTo>
                      <a:pt x="701" y="301"/>
                    </a:lnTo>
                    <a:lnTo>
                      <a:pt x="697" y="313"/>
                    </a:lnTo>
                    <a:lnTo>
                      <a:pt x="692" y="321"/>
                    </a:lnTo>
                    <a:lnTo>
                      <a:pt x="696" y="328"/>
                    </a:lnTo>
                    <a:lnTo>
                      <a:pt x="694" y="338"/>
                    </a:lnTo>
                    <a:lnTo>
                      <a:pt x="703" y="340"/>
                    </a:lnTo>
                    <a:lnTo>
                      <a:pt x="711" y="351"/>
                    </a:lnTo>
                    <a:lnTo>
                      <a:pt x="705" y="357"/>
                    </a:lnTo>
                    <a:lnTo>
                      <a:pt x="697" y="351"/>
                    </a:lnTo>
                    <a:lnTo>
                      <a:pt x="692" y="355"/>
                    </a:lnTo>
                    <a:lnTo>
                      <a:pt x="686" y="353"/>
                    </a:lnTo>
                    <a:lnTo>
                      <a:pt x="678" y="353"/>
                    </a:lnTo>
                    <a:lnTo>
                      <a:pt x="674" y="361"/>
                    </a:lnTo>
                    <a:lnTo>
                      <a:pt x="661" y="359"/>
                    </a:lnTo>
                    <a:lnTo>
                      <a:pt x="646" y="359"/>
                    </a:lnTo>
                    <a:lnTo>
                      <a:pt x="634" y="363"/>
                    </a:lnTo>
                    <a:lnTo>
                      <a:pt x="623" y="367"/>
                    </a:lnTo>
                    <a:lnTo>
                      <a:pt x="617" y="361"/>
                    </a:lnTo>
                    <a:lnTo>
                      <a:pt x="609" y="359"/>
                    </a:lnTo>
                    <a:lnTo>
                      <a:pt x="598" y="363"/>
                    </a:lnTo>
                    <a:lnTo>
                      <a:pt x="586" y="363"/>
                    </a:lnTo>
                    <a:lnTo>
                      <a:pt x="565" y="365"/>
                    </a:lnTo>
                    <a:lnTo>
                      <a:pt x="546" y="369"/>
                    </a:lnTo>
                    <a:lnTo>
                      <a:pt x="530" y="376"/>
                    </a:lnTo>
                    <a:lnTo>
                      <a:pt x="521" y="386"/>
                    </a:lnTo>
                    <a:lnTo>
                      <a:pt x="517" y="395"/>
                    </a:lnTo>
                    <a:lnTo>
                      <a:pt x="509" y="405"/>
                    </a:lnTo>
                    <a:lnTo>
                      <a:pt x="502" y="403"/>
                    </a:lnTo>
                    <a:lnTo>
                      <a:pt x="482" y="417"/>
                    </a:lnTo>
                    <a:lnTo>
                      <a:pt x="467" y="413"/>
                    </a:lnTo>
                    <a:lnTo>
                      <a:pt x="456" y="424"/>
                    </a:lnTo>
                    <a:lnTo>
                      <a:pt x="442" y="430"/>
                    </a:lnTo>
                    <a:lnTo>
                      <a:pt x="419" y="428"/>
                    </a:lnTo>
                    <a:lnTo>
                      <a:pt x="390" y="440"/>
                    </a:lnTo>
                    <a:lnTo>
                      <a:pt x="361" y="443"/>
                    </a:lnTo>
                    <a:lnTo>
                      <a:pt x="352" y="442"/>
                    </a:lnTo>
                    <a:lnTo>
                      <a:pt x="346" y="445"/>
                    </a:lnTo>
                    <a:lnTo>
                      <a:pt x="335" y="422"/>
                    </a:lnTo>
                    <a:lnTo>
                      <a:pt x="319" y="409"/>
                    </a:lnTo>
                    <a:lnTo>
                      <a:pt x="312" y="395"/>
                    </a:lnTo>
                    <a:lnTo>
                      <a:pt x="296" y="380"/>
                    </a:lnTo>
                    <a:lnTo>
                      <a:pt x="290" y="376"/>
                    </a:lnTo>
                    <a:lnTo>
                      <a:pt x="285" y="374"/>
                    </a:lnTo>
                    <a:lnTo>
                      <a:pt x="275" y="378"/>
                    </a:lnTo>
                    <a:lnTo>
                      <a:pt x="267" y="376"/>
                    </a:lnTo>
                    <a:lnTo>
                      <a:pt x="260" y="370"/>
                    </a:lnTo>
                    <a:lnTo>
                      <a:pt x="250" y="357"/>
                    </a:lnTo>
                    <a:lnTo>
                      <a:pt x="244" y="346"/>
                    </a:lnTo>
                    <a:lnTo>
                      <a:pt x="241" y="336"/>
                    </a:lnTo>
                    <a:lnTo>
                      <a:pt x="229" y="334"/>
                    </a:lnTo>
                    <a:lnTo>
                      <a:pt x="216" y="328"/>
                    </a:lnTo>
                    <a:lnTo>
                      <a:pt x="208" y="319"/>
                    </a:lnTo>
                    <a:lnTo>
                      <a:pt x="196" y="321"/>
                    </a:lnTo>
                    <a:lnTo>
                      <a:pt x="187" y="313"/>
                    </a:lnTo>
                    <a:lnTo>
                      <a:pt x="175" y="307"/>
                    </a:lnTo>
                    <a:lnTo>
                      <a:pt x="160" y="301"/>
                    </a:lnTo>
                    <a:lnTo>
                      <a:pt x="160" y="296"/>
                    </a:lnTo>
                    <a:lnTo>
                      <a:pt x="150" y="286"/>
                    </a:lnTo>
                    <a:lnTo>
                      <a:pt x="141" y="280"/>
                    </a:lnTo>
                    <a:lnTo>
                      <a:pt x="131" y="278"/>
                    </a:lnTo>
                    <a:lnTo>
                      <a:pt x="120" y="274"/>
                    </a:lnTo>
                    <a:lnTo>
                      <a:pt x="104" y="273"/>
                    </a:lnTo>
                    <a:lnTo>
                      <a:pt x="89" y="271"/>
                    </a:lnTo>
                    <a:lnTo>
                      <a:pt x="85" y="265"/>
                    </a:lnTo>
                    <a:lnTo>
                      <a:pt x="81" y="251"/>
                    </a:lnTo>
                    <a:lnTo>
                      <a:pt x="77" y="249"/>
                    </a:lnTo>
                    <a:lnTo>
                      <a:pt x="66" y="251"/>
                    </a:lnTo>
                    <a:lnTo>
                      <a:pt x="52" y="255"/>
                    </a:lnTo>
                    <a:lnTo>
                      <a:pt x="43" y="246"/>
                    </a:lnTo>
                    <a:lnTo>
                      <a:pt x="31" y="240"/>
                    </a:lnTo>
                    <a:lnTo>
                      <a:pt x="14" y="213"/>
                    </a:lnTo>
                    <a:lnTo>
                      <a:pt x="10" y="207"/>
                    </a:lnTo>
                    <a:lnTo>
                      <a:pt x="0" y="198"/>
                    </a:lnTo>
                    <a:lnTo>
                      <a:pt x="6" y="192"/>
                    </a:lnTo>
                    <a:lnTo>
                      <a:pt x="4" y="184"/>
                    </a:lnTo>
                    <a:lnTo>
                      <a:pt x="22" y="182"/>
                    </a:lnTo>
                    <a:lnTo>
                      <a:pt x="37" y="176"/>
                    </a:lnTo>
                    <a:lnTo>
                      <a:pt x="43" y="169"/>
                    </a:lnTo>
                    <a:lnTo>
                      <a:pt x="49" y="155"/>
                    </a:lnTo>
                    <a:lnTo>
                      <a:pt x="58" y="157"/>
                    </a:lnTo>
                    <a:lnTo>
                      <a:pt x="66" y="153"/>
                    </a:lnTo>
                    <a:lnTo>
                      <a:pt x="72" y="155"/>
                    </a:lnTo>
                    <a:lnTo>
                      <a:pt x="75" y="144"/>
                    </a:lnTo>
                    <a:lnTo>
                      <a:pt x="85" y="138"/>
                    </a:lnTo>
                    <a:close/>
                    <a:moveTo>
                      <a:pt x="1270" y="17"/>
                    </a:moveTo>
                    <a:lnTo>
                      <a:pt x="1285" y="46"/>
                    </a:lnTo>
                    <a:lnTo>
                      <a:pt x="1297" y="59"/>
                    </a:lnTo>
                    <a:lnTo>
                      <a:pt x="1314" y="65"/>
                    </a:lnTo>
                    <a:lnTo>
                      <a:pt x="1369" y="75"/>
                    </a:lnTo>
                    <a:lnTo>
                      <a:pt x="1383" y="84"/>
                    </a:lnTo>
                    <a:lnTo>
                      <a:pt x="1377" y="92"/>
                    </a:lnTo>
                    <a:lnTo>
                      <a:pt x="1369" y="92"/>
                    </a:lnTo>
                    <a:lnTo>
                      <a:pt x="1366" y="84"/>
                    </a:lnTo>
                    <a:lnTo>
                      <a:pt x="1354" y="82"/>
                    </a:lnTo>
                    <a:lnTo>
                      <a:pt x="1337" y="80"/>
                    </a:lnTo>
                    <a:lnTo>
                      <a:pt x="1321" y="80"/>
                    </a:lnTo>
                    <a:lnTo>
                      <a:pt x="1310" y="80"/>
                    </a:lnTo>
                    <a:lnTo>
                      <a:pt x="1297" y="77"/>
                    </a:lnTo>
                    <a:lnTo>
                      <a:pt x="1283" y="59"/>
                    </a:lnTo>
                    <a:lnTo>
                      <a:pt x="1270" y="59"/>
                    </a:lnTo>
                    <a:lnTo>
                      <a:pt x="1212" y="65"/>
                    </a:lnTo>
                    <a:lnTo>
                      <a:pt x="1206" y="61"/>
                    </a:lnTo>
                    <a:lnTo>
                      <a:pt x="1204" y="50"/>
                    </a:lnTo>
                    <a:lnTo>
                      <a:pt x="1201" y="40"/>
                    </a:lnTo>
                    <a:lnTo>
                      <a:pt x="1193" y="40"/>
                    </a:lnTo>
                    <a:lnTo>
                      <a:pt x="1176" y="44"/>
                    </a:lnTo>
                    <a:lnTo>
                      <a:pt x="1153" y="50"/>
                    </a:lnTo>
                    <a:lnTo>
                      <a:pt x="1128" y="55"/>
                    </a:lnTo>
                    <a:lnTo>
                      <a:pt x="1122" y="57"/>
                    </a:lnTo>
                    <a:lnTo>
                      <a:pt x="1091" y="65"/>
                    </a:lnTo>
                    <a:lnTo>
                      <a:pt x="1085" y="63"/>
                    </a:lnTo>
                    <a:lnTo>
                      <a:pt x="1081" y="65"/>
                    </a:lnTo>
                    <a:lnTo>
                      <a:pt x="1066" y="65"/>
                    </a:lnTo>
                    <a:lnTo>
                      <a:pt x="1055" y="59"/>
                    </a:lnTo>
                    <a:lnTo>
                      <a:pt x="1045" y="59"/>
                    </a:lnTo>
                    <a:lnTo>
                      <a:pt x="1035" y="65"/>
                    </a:lnTo>
                    <a:lnTo>
                      <a:pt x="1020" y="77"/>
                    </a:lnTo>
                    <a:lnTo>
                      <a:pt x="1018" y="82"/>
                    </a:lnTo>
                    <a:lnTo>
                      <a:pt x="1012" y="82"/>
                    </a:lnTo>
                    <a:lnTo>
                      <a:pt x="1007" y="84"/>
                    </a:lnTo>
                    <a:lnTo>
                      <a:pt x="1003" y="82"/>
                    </a:lnTo>
                    <a:lnTo>
                      <a:pt x="1007" y="78"/>
                    </a:lnTo>
                    <a:lnTo>
                      <a:pt x="1009" y="75"/>
                    </a:lnTo>
                    <a:lnTo>
                      <a:pt x="1010" y="71"/>
                    </a:lnTo>
                    <a:lnTo>
                      <a:pt x="1032" y="54"/>
                    </a:lnTo>
                    <a:lnTo>
                      <a:pt x="1045" y="44"/>
                    </a:lnTo>
                    <a:lnTo>
                      <a:pt x="1062" y="38"/>
                    </a:lnTo>
                    <a:lnTo>
                      <a:pt x="1116" y="23"/>
                    </a:lnTo>
                    <a:lnTo>
                      <a:pt x="1170" y="7"/>
                    </a:lnTo>
                    <a:lnTo>
                      <a:pt x="1212" y="0"/>
                    </a:lnTo>
                    <a:lnTo>
                      <a:pt x="1245" y="2"/>
                    </a:lnTo>
                    <a:lnTo>
                      <a:pt x="1260" y="7"/>
                    </a:lnTo>
                    <a:lnTo>
                      <a:pt x="1270" y="17"/>
                    </a:lnTo>
                    <a:close/>
                    <a:moveTo>
                      <a:pt x="1289" y="770"/>
                    </a:moveTo>
                    <a:lnTo>
                      <a:pt x="1281" y="782"/>
                    </a:lnTo>
                    <a:lnTo>
                      <a:pt x="1254" y="760"/>
                    </a:lnTo>
                    <a:lnTo>
                      <a:pt x="1156" y="676"/>
                    </a:lnTo>
                    <a:lnTo>
                      <a:pt x="1156" y="670"/>
                    </a:lnTo>
                    <a:lnTo>
                      <a:pt x="1156" y="662"/>
                    </a:lnTo>
                    <a:lnTo>
                      <a:pt x="1162" y="657"/>
                    </a:lnTo>
                    <a:lnTo>
                      <a:pt x="1166" y="662"/>
                    </a:lnTo>
                    <a:lnTo>
                      <a:pt x="1168" y="668"/>
                    </a:lnTo>
                    <a:lnTo>
                      <a:pt x="1172" y="674"/>
                    </a:lnTo>
                    <a:lnTo>
                      <a:pt x="1183" y="684"/>
                    </a:lnTo>
                    <a:lnTo>
                      <a:pt x="1197" y="695"/>
                    </a:lnTo>
                    <a:lnTo>
                      <a:pt x="1222" y="711"/>
                    </a:lnTo>
                    <a:lnTo>
                      <a:pt x="1227" y="718"/>
                    </a:lnTo>
                    <a:lnTo>
                      <a:pt x="1235" y="728"/>
                    </a:lnTo>
                    <a:lnTo>
                      <a:pt x="1241" y="732"/>
                    </a:lnTo>
                    <a:lnTo>
                      <a:pt x="1277" y="760"/>
                    </a:lnTo>
                    <a:lnTo>
                      <a:pt x="1289" y="770"/>
                    </a:lnTo>
                    <a:close/>
                    <a:moveTo>
                      <a:pt x="296" y="442"/>
                    </a:moveTo>
                    <a:lnTo>
                      <a:pt x="285" y="442"/>
                    </a:lnTo>
                    <a:lnTo>
                      <a:pt x="277" y="436"/>
                    </a:lnTo>
                    <a:lnTo>
                      <a:pt x="265" y="422"/>
                    </a:lnTo>
                    <a:lnTo>
                      <a:pt x="254" y="415"/>
                    </a:lnTo>
                    <a:lnTo>
                      <a:pt x="244" y="405"/>
                    </a:lnTo>
                    <a:lnTo>
                      <a:pt x="242" y="394"/>
                    </a:lnTo>
                    <a:lnTo>
                      <a:pt x="206" y="355"/>
                    </a:lnTo>
                    <a:lnTo>
                      <a:pt x="216" y="353"/>
                    </a:lnTo>
                    <a:lnTo>
                      <a:pt x="225" y="357"/>
                    </a:lnTo>
                    <a:lnTo>
                      <a:pt x="233" y="365"/>
                    </a:lnTo>
                    <a:lnTo>
                      <a:pt x="239" y="378"/>
                    </a:lnTo>
                    <a:lnTo>
                      <a:pt x="248" y="390"/>
                    </a:lnTo>
                    <a:lnTo>
                      <a:pt x="267" y="397"/>
                    </a:lnTo>
                    <a:lnTo>
                      <a:pt x="283" y="405"/>
                    </a:lnTo>
                    <a:lnTo>
                      <a:pt x="298" y="417"/>
                    </a:lnTo>
                    <a:lnTo>
                      <a:pt x="302" y="432"/>
                    </a:lnTo>
                    <a:lnTo>
                      <a:pt x="296" y="442"/>
                    </a:lnTo>
                    <a:close/>
                    <a:moveTo>
                      <a:pt x="1085" y="516"/>
                    </a:moveTo>
                    <a:lnTo>
                      <a:pt x="1093" y="522"/>
                    </a:lnTo>
                    <a:lnTo>
                      <a:pt x="1097" y="528"/>
                    </a:lnTo>
                    <a:lnTo>
                      <a:pt x="1099" y="532"/>
                    </a:lnTo>
                    <a:lnTo>
                      <a:pt x="1097" y="538"/>
                    </a:lnTo>
                    <a:lnTo>
                      <a:pt x="1093" y="541"/>
                    </a:lnTo>
                    <a:lnTo>
                      <a:pt x="1087" y="545"/>
                    </a:lnTo>
                    <a:lnTo>
                      <a:pt x="1085" y="549"/>
                    </a:lnTo>
                    <a:lnTo>
                      <a:pt x="1087" y="553"/>
                    </a:lnTo>
                    <a:lnTo>
                      <a:pt x="1093" y="555"/>
                    </a:lnTo>
                    <a:lnTo>
                      <a:pt x="1097" y="559"/>
                    </a:lnTo>
                    <a:lnTo>
                      <a:pt x="1099" y="568"/>
                    </a:lnTo>
                    <a:lnTo>
                      <a:pt x="1095" y="570"/>
                    </a:lnTo>
                    <a:lnTo>
                      <a:pt x="1091" y="574"/>
                    </a:lnTo>
                    <a:lnTo>
                      <a:pt x="1089" y="572"/>
                    </a:lnTo>
                    <a:lnTo>
                      <a:pt x="1087" y="570"/>
                    </a:lnTo>
                    <a:lnTo>
                      <a:pt x="1087" y="568"/>
                    </a:lnTo>
                    <a:lnTo>
                      <a:pt x="1085" y="566"/>
                    </a:lnTo>
                    <a:lnTo>
                      <a:pt x="1078" y="566"/>
                    </a:lnTo>
                    <a:lnTo>
                      <a:pt x="1076" y="561"/>
                    </a:lnTo>
                    <a:lnTo>
                      <a:pt x="1070" y="553"/>
                    </a:lnTo>
                    <a:lnTo>
                      <a:pt x="1070" y="551"/>
                    </a:lnTo>
                    <a:lnTo>
                      <a:pt x="1074" y="549"/>
                    </a:lnTo>
                    <a:lnTo>
                      <a:pt x="1074" y="547"/>
                    </a:lnTo>
                    <a:lnTo>
                      <a:pt x="1078" y="541"/>
                    </a:lnTo>
                    <a:lnTo>
                      <a:pt x="1081" y="540"/>
                    </a:lnTo>
                    <a:lnTo>
                      <a:pt x="1087" y="534"/>
                    </a:lnTo>
                    <a:lnTo>
                      <a:pt x="1087" y="532"/>
                    </a:lnTo>
                    <a:lnTo>
                      <a:pt x="1087" y="530"/>
                    </a:lnTo>
                    <a:lnTo>
                      <a:pt x="1083" y="528"/>
                    </a:lnTo>
                    <a:lnTo>
                      <a:pt x="1083" y="526"/>
                    </a:lnTo>
                    <a:lnTo>
                      <a:pt x="1081" y="520"/>
                    </a:lnTo>
                    <a:lnTo>
                      <a:pt x="1078" y="518"/>
                    </a:lnTo>
                    <a:lnTo>
                      <a:pt x="1083" y="513"/>
                    </a:lnTo>
                    <a:lnTo>
                      <a:pt x="1085" y="516"/>
                    </a:lnTo>
                    <a:close/>
                    <a:moveTo>
                      <a:pt x="1043" y="497"/>
                    </a:moveTo>
                    <a:lnTo>
                      <a:pt x="1041" y="503"/>
                    </a:lnTo>
                    <a:lnTo>
                      <a:pt x="1035" y="499"/>
                    </a:lnTo>
                    <a:lnTo>
                      <a:pt x="1049" y="488"/>
                    </a:lnTo>
                    <a:lnTo>
                      <a:pt x="1049" y="492"/>
                    </a:lnTo>
                    <a:lnTo>
                      <a:pt x="1049" y="495"/>
                    </a:lnTo>
                    <a:lnTo>
                      <a:pt x="1043" y="49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1" name="Freeform 51">
                <a:extLst>
                  <a:ext uri="{FF2B5EF4-FFF2-40B4-BE49-F238E27FC236}">
                    <a16:creationId xmlns:a16="http://schemas.microsoft.com/office/drawing/2014/main" id="{A61CE3ED-9A41-3A5B-C93D-03B4554CC42C}"/>
                  </a:ext>
                </a:extLst>
              </p:cNvPr>
              <p:cNvSpPr>
                <a:spLocks/>
              </p:cNvSpPr>
              <p:nvPr/>
            </p:nvSpPr>
            <p:spPr bwMode="gray">
              <a:xfrm>
                <a:off x="6010502" y="2872871"/>
                <a:ext cx="832312" cy="1011631"/>
              </a:xfrm>
              <a:custGeom>
                <a:avLst/>
                <a:gdLst>
                  <a:gd name="T0" fmla="*/ 738 w 738"/>
                  <a:gd name="T1" fmla="*/ 351 h 897"/>
                  <a:gd name="T2" fmla="*/ 720 w 738"/>
                  <a:gd name="T3" fmla="*/ 386 h 897"/>
                  <a:gd name="T4" fmla="*/ 644 w 738"/>
                  <a:gd name="T5" fmla="*/ 599 h 897"/>
                  <a:gd name="T6" fmla="*/ 592 w 738"/>
                  <a:gd name="T7" fmla="*/ 722 h 897"/>
                  <a:gd name="T8" fmla="*/ 538 w 738"/>
                  <a:gd name="T9" fmla="*/ 837 h 897"/>
                  <a:gd name="T10" fmla="*/ 492 w 738"/>
                  <a:gd name="T11" fmla="*/ 845 h 897"/>
                  <a:gd name="T12" fmla="*/ 436 w 738"/>
                  <a:gd name="T13" fmla="*/ 885 h 897"/>
                  <a:gd name="T14" fmla="*/ 392 w 738"/>
                  <a:gd name="T15" fmla="*/ 897 h 897"/>
                  <a:gd name="T16" fmla="*/ 283 w 738"/>
                  <a:gd name="T17" fmla="*/ 855 h 897"/>
                  <a:gd name="T18" fmla="*/ 223 w 738"/>
                  <a:gd name="T19" fmla="*/ 866 h 897"/>
                  <a:gd name="T20" fmla="*/ 212 w 738"/>
                  <a:gd name="T21" fmla="*/ 826 h 897"/>
                  <a:gd name="T22" fmla="*/ 221 w 738"/>
                  <a:gd name="T23" fmla="*/ 801 h 897"/>
                  <a:gd name="T24" fmla="*/ 177 w 738"/>
                  <a:gd name="T25" fmla="*/ 782 h 897"/>
                  <a:gd name="T26" fmla="*/ 166 w 738"/>
                  <a:gd name="T27" fmla="*/ 766 h 897"/>
                  <a:gd name="T28" fmla="*/ 171 w 738"/>
                  <a:gd name="T29" fmla="*/ 749 h 897"/>
                  <a:gd name="T30" fmla="*/ 181 w 738"/>
                  <a:gd name="T31" fmla="*/ 718 h 897"/>
                  <a:gd name="T32" fmla="*/ 219 w 738"/>
                  <a:gd name="T33" fmla="*/ 632 h 897"/>
                  <a:gd name="T34" fmla="*/ 169 w 738"/>
                  <a:gd name="T35" fmla="*/ 609 h 897"/>
                  <a:gd name="T36" fmla="*/ 71 w 738"/>
                  <a:gd name="T37" fmla="*/ 565 h 897"/>
                  <a:gd name="T38" fmla="*/ 20 w 738"/>
                  <a:gd name="T39" fmla="*/ 488 h 897"/>
                  <a:gd name="T40" fmla="*/ 0 w 738"/>
                  <a:gd name="T41" fmla="*/ 438 h 897"/>
                  <a:gd name="T42" fmla="*/ 31 w 738"/>
                  <a:gd name="T43" fmla="*/ 428 h 897"/>
                  <a:gd name="T44" fmla="*/ 41 w 738"/>
                  <a:gd name="T45" fmla="*/ 422 h 897"/>
                  <a:gd name="T46" fmla="*/ 48 w 738"/>
                  <a:gd name="T47" fmla="*/ 405 h 897"/>
                  <a:gd name="T48" fmla="*/ 64 w 738"/>
                  <a:gd name="T49" fmla="*/ 361 h 897"/>
                  <a:gd name="T50" fmla="*/ 93 w 738"/>
                  <a:gd name="T51" fmla="*/ 336 h 897"/>
                  <a:gd name="T52" fmla="*/ 112 w 738"/>
                  <a:gd name="T53" fmla="*/ 326 h 897"/>
                  <a:gd name="T54" fmla="*/ 125 w 738"/>
                  <a:gd name="T55" fmla="*/ 286 h 897"/>
                  <a:gd name="T56" fmla="*/ 166 w 738"/>
                  <a:gd name="T57" fmla="*/ 250 h 897"/>
                  <a:gd name="T58" fmla="*/ 167 w 738"/>
                  <a:gd name="T59" fmla="*/ 232 h 897"/>
                  <a:gd name="T60" fmla="*/ 150 w 738"/>
                  <a:gd name="T61" fmla="*/ 223 h 897"/>
                  <a:gd name="T62" fmla="*/ 119 w 738"/>
                  <a:gd name="T63" fmla="*/ 217 h 897"/>
                  <a:gd name="T64" fmla="*/ 146 w 738"/>
                  <a:gd name="T65" fmla="*/ 178 h 897"/>
                  <a:gd name="T66" fmla="*/ 154 w 738"/>
                  <a:gd name="T67" fmla="*/ 161 h 897"/>
                  <a:gd name="T68" fmla="*/ 142 w 738"/>
                  <a:gd name="T69" fmla="*/ 138 h 897"/>
                  <a:gd name="T70" fmla="*/ 102 w 738"/>
                  <a:gd name="T71" fmla="*/ 67 h 897"/>
                  <a:gd name="T72" fmla="*/ 104 w 738"/>
                  <a:gd name="T73" fmla="*/ 52 h 897"/>
                  <a:gd name="T74" fmla="*/ 106 w 738"/>
                  <a:gd name="T75" fmla="*/ 29 h 897"/>
                  <a:gd name="T76" fmla="*/ 179 w 738"/>
                  <a:gd name="T77" fmla="*/ 9 h 897"/>
                  <a:gd name="T78" fmla="*/ 210 w 738"/>
                  <a:gd name="T79" fmla="*/ 9 h 897"/>
                  <a:gd name="T80" fmla="*/ 235 w 738"/>
                  <a:gd name="T81" fmla="*/ 15 h 897"/>
                  <a:gd name="T82" fmla="*/ 258 w 738"/>
                  <a:gd name="T83" fmla="*/ 25 h 897"/>
                  <a:gd name="T84" fmla="*/ 237 w 738"/>
                  <a:gd name="T85" fmla="*/ 7 h 897"/>
                  <a:gd name="T86" fmla="*/ 248 w 738"/>
                  <a:gd name="T87" fmla="*/ 0 h 897"/>
                  <a:gd name="T88" fmla="*/ 286 w 738"/>
                  <a:gd name="T89" fmla="*/ 15 h 897"/>
                  <a:gd name="T90" fmla="*/ 329 w 738"/>
                  <a:gd name="T91" fmla="*/ 32 h 897"/>
                  <a:gd name="T92" fmla="*/ 373 w 738"/>
                  <a:gd name="T93" fmla="*/ 48 h 897"/>
                  <a:gd name="T94" fmla="*/ 392 w 738"/>
                  <a:gd name="T95" fmla="*/ 80 h 897"/>
                  <a:gd name="T96" fmla="*/ 438 w 738"/>
                  <a:gd name="T97" fmla="*/ 180 h 897"/>
                  <a:gd name="T98" fmla="*/ 459 w 738"/>
                  <a:gd name="T99" fmla="*/ 209 h 897"/>
                  <a:gd name="T100" fmla="*/ 482 w 738"/>
                  <a:gd name="T101" fmla="*/ 225 h 897"/>
                  <a:gd name="T102" fmla="*/ 461 w 738"/>
                  <a:gd name="T103" fmla="*/ 228 h 897"/>
                  <a:gd name="T104" fmla="*/ 459 w 738"/>
                  <a:gd name="T105" fmla="*/ 250 h 897"/>
                  <a:gd name="T106" fmla="*/ 486 w 738"/>
                  <a:gd name="T107" fmla="*/ 263 h 897"/>
                  <a:gd name="T108" fmla="*/ 513 w 738"/>
                  <a:gd name="T109" fmla="*/ 255 h 897"/>
                  <a:gd name="T110" fmla="*/ 536 w 738"/>
                  <a:gd name="T111" fmla="*/ 250 h 897"/>
                  <a:gd name="T112" fmla="*/ 538 w 738"/>
                  <a:gd name="T113" fmla="*/ 257 h 897"/>
                  <a:gd name="T114" fmla="*/ 546 w 738"/>
                  <a:gd name="T115" fmla="*/ 267 h 897"/>
                  <a:gd name="T116" fmla="*/ 588 w 738"/>
                  <a:gd name="T117" fmla="*/ 284 h 897"/>
                  <a:gd name="T118" fmla="*/ 598 w 738"/>
                  <a:gd name="T119" fmla="*/ 276 h 897"/>
                  <a:gd name="T120" fmla="*/ 726 w 738"/>
                  <a:gd name="T121" fmla="*/ 348 h 897"/>
                  <a:gd name="T122" fmla="*/ 738 w 738"/>
                  <a:gd name="T123" fmla="*/ 3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8" h="897">
                    <a:moveTo>
                      <a:pt x="738" y="349"/>
                    </a:moveTo>
                    <a:lnTo>
                      <a:pt x="738" y="351"/>
                    </a:lnTo>
                    <a:lnTo>
                      <a:pt x="728" y="380"/>
                    </a:lnTo>
                    <a:lnTo>
                      <a:pt x="720" y="386"/>
                    </a:lnTo>
                    <a:lnTo>
                      <a:pt x="728" y="397"/>
                    </a:lnTo>
                    <a:lnTo>
                      <a:pt x="644" y="599"/>
                    </a:lnTo>
                    <a:lnTo>
                      <a:pt x="624" y="643"/>
                    </a:lnTo>
                    <a:lnTo>
                      <a:pt x="592" y="722"/>
                    </a:lnTo>
                    <a:lnTo>
                      <a:pt x="553" y="818"/>
                    </a:lnTo>
                    <a:lnTo>
                      <a:pt x="538" y="837"/>
                    </a:lnTo>
                    <a:lnTo>
                      <a:pt x="523" y="837"/>
                    </a:lnTo>
                    <a:lnTo>
                      <a:pt x="492" y="845"/>
                    </a:lnTo>
                    <a:lnTo>
                      <a:pt x="463" y="862"/>
                    </a:lnTo>
                    <a:lnTo>
                      <a:pt x="436" y="885"/>
                    </a:lnTo>
                    <a:lnTo>
                      <a:pt x="417" y="893"/>
                    </a:lnTo>
                    <a:lnTo>
                      <a:pt x="392" y="897"/>
                    </a:lnTo>
                    <a:lnTo>
                      <a:pt x="358" y="885"/>
                    </a:lnTo>
                    <a:lnTo>
                      <a:pt x="283" y="855"/>
                    </a:lnTo>
                    <a:lnTo>
                      <a:pt x="217" y="872"/>
                    </a:lnTo>
                    <a:lnTo>
                      <a:pt x="223" y="866"/>
                    </a:lnTo>
                    <a:lnTo>
                      <a:pt x="223" y="855"/>
                    </a:lnTo>
                    <a:lnTo>
                      <a:pt x="212" y="826"/>
                    </a:lnTo>
                    <a:lnTo>
                      <a:pt x="206" y="822"/>
                    </a:lnTo>
                    <a:lnTo>
                      <a:pt x="221" y="801"/>
                    </a:lnTo>
                    <a:lnTo>
                      <a:pt x="192" y="789"/>
                    </a:lnTo>
                    <a:lnTo>
                      <a:pt x="177" y="782"/>
                    </a:lnTo>
                    <a:lnTo>
                      <a:pt x="167" y="774"/>
                    </a:lnTo>
                    <a:lnTo>
                      <a:pt x="166" y="766"/>
                    </a:lnTo>
                    <a:lnTo>
                      <a:pt x="167" y="757"/>
                    </a:lnTo>
                    <a:lnTo>
                      <a:pt x="171" y="749"/>
                    </a:lnTo>
                    <a:lnTo>
                      <a:pt x="179" y="732"/>
                    </a:lnTo>
                    <a:lnTo>
                      <a:pt x="181" y="718"/>
                    </a:lnTo>
                    <a:lnTo>
                      <a:pt x="190" y="697"/>
                    </a:lnTo>
                    <a:lnTo>
                      <a:pt x="219" y="632"/>
                    </a:lnTo>
                    <a:lnTo>
                      <a:pt x="181" y="616"/>
                    </a:lnTo>
                    <a:lnTo>
                      <a:pt x="169" y="609"/>
                    </a:lnTo>
                    <a:lnTo>
                      <a:pt x="85" y="572"/>
                    </a:lnTo>
                    <a:lnTo>
                      <a:pt x="71" y="565"/>
                    </a:lnTo>
                    <a:lnTo>
                      <a:pt x="62" y="553"/>
                    </a:lnTo>
                    <a:lnTo>
                      <a:pt x="20" y="488"/>
                    </a:lnTo>
                    <a:lnTo>
                      <a:pt x="2" y="453"/>
                    </a:lnTo>
                    <a:lnTo>
                      <a:pt x="0" y="438"/>
                    </a:lnTo>
                    <a:lnTo>
                      <a:pt x="18" y="434"/>
                    </a:lnTo>
                    <a:lnTo>
                      <a:pt x="31" y="428"/>
                    </a:lnTo>
                    <a:lnTo>
                      <a:pt x="37" y="424"/>
                    </a:lnTo>
                    <a:lnTo>
                      <a:pt x="41" y="422"/>
                    </a:lnTo>
                    <a:lnTo>
                      <a:pt x="45" y="419"/>
                    </a:lnTo>
                    <a:lnTo>
                      <a:pt x="48" y="405"/>
                    </a:lnTo>
                    <a:lnTo>
                      <a:pt x="56" y="384"/>
                    </a:lnTo>
                    <a:lnTo>
                      <a:pt x="64" y="361"/>
                    </a:lnTo>
                    <a:lnTo>
                      <a:pt x="83" y="340"/>
                    </a:lnTo>
                    <a:lnTo>
                      <a:pt x="93" y="336"/>
                    </a:lnTo>
                    <a:lnTo>
                      <a:pt x="100" y="332"/>
                    </a:lnTo>
                    <a:lnTo>
                      <a:pt x="112" y="326"/>
                    </a:lnTo>
                    <a:lnTo>
                      <a:pt x="123" y="290"/>
                    </a:lnTo>
                    <a:lnTo>
                      <a:pt x="125" y="286"/>
                    </a:lnTo>
                    <a:lnTo>
                      <a:pt x="148" y="267"/>
                    </a:lnTo>
                    <a:lnTo>
                      <a:pt x="166" y="250"/>
                    </a:lnTo>
                    <a:lnTo>
                      <a:pt x="169" y="242"/>
                    </a:lnTo>
                    <a:lnTo>
                      <a:pt x="167" y="232"/>
                    </a:lnTo>
                    <a:lnTo>
                      <a:pt x="160" y="226"/>
                    </a:lnTo>
                    <a:lnTo>
                      <a:pt x="150" y="223"/>
                    </a:lnTo>
                    <a:lnTo>
                      <a:pt x="135" y="221"/>
                    </a:lnTo>
                    <a:lnTo>
                      <a:pt x="119" y="217"/>
                    </a:lnTo>
                    <a:lnTo>
                      <a:pt x="114" y="209"/>
                    </a:lnTo>
                    <a:lnTo>
                      <a:pt x="146" y="178"/>
                    </a:lnTo>
                    <a:lnTo>
                      <a:pt x="152" y="169"/>
                    </a:lnTo>
                    <a:lnTo>
                      <a:pt x="154" y="161"/>
                    </a:lnTo>
                    <a:lnTo>
                      <a:pt x="152" y="155"/>
                    </a:lnTo>
                    <a:lnTo>
                      <a:pt x="142" y="138"/>
                    </a:lnTo>
                    <a:lnTo>
                      <a:pt x="112" y="77"/>
                    </a:lnTo>
                    <a:lnTo>
                      <a:pt x="102" y="67"/>
                    </a:lnTo>
                    <a:lnTo>
                      <a:pt x="106" y="59"/>
                    </a:lnTo>
                    <a:lnTo>
                      <a:pt x="104" y="52"/>
                    </a:lnTo>
                    <a:lnTo>
                      <a:pt x="96" y="48"/>
                    </a:lnTo>
                    <a:lnTo>
                      <a:pt x="106" y="29"/>
                    </a:lnTo>
                    <a:lnTo>
                      <a:pt x="131" y="13"/>
                    </a:lnTo>
                    <a:lnTo>
                      <a:pt x="179" y="9"/>
                    </a:lnTo>
                    <a:lnTo>
                      <a:pt x="189" y="4"/>
                    </a:lnTo>
                    <a:lnTo>
                      <a:pt x="210" y="9"/>
                    </a:lnTo>
                    <a:lnTo>
                      <a:pt x="223" y="7"/>
                    </a:lnTo>
                    <a:lnTo>
                      <a:pt x="235" y="15"/>
                    </a:lnTo>
                    <a:lnTo>
                      <a:pt x="250" y="21"/>
                    </a:lnTo>
                    <a:lnTo>
                      <a:pt x="258" y="25"/>
                    </a:lnTo>
                    <a:lnTo>
                      <a:pt x="250" y="13"/>
                    </a:lnTo>
                    <a:lnTo>
                      <a:pt x="237" y="7"/>
                    </a:lnTo>
                    <a:lnTo>
                      <a:pt x="238" y="2"/>
                    </a:lnTo>
                    <a:lnTo>
                      <a:pt x="248" y="0"/>
                    </a:lnTo>
                    <a:lnTo>
                      <a:pt x="277" y="11"/>
                    </a:lnTo>
                    <a:lnTo>
                      <a:pt x="286" y="15"/>
                    </a:lnTo>
                    <a:lnTo>
                      <a:pt x="317" y="27"/>
                    </a:lnTo>
                    <a:lnTo>
                      <a:pt x="329" y="32"/>
                    </a:lnTo>
                    <a:lnTo>
                      <a:pt x="361" y="42"/>
                    </a:lnTo>
                    <a:lnTo>
                      <a:pt x="373" y="48"/>
                    </a:lnTo>
                    <a:lnTo>
                      <a:pt x="377" y="54"/>
                    </a:lnTo>
                    <a:lnTo>
                      <a:pt x="392" y="80"/>
                    </a:lnTo>
                    <a:lnTo>
                      <a:pt x="402" y="92"/>
                    </a:lnTo>
                    <a:lnTo>
                      <a:pt x="438" y="180"/>
                    </a:lnTo>
                    <a:lnTo>
                      <a:pt x="450" y="200"/>
                    </a:lnTo>
                    <a:lnTo>
                      <a:pt x="459" y="209"/>
                    </a:lnTo>
                    <a:lnTo>
                      <a:pt x="480" y="211"/>
                    </a:lnTo>
                    <a:lnTo>
                      <a:pt x="482" y="225"/>
                    </a:lnTo>
                    <a:lnTo>
                      <a:pt x="477" y="228"/>
                    </a:lnTo>
                    <a:lnTo>
                      <a:pt x="461" y="228"/>
                    </a:lnTo>
                    <a:lnTo>
                      <a:pt x="459" y="234"/>
                    </a:lnTo>
                    <a:lnTo>
                      <a:pt x="459" y="250"/>
                    </a:lnTo>
                    <a:lnTo>
                      <a:pt x="469" y="257"/>
                    </a:lnTo>
                    <a:lnTo>
                      <a:pt x="486" y="263"/>
                    </a:lnTo>
                    <a:lnTo>
                      <a:pt x="502" y="263"/>
                    </a:lnTo>
                    <a:lnTo>
                      <a:pt x="513" y="255"/>
                    </a:lnTo>
                    <a:lnTo>
                      <a:pt x="523" y="250"/>
                    </a:lnTo>
                    <a:lnTo>
                      <a:pt x="536" y="250"/>
                    </a:lnTo>
                    <a:lnTo>
                      <a:pt x="542" y="253"/>
                    </a:lnTo>
                    <a:lnTo>
                      <a:pt x="538" y="257"/>
                    </a:lnTo>
                    <a:lnTo>
                      <a:pt x="540" y="261"/>
                    </a:lnTo>
                    <a:lnTo>
                      <a:pt x="546" y="267"/>
                    </a:lnTo>
                    <a:lnTo>
                      <a:pt x="569" y="276"/>
                    </a:lnTo>
                    <a:lnTo>
                      <a:pt x="588" y="284"/>
                    </a:lnTo>
                    <a:lnTo>
                      <a:pt x="596" y="284"/>
                    </a:lnTo>
                    <a:lnTo>
                      <a:pt x="598" y="276"/>
                    </a:lnTo>
                    <a:lnTo>
                      <a:pt x="686" y="315"/>
                    </a:lnTo>
                    <a:lnTo>
                      <a:pt x="726" y="348"/>
                    </a:lnTo>
                    <a:lnTo>
                      <a:pt x="736" y="349"/>
                    </a:lnTo>
                    <a:lnTo>
                      <a:pt x="738" y="3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2" name="Freeform 52">
                <a:extLst>
                  <a:ext uri="{FF2B5EF4-FFF2-40B4-BE49-F238E27FC236}">
                    <a16:creationId xmlns:a16="http://schemas.microsoft.com/office/drawing/2014/main" id="{F9CECA30-778A-E7B1-B235-F3EAD181D80C}"/>
                  </a:ext>
                </a:extLst>
              </p:cNvPr>
              <p:cNvSpPr>
                <a:spLocks/>
              </p:cNvSpPr>
              <p:nvPr/>
            </p:nvSpPr>
            <p:spPr bwMode="gray">
              <a:xfrm>
                <a:off x="6617255" y="3266471"/>
                <a:ext cx="357511" cy="550363"/>
              </a:xfrm>
              <a:custGeom>
                <a:avLst/>
                <a:gdLst>
                  <a:gd name="T0" fmla="*/ 15 w 317"/>
                  <a:gd name="T1" fmla="*/ 469 h 488"/>
                  <a:gd name="T2" fmla="*/ 86 w 317"/>
                  <a:gd name="T3" fmla="*/ 294 h 488"/>
                  <a:gd name="T4" fmla="*/ 190 w 317"/>
                  <a:gd name="T5" fmla="*/ 48 h 488"/>
                  <a:gd name="T6" fmla="*/ 190 w 317"/>
                  <a:gd name="T7" fmla="*/ 31 h 488"/>
                  <a:gd name="T8" fmla="*/ 200 w 317"/>
                  <a:gd name="T9" fmla="*/ 0 h 488"/>
                  <a:gd name="T10" fmla="*/ 296 w 317"/>
                  <a:gd name="T11" fmla="*/ 58 h 488"/>
                  <a:gd name="T12" fmla="*/ 315 w 317"/>
                  <a:gd name="T13" fmla="*/ 77 h 488"/>
                  <a:gd name="T14" fmla="*/ 300 w 317"/>
                  <a:gd name="T15" fmla="*/ 96 h 488"/>
                  <a:gd name="T16" fmla="*/ 286 w 317"/>
                  <a:gd name="T17" fmla="*/ 70 h 488"/>
                  <a:gd name="T18" fmla="*/ 244 w 317"/>
                  <a:gd name="T19" fmla="*/ 45 h 488"/>
                  <a:gd name="T20" fmla="*/ 215 w 317"/>
                  <a:gd name="T21" fmla="*/ 35 h 488"/>
                  <a:gd name="T22" fmla="*/ 194 w 317"/>
                  <a:gd name="T23" fmla="*/ 27 h 488"/>
                  <a:gd name="T24" fmla="*/ 192 w 317"/>
                  <a:gd name="T25" fmla="*/ 37 h 488"/>
                  <a:gd name="T26" fmla="*/ 196 w 317"/>
                  <a:gd name="T27" fmla="*/ 54 h 488"/>
                  <a:gd name="T28" fmla="*/ 192 w 317"/>
                  <a:gd name="T29" fmla="*/ 72 h 488"/>
                  <a:gd name="T30" fmla="*/ 198 w 317"/>
                  <a:gd name="T31" fmla="*/ 85 h 488"/>
                  <a:gd name="T32" fmla="*/ 188 w 317"/>
                  <a:gd name="T33" fmla="*/ 106 h 488"/>
                  <a:gd name="T34" fmla="*/ 179 w 317"/>
                  <a:gd name="T35" fmla="*/ 125 h 488"/>
                  <a:gd name="T36" fmla="*/ 165 w 317"/>
                  <a:gd name="T37" fmla="*/ 139 h 488"/>
                  <a:gd name="T38" fmla="*/ 146 w 317"/>
                  <a:gd name="T39" fmla="*/ 171 h 488"/>
                  <a:gd name="T40" fmla="*/ 136 w 317"/>
                  <a:gd name="T41" fmla="*/ 279 h 488"/>
                  <a:gd name="T42" fmla="*/ 152 w 317"/>
                  <a:gd name="T43" fmla="*/ 292 h 488"/>
                  <a:gd name="T44" fmla="*/ 104 w 317"/>
                  <a:gd name="T45" fmla="*/ 281 h 488"/>
                  <a:gd name="T46" fmla="*/ 83 w 317"/>
                  <a:gd name="T47" fmla="*/ 331 h 488"/>
                  <a:gd name="T48" fmla="*/ 71 w 317"/>
                  <a:gd name="T49" fmla="*/ 352 h 488"/>
                  <a:gd name="T50" fmla="*/ 81 w 317"/>
                  <a:gd name="T51" fmla="*/ 377 h 488"/>
                  <a:gd name="T52" fmla="*/ 192 w 317"/>
                  <a:gd name="T53" fmla="*/ 385 h 488"/>
                  <a:gd name="T54" fmla="*/ 200 w 317"/>
                  <a:gd name="T55" fmla="*/ 463 h 488"/>
                  <a:gd name="T56" fmla="*/ 207 w 317"/>
                  <a:gd name="T57" fmla="*/ 465 h 488"/>
                  <a:gd name="T58" fmla="*/ 217 w 317"/>
                  <a:gd name="T59" fmla="*/ 456 h 488"/>
                  <a:gd name="T60" fmla="*/ 157 w 317"/>
                  <a:gd name="T61" fmla="*/ 486 h 488"/>
                  <a:gd name="T62" fmla="*/ 92 w 317"/>
                  <a:gd name="T63" fmla="*/ 440 h 488"/>
                  <a:gd name="T64" fmla="*/ 0 w 317"/>
                  <a:gd name="T6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488">
                    <a:moveTo>
                      <a:pt x="0" y="488"/>
                    </a:moveTo>
                    <a:lnTo>
                      <a:pt x="15" y="469"/>
                    </a:lnTo>
                    <a:lnTo>
                      <a:pt x="54" y="373"/>
                    </a:lnTo>
                    <a:lnTo>
                      <a:pt x="86" y="294"/>
                    </a:lnTo>
                    <a:lnTo>
                      <a:pt x="106" y="250"/>
                    </a:lnTo>
                    <a:lnTo>
                      <a:pt x="190" y="48"/>
                    </a:lnTo>
                    <a:lnTo>
                      <a:pt x="182" y="37"/>
                    </a:lnTo>
                    <a:lnTo>
                      <a:pt x="190" y="31"/>
                    </a:lnTo>
                    <a:lnTo>
                      <a:pt x="200" y="2"/>
                    </a:lnTo>
                    <a:lnTo>
                      <a:pt x="200" y="0"/>
                    </a:lnTo>
                    <a:lnTo>
                      <a:pt x="290" y="64"/>
                    </a:lnTo>
                    <a:lnTo>
                      <a:pt x="296" y="58"/>
                    </a:lnTo>
                    <a:lnTo>
                      <a:pt x="309" y="70"/>
                    </a:lnTo>
                    <a:lnTo>
                      <a:pt x="315" y="77"/>
                    </a:lnTo>
                    <a:lnTo>
                      <a:pt x="317" y="87"/>
                    </a:lnTo>
                    <a:lnTo>
                      <a:pt x="300" y="96"/>
                    </a:lnTo>
                    <a:lnTo>
                      <a:pt x="282" y="73"/>
                    </a:lnTo>
                    <a:lnTo>
                      <a:pt x="286" y="70"/>
                    </a:lnTo>
                    <a:lnTo>
                      <a:pt x="253" y="47"/>
                    </a:lnTo>
                    <a:lnTo>
                      <a:pt x="244" y="45"/>
                    </a:lnTo>
                    <a:lnTo>
                      <a:pt x="219" y="27"/>
                    </a:lnTo>
                    <a:lnTo>
                      <a:pt x="215" y="35"/>
                    </a:lnTo>
                    <a:lnTo>
                      <a:pt x="202" y="25"/>
                    </a:lnTo>
                    <a:lnTo>
                      <a:pt x="194" y="27"/>
                    </a:lnTo>
                    <a:lnTo>
                      <a:pt x="192" y="33"/>
                    </a:lnTo>
                    <a:lnTo>
                      <a:pt x="192" y="37"/>
                    </a:lnTo>
                    <a:lnTo>
                      <a:pt x="196" y="48"/>
                    </a:lnTo>
                    <a:lnTo>
                      <a:pt x="196" y="54"/>
                    </a:lnTo>
                    <a:lnTo>
                      <a:pt x="190" y="70"/>
                    </a:lnTo>
                    <a:lnTo>
                      <a:pt x="192" y="72"/>
                    </a:lnTo>
                    <a:lnTo>
                      <a:pt x="198" y="81"/>
                    </a:lnTo>
                    <a:lnTo>
                      <a:pt x="198" y="85"/>
                    </a:lnTo>
                    <a:lnTo>
                      <a:pt x="196" y="102"/>
                    </a:lnTo>
                    <a:lnTo>
                      <a:pt x="188" y="106"/>
                    </a:lnTo>
                    <a:lnTo>
                      <a:pt x="182" y="120"/>
                    </a:lnTo>
                    <a:lnTo>
                      <a:pt x="179" y="125"/>
                    </a:lnTo>
                    <a:lnTo>
                      <a:pt x="175" y="129"/>
                    </a:lnTo>
                    <a:lnTo>
                      <a:pt x="165" y="139"/>
                    </a:lnTo>
                    <a:lnTo>
                      <a:pt x="156" y="154"/>
                    </a:lnTo>
                    <a:lnTo>
                      <a:pt x="146" y="171"/>
                    </a:lnTo>
                    <a:lnTo>
                      <a:pt x="109" y="264"/>
                    </a:lnTo>
                    <a:lnTo>
                      <a:pt x="136" y="279"/>
                    </a:lnTo>
                    <a:lnTo>
                      <a:pt x="140" y="289"/>
                    </a:lnTo>
                    <a:lnTo>
                      <a:pt x="152" y="292"/>
                    </a:lnTo>
                    <a:lnTo>
                      <a:pt x="152" y="300"/>
                    </a:lnTo>
                    <a:lnTo>
                      <a:pt x="104" y="281"/>
                    </a:lnTo>
                    <a:lnTo>
                      <a:pt x="81" y="315"/>
                    </a:lnTo>
                    <a:lnTo>
                      <a:pt x="83" y="331"/>
                    </a:lnTo>
                    <a:lnTo>
                      <a:pt x="73" y="340"/>
                    </a:lnTo>
                    <a:lnTo>
                      <a:pt x="71" y="352"/>
                    </a:lnTo>
                    <a:lnTo>
                      <a:pt x="73" y="362"/>
                    </a:lnTo>
                    <a:lnTo>
                      <a:pt x="81" y="377"/>
                    </a:lnTo>
                    <a:lnTo>
                      <a:pt x="90" y="385"/>
                    </a:lnTo>
                    <a:lnTo>
                      <a:pt x="192" y="385"/>
                    </a:lnTo>
                    <a:lnTo>
                      <a:pt x="196" y="385"/>
                    </a:lnTo>
                    <a:lnTo>
                      <a:pt x="200" y="463"/>
                    </a:lnTo>
                    <a:lnTo>
                      <a:pt x="205" y="463"/>
                    </a:lnTo>
                    <a:lnTo>
                      <a:pt x="207" y="465"/>
                    </a:lnTo>
                    <a:lnTo>
                      <a:pt x="215" y="452"/>
                    </a:lnTo>
                    <a:lnTo>
                      <a:pt x="217" y="456"/>
                    </a:lnTo>
                    <a:lnTo>
                      <a:pt x="196" y="488"/>
                    </a:lnTo>
                    <a:lnTo>
                      <a:pt x="157" y="486"/>
                    </a:lnTo>
                    <a:lnTo>
                      <a:pt x="156" y="437"/>
                    </a:lnTo>
                    <a:lnTo>
                      <a:pt x="92" y="440"/>
                    </a:lnTo>
                    <a:lnTo>
                      <a:pt x="90" y="488"/>
                    </a:lnTo>
                    <a:lnTo>
                      <a:pt x="0" y="4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3" name="Freeform 53">
                <a:extLst>
                  <a:ext uri="{FF2B5EF4-FFF2-40B4-BE49-F238E27FC236}">
                    <a16:creationId xmlns:a16="http://schemas.microsoft.com/office/drawing/2014/main" id="{92808386-09B8-3BBE-AE2C-566FD35FCD57}"/>
                  </a:ext>
                </a:extLst>
              </p:cNvPr>
              <p:cNvSpPr>
                <a:spLocks/>
              </p:cNvSpPr>
              <p:nvPr/>
            </p:nvSpPr>
            <p:spPr bwMode="gray">
              <a:xfrm>
                <a:off x="4934587" y="3842773"/>
                <a:ext cx="539085" cy="355255"/>
              </a:xfrm>
              <a:custGeom>
                <a:avLst/>
                <a:gdLst>
                  <a:gd name="T0" fmla="*/ 474 w 478"/>
                  <a:gd name="T1" fmla="*/ 125 h 315"/>
                  <a:gd name="T2" fmla="*/ 444 w 478"/>
                  <a:gd name="T3" fmla="*/ 131 h 315"/>
                  <a:gd name="T4" fmla="*/ 413 w 478"/>
                  <a:gd name="T5" fmla="*/ 143 h 315"/>
                  <a:gd name="T6" fmla="*/ 303 w 478"/>
                  <a:gd name="T7" fmla="*/ 179 h 315"/>
                  <a:gd name="T8" fmla="*/ 250 w 478"/>
                  <a:gd name="T9" fmla="*/ 196 h 315"/>
                  <a:gd name="T10" fmla="*/ 231 w 478"/>
                  <a:gd name="T11" fmla="*/ 210 h 315"/>
                  <a:gd name="T12" fmla="*/ 223 w 478"/>
                  <a:gd name="T13" fmla="*/ 210 h 315"/>
                  <a:gd name="T14" fmla="*/ 213 w 478"/>
                  <a:gd name="T15" fmla="*/ 212 h 315"/>
                  <a:gd name="T16" fmla="*/ 202 w 478"/>
                  <a:gd name="T17" fmla="*/ 214 h 315"/>
                  <a:gd name="T18" fmla="*/ 194 w 478"/>
                  <a:gd name="T19" fmla="*/ 216 h 315"/>
                  <a:gd name="T20" fmla="*/ 148 w 478"/>
                  <a:gd name="T21" fmla="*/ 244 h 315"/>
                  <a:gd name="T22" fmla="*/ 110 w 478"/>
                  <a:gd name="T23" fmla="*/ 281 h 315"/>
                  <a:gd name="T24" fmla="*/ 90 w 478"/>
                  <a:gd name="T25" fmla="*/ 283 h 315"/>
                  <a:gd name="T26" fmla="*/ 54 w 478"/>
                  <a:gd name="T27" fmla="*/ 315 h 315"/>
                  <a:gd name="T28" fmla="*/ 0 w 478"/>
                  <a:gd name="T29" fmla="*/ 237 h 315"/>
                  <a:gd name="T30" fmla="*/ 23 w 478"/>
                  <a:gd name="T31" fmla="*/ 193 h 315"/>
                  <a:gd name="T32" fmla="*/ 85 w 478"/>
                  <a:gd name="T33" fmla="*/ 191 h 315"/>
                  <a:gd name="T34" fmla="*/ 108 w 478"/>
                  <a:gd name="T35" fmla="*/ 141 h 315"/>
                  <a:gd name="T36" fmla="*/ 98 w 478"/>
                  <a:gd name="T37" fmla="*/ 129 h 315"/>
                  <a:gd name="T38" fmla="*/ 98 w 478"/>
                  <a:gd name="T39" fmla="*/ 110 h 315"/>
                  <a:gd name="T40" fmla="*/ 88 w 478"/>
                  <a:gd name="T41" fmla="*/ 95 h 315"/>
                  <a:gd name="T42" fmla="*/ 96 w 478"/>
                  <a:gd name="T43" fmla="*/ 87 h 315"/>
                  <a:gd name="T44" fmla="*/ 146 w 478"/>
                  <a:gd name="T45" fmla="*/ 77 h 315"/>
                  <a:gd name="T46" fmla="*/ 158 w 478"/>
                  <a:gd name="T47" fmla="*/ 72 h 315"/>
                  <a:gd name="T48" fmla="*/ 202 w 478"/>
                  <a:gd name="T49" fmla="*/ 43 h 315"/>
                  <a:gd name="T50" fmla="*/ 271 w 478"/>
                  <a:gd name="T51" fmla="*/ 43 h 315"/>
                  <a:gd name="T52" fmla="*/ 280 w 478"/>
                  <a:gd name="T53" fmla="*/ 43 h 315"/>
                  <a:gd name="T54" fmla="*/ 286 w 478"/>
                  <a:gd name="T55" fmla="*/ 39 h 315"/>
                  <a:gd name="T56" fmla="*/ 336 w 478"/>
                  <a:gd name="T57" fmla="*/ 0 h 315"/>
                  <a:gd name="T58" fmla="*/ 355 w 478"/>
                  <a:gd name="T59" fmla="*/ 45 h 315"/>
                  <a:gd name="T60" fmla="*/ 361 w 478"/>
                  <a:gd name="T61" fmla="*/ 70 h 315"/>
                  <a:gd name="T62" fmla="*/ 371 w 478"/>
                  <a:gd name="T63" fmla="*/ 85 h 315"/>
                  <a:gd name="T64" fmla="*/ 428 w 478"/>
                  <a:gd name="T65" fmla="*/ 72 h 315"/>
                  <a:gd name="T66" fmla="*/ 465 w 478"/>
                  <a:gd name="T67" fmla="*/ 64 h 315"/>
                  <a:gd name="T68" fmla="*/ 476 w 478"/>
                  <a:gd name="T69" fmla="*/ 112 h 315"/>
                  <a:gd name="T70" fmla="*/ 478 w 478"/>
                  <a:gd name="T71" fmla="*/ 123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315">
                    <a:moveTo>
                      <a:pt x="478" y="123"/>
                    </a:moveTo>
                    <a:lnTo>
                      <a:pt x="474" y="125"/>
                    </a:lnTo>
                    <a:lnTo>
                      <a:pt x="455" y="129"/>
                    </a:lnTo>
                    <a:lnTo>
                      <a:pt x="444" y="131"/>
                    </a:lnTo>
                    <a:lnTo>
                      <a:pt x="424" y="139"/>
                    </a:lnTo>
                    <a:lnTo>
                      <a:pt x="413" y="143"/>
                    </a:lnTo>
                    <a:lnTo>
                      <a:pt x="398" y="152"/>
                    </a:lnTo>
                    <a:lnTo>
                      <a:pt x="303" y="179"/>
                    </a:lnTo>
                    <a:lnTo>
                      <a:pt x="298" y="177"/>
                    </a:lnTo>
                    <a:lnTo>
                      <a:pt x="250" y="196"/>
                    </a:lnTo>
                    <a:lnTo>
                      <a:pt x="244" y="200"/>
                    </a:lnTo>
                    <a:lnTo>
                      <a:pt x="231" y="210"/>
                    </a:lnTo>
                    <a:lnTo>
                      <a:pt x="225" y="214"/>
                    </a:lnTo>
                    <a:lnTo>
                      <a:pt x="223" y="210"/>
                    </a:lnTo>
                    <a:lnTo>
                      <a:pt x="219" y="210"/>
                    </a:lnTo>
                    <a:lnTo>
                      <a:pt x="213" y="212"/>
                    </a:lnTo>
                    <a:lnTo>
                      <a:pt x="206" y="216"/>
                    </a:lnTo>
                    <a:lnTo>
                      <a:pt x="202" y="214"/>
                    </a:lnTo>
                    <a:lnTo>
                      <a:pt x="200" y="214"/>
                    </a:lnTo>
                    <a:lnTo>
                      <a:pt x="194" y="216"/>
                    </a:lnTo>
                    <a:lnTo>
                      <a:pt x="156" y="248"/>
                    </a:lnTo>
                    <a:lnTo>
                      <a:pt x="148" y="244"/>
                    </a:lnTo>
                    <a:lnTo>
                      <a:pt x="140" y="248"/>
                    </a:lnTo>
                    <a:lnTo>
                      <a:pt x="110" y="281"/>
                    </a:lnTo>
                    <a:lnTo>
                      <a:pt x="102" y="283"/>
                    </a:lnTo>
                    <a:lnTo>
                      <a:pt x="90" y="283"/>
                    </a:lnTo>
                    <a:lnTo>
                      <a:pt x="81" y="289"/>
                    </a:lnTo>
                    <a:lnTo>
                      <a:pt x="54" y="315"/>
                    </a:lnTo>
                    <a:lnTo>
                      <a:pt x="2" y="248"/>
                    </a:lnTo>
                    <a:lnTo>
                      <a:pt x="0" y="237"/>
                    </a:lnTo>
                    <a:lnTo>
                      <a:pt x="4" y="218"/>
                    </a:lnTo>
                    <a:lnTo>
                      <a:pt x="23" y="193"/>
                    </a:lnTo>
                    <a:lnTo>
                      <a:pt x="44" y="193"/>
                    </a:lnTo>
                    <a:lnTo>
                      <a:pt x="85" y="191"/>
                    </a:lnTo>
                    <a:lnTo>
                      <a:pt x="106" y="191"/>
                    </a:lnTo>
                    <a:lnTo>
                      <a:pt x="108" y="141"/>
                    </a:lnTo>
                    <a:lnTo>
                      <a:pt x="104" y="137"/>
                    </a:lnTo>
                    <a:lnTo>
                      <a:pt x="98" y="129"/>
                    </a:lnTo>
                    <a:lnTo>
                      <a:pt x="98" y="125"/>
                    </a:lnTo>
                    <a:lnTo>
                      <a:pt x="98" y="110"/>
                    </a:lnTo>
                    <a:lnTo>
                      <a:pt x="94" y="102"/>
                    </a:lnTo>
                    <a:lnTo>
                      <a:pt x="88" y="95"/>
                    </a:lnTo>
                    <a:lnTo>
                      <a:pt x="90" y="93"/>
                    </a:lnTo>
                    <a:lnTo>
                      <a:pt x="96" y="87"/>
                    </a:lnTo>
                    <a:lnTo>
                      <a:pt x="106" y="85"/>
                    </a:lnTo>
                    <a:lnTo>
                      <a:pt x="146" y="77"/>
                    </a:lnTo>
                    <a:lnTo>
                      <a:pt x="154" y="75"/>
                    </a:lnTo>
                    <a:lnTo>
                      <a:pt x="158" y="72"/>
                    </a:lnTo>
                    <a:lnTo>
                      <a:pt x="154" y="52"/>
                    </a:lnTo>
                    <a:lnTo>
                      <a:pt x="202" y="43"/>
                    </a:lnTo>
                    <a:lnTo>
                      <a:pt x="255" y="43"/>
                    </a:lnTo>
                    <a:lnTo>
                      <a:pt x="271" y="43"/>
                    </a:lnTo>
                    <a:lnTo>
                      <a:pt x="277" y="43"/>
                    </a:lnTo>
                    <a:lnTo>
                      <a:pt x="280" y="43"/>
                    </a:lnTo>
                    <a:lnTo>
                      <a:pt x="282" y="43"/>
                    </a:lnTo>
                    <a:lnTo>
                      <a:pt x="286" y="39"/>
                    </a:lnTo>
                    <a:lnTo>
                      <a:pt x="296" y="33"/>
                    </a:lnTo>
                    <a:lnTo>
                      <a:pt x="336" y="0"/>
                    </a:lnTo>
                    <a:lnTo>
                      <a:pt x="350" y="27"/>
                    </a:lnTo>
                    <a:lnTo>
                      <a:pt x="355" y="45"/>
                    </a:lnTo>
                    <a:lnTo>
                      <a:pt x="357" y="60"/>
                    </a:lnTo>
                    <a:lnTo>
                      <a:pt x="361" y="70"/>
                    </a:lnTo>
                    <a:lnTo>
                      <a:pt x="365" y="73"/>
                    </a:lnTo>
                    <a:lnTo>
                      <a:pt x="371" y="85"/>
                    </a:lnTo>
                    <a:lnTo>
                      <a:pt x="421" y="73"/>
                    </a:lnTo>
                    <a:lnTo>
                      <a:pt x="428" y="72"/>
                    </a:lnTo>
                    <a:lnTo>
                      <a:pt x="461" y="64"/>
                    </a:lnTo>
                    <a:lnTo>
                      <a:pt x="465" y="64"/>
                    </a:lnTo>
                    <a:lnTo>
                      <a:pt x="472" y="102"/>
                    </a:lnTo>
                    <a:lnTo>
                      <a:pt x="476" y="112"/>
                    </a:lnTo>
                    <a:lnTo>
                      <a:pt x="476" y="118"/>
                    </a:lnTo>
                    <a:lnTo>
                      <a:pt x="478"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4" name="Freeform 54">
                <a:extLst>
                  <a:ext uri="{FF2B5EF4-FFF2-40B4-BE49-F238E27FC236}">
                    <a16:creationId xmlns:a16="http://schemas.microsoft.com/office/drawing/2014/main" id="{1A6A4317-0188-9223-5986-B3CFB89B9365}"/>
                  </a:ext>
                </a:extLst>
              </p:cNvPr>
              <p:cNvSpPr>
                <a:spLocks noEditPoints="1"/>
              </p:cNvSpPr>
              <p:nvPr/>
            </p:nvSpPr>
            <p:spPr bwMode="gray">
              <a:xfrm>
                <a:off x="2275249" y="4094271"/>
                <a:ext cx="1762742" cy="1627406"/>
              </a:xfrm>
              <a:custGeom>
                <a:avLst/>
                <a:gdLst>
                  <a:gd name="T0" fmla="*/ 908 w 1563"/>
                  <a:gd name="T1" fmla="*/ 1443 h 1443"/>
                  <a:gd name="T2" fmla="*/ 922 w 1563"/>
                  <a:gd name="T3" fmla="*/ 1382 h 1443"/>
                  <a:gd name="T4" fmla="*/ 876 w 1563"/>
                  <a:gd name="T5" fmla="*/ 1270 h 1443"/>
                  <a:gd name="T6" fmla="*/ 897 w 1563"/>
                  <a:gd name="T7" fmla="*/ 1347 h 1443"/>
                  <a:gd name="T8" fmla="*/ 812 w 1563"/>
                  <a:gd name="T9" fmla="*/ 1324 h 1443"/>
                  <a:gd name="T10" fmla="*/ 812 w 1563"/>
                  <a:gd name="T11" fmla="*/ 1260 h 1443"/>
                  <a:gd name="T12" fmla="*/ 803 w 1563"/>
                  <a:gd name="T13" fmla="*/ 1124 h 1443"/>
                  <a:gd name="T14" fmla="*/ 734 w 1563"/>
                  <a:gd name="T15" fmla="*/ 1170 h 1443"/>
                  <a:gd name="T16" fmla="*/ 670 w 1563"/>
                  <a:gd name="T17" fmla="*/ 1157 h 1443"/>
                  <a:gd name="T18" fmla="*/ 730 w 1563"/>
                  <a:gd name="T19" fmla="*/ 1091 h 1443"/>
                  <a:gd name="T20" fmla="*/ 1469 w 1563"/>
                  <a:gd name="T21" fmla="*/ 936 h 1443"/>
                  <a:gd name="T22" fmla="*/ 1529 w 1563"/>
                  <a:gd name="T23" fmla="*/ 947 h 1443"/>
                  <a:gd name="T24" fmla="*/ 793 w 1563"/>
                  <a:gd name="T25" fmla="*/ 897 h 1443"/>
                  <a:gd name="T26" fmla="*/ 814 w 1563"/>
                  <a:gd name="T27" fmla="*/ 965 h 1443"/>
                  <a:gd name="T28" fmla="*/ 549 w 1563"/>
                  <a:gd name="T29" fmla="*/ 955 h 1443"/>
                  <a:gd name="T30" fmla="*/ 682 w 1563"/>
                  <a:gd name="T31" fmla="*/ 865 h 1443"/>
                  <a:gd name="T32" fmla="*/ 1135 w 1563"/>
                  <a:gd name="T33" fmla="*/ 886 h 1443"/>
                  <a:gd name="T34" fmla="*/ 1331 w 1563"/>
                  <a:gd name="T35" fmla="*/ 882 h 1443"/>
                  <a:gd name="T36" fmla="*/ 1281 w 1563"/>
                  <a:gd name="T37" fmla="*/ 1036 h 1443"/>
                  <a:gd name="T38" fmla="*/ 1120 w 1563"/>
                  <a:gd name="T39" fmla="*/ 1017 h 1443"/>
                  <a:gd name="T40" fmla="*/ 1043 w 1563"/>
                  <a:gd name="T41" fmla="*/ 742 h 1443"/>
                  <a:gd name="T42" fmla="*/ 1039 w 1563"/>
                  <a:gd name="T43" fmla="*/ 736 h 1443"/>
                  <a:gd name="T44" fmla="*/ 999 w 1563"/>
                  <a:gd name="T45" fmla="*/ 751 h 1443"/>
                  <a:gd name="T46" fmla="*/ 976 w 1563"/>
                  <a:gd name="T47" fmla="*/ 700 h 1443"/>
                  <a:gd name="T48" fmla="*/ 1112 w 1563"/>
                  <a:gd name="T49" fmla="*/ 661 h 1443"/>
                  <a:gd name="T50" fmla="*/ 1212 w 1563"/>
                  <a:gd name="T51" fmla="*/ 728 h 1443"/>
                  <a:gd name="T52" fmla="*/ 968 w 1563"/>
                  <a:gd name="T53" fmla="*/ 661 h 1443"/>
                  <a:gd name="T54" fmla="*/ 1006 w 1563"/>
                  <a:gd name="T55" fmla="*/ 602 h 1443"/>
                  <a:gd name="T56" fmla="*/ 1321 w 1563"/>
                  <a:gd name="T57" fmla="*/ 738 h 1443"/>
                  <a:gd name="T58" fmla="*/ 1120 w 1563"/>
                  <a:gd name="T59" fmla="*/ 638 h 1443"/>
                  <a:gd name="T60" fmla="*/ 1170 w 1563"/>
                  <a:gd name="T61" fmla="*/ 575 h 1443"/>
                  <a:gd name="T62" fmla="*/ 659 w 1563"/>
                  <a:gd name="T63" fmla="*/ 23 h 1443"/>
                  <a:gd name="T64" fmla="*/ 703 w 1563"/>
                  <a:gd name="T65" fmla="*/ 18 h 1443"/>
                  <a:gd name="T66" fmla="*/ 778 w 1563"/>
                  <a:gd name="T67" fmla="*/ 117 h 1443"/>
                  <a:gd name="T68" fmla="*/ 830 w 1563"/>
                  <a:gd name="T69" fmla="*/ 150 h 1443"/>
                  <a:gd name="T70" fmla="*/ 884 w 1563"/>
                  <a:gd name="T71" fmla="*/ 231 h 1443"/>
                  <a:gd name="T72" fmla="*/ 801 w 1563"/>
                  <a:gd name="T73" fmla="*/ 244 h 1443"/>
                  <a:gd name="T74" fmla="*/ 722 w 1563"/>
                  <a:gd name="T75" fmla="*/ 254 h 1443"/>
                  <a:gd name="T76" fmla="*/ 786 w 1563"/>
                  <a:gd name="T77" fmla="*/ 288 h 1443"/>
                  <a:gd name="T78" fmla="*/ 711 w 1563"/>
                  <a:gd name="T79" fmla="*/ 342 h 1443"/>
                  <a:gd name="T80" fmla="*/ 663 w 1563"/>
                  <a:gd name="T81" fmla="*/ 327 h 1443"/>
                  <a:gd name="T82" fmla="*/ 569 w 1563"/>
                  <a:gd name="T83" fmla="*/ 269 h 1443"/>
                  <a:gd name="T84" fmla="*/ 576 w 1563"/>
                  <a:gd name="T85" fmla="*/ 323 h 1443"/>
                  <a:gd name="T86" fmla="*/ 430 w 1563"/>
                  <a:gd name="T87" fmla="*/ 450 h 1443"/>
                  <a:gd name="T88" fmla="*/ 346 w 1563"/>
                  <a:gd name="T89" fmla="*/ 294 h 1443"/>
                  <a:gd name="T90" fmla="*/ 271 w 1563"/>
                  <a:gd name="T91" fmla="*/ 675 h 1443"/>
                  <a:gd name="T92" fmla="*/ 144 w 1563"/>
                  <a:gd name="T93" fmla="*/ 701 h 1443"/>
                  <a:gd name="T94" fmla="*/ 169 w 1563"/>
                  <a:gd name="T95" fmla="*/ 744 h 1443"/>
                  <a:gd name="T96" fmla="*/ 196 w 1563"/>
                  <a:gd name="T97" fmla="*/ 655 h 1443"/>
                  <a:gd name="T98" fmla="*/ 140 w 1563"/>
                  <a:gd name="T99" fmla="*/ 513 h 1443"/>
                  <a:gd name="T100" fmla="*/ 0 w 1563"/>
                  <a:gd name="T101" fmla="*/ 237 h 1443"/>
                  <a:gd name="T102" fmla="*/ 392 w 1563"/>
                  <a:gd name="T103" fmla="*/ 19 h 1443"/>
                  <a:gd name="T104" fmla="*/ 356 w 1563"/>
                  <a:gd name="T105" fmla="*/ 123 h 1443"/>
                  <a:gd name="T106" fmla="*/ 371 w 1563"/>
                  <a:gd name="T107" fmla="*/ 183 h 1443"/>
                  <a:gd name="T108" fmla="*/ 455 w 1563"/>
                  <a:gd name="T109" fmla="*/ 104 h 1443"/>
                  <a:gd name="T110" fmla="*/ 498 w 1563"/>
                  <a:gd name="T111" fmla="*/ 110 h 1443"/>
                  <a:gd name="T112" fmla="*/ 540 w 1563"/>
                  <a:gd name="T113" fmla="*/ 179 h 1443"/>
                  <a:gd name="T114" fmla="*/ 588 w 1563"/>
                  <a:gd name="T115" fmla="*/ 156 h 1443"/>
                  <a:gd name="T116" fmla="*/ 546 w 1563"/>
                  <a:gd name="T117" fmla="*/ 104 h 1443"/>
                  <a:gd name="T118" fmla="*/ 509 w 1563"/>
                  <a:gd name="T119" fmla="*/ 27 h 1443"/>
                  <a:gd name="T120" fmla="*/ 594 w 1563"/>
                  <a:gd name="T121" fmla="*/ 0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3" h="1443">
                    <a:moveTo>
                      <a:pt x="916" y="1416"/>
                    </a:moveTo>
                    <a:lnTo>
                      <a:pt x="916" y="1426"/>
                    </a:lnTo>
                    <a:lnTo>
                      <a:pt x="914" y="1424"/>
                    </a:lnTo>
                    <a:lnTo>
                      <a:pt x="912" y="1424"/>
                    </a:lnTo>
                    <a:lnTo>
                      <a:pt x="912" y="1426"/>
                    </a:lnTo>
                    <a:lnTo>
                      <a:pt x="912" y="1428"/>
                    </a:lnTo>
                    <a:lnTo>
                      <a:pt x="912" y="1430"/>
                    </a:lnTo>
                    <a:lnTo>
                      <a:pt x="912" y="1431"/>
                    </a:lnTo>
                    <a:lnTo>
                      <a:pt x="912" y="1435"/>
                    </a:lnTo>
                    <a:lnTo>
                      <a:pt x="914" y="1435"/>
                    </a:lnTo>
                    <a:lnTo>
                      <a:pt x="908" y="1443"/>
                    </a:lnTo>
                    <a:lnTo>
                      <a:pt x="908" y="1441"/>
                    </a:lnTo>
                    <a:lnTo>
                      <a:pt x="907" y="1439"/>
                    </a:lnTo>
                    <a:lnTo>
                      <a:pt x="905" y="1435"/>
                    </a:lnTo>
                    <a:lnTo>
                      <a:pt x="907" y="1430"/>
                    </a:lnTo>
                    <a:lnTo>
                      <a:pt x="914" y="1418"/>
                    </a:lnTo>
                    <a:lnTo>
                      <a:pt x="914" y="1416"/>
                    </a:lnTo>
                    <a:lnTo>
                      <a:pt x="916" y="1416"/>
                    </a:lnTo>
                    <a:close/>
                    <a:moveTo>
                      <a:pt x="930" y="1389"/>
                    </a:moveTo>
                    <a:lnTo>
                      <a:pt x="926" y="1389"/>
                    </a:lnTo>
                    <a:lnTo>
                      <a:pt x="924" y="1389"/>
                    </a:lnTo>
                    <a:lnTo>
                      <a:pt x="922" y="1382"/>
                    </a:lnTo>
                    <a:lnTo>
                      <a:pt x="922" y="1378"/>
                    </a:lnTo>
                    <a:lnTo>
                      <a:pt x="920" y="1372"/>
                    </a:lnTo>
                    <a:lnTo>
                      <a:pt x="922" y="1370"/>
                    </a:lnTo>
                    <a:lnTo>
                      <a:pt x="930" y="1378"/>
                    </a:lnTo>
                    <a:lnTo>
                      <a:pt x="932" y="1382"/>
                    </a:lnTo>
                    <a:lnTo>
                      <a:pt x="932" y="1385"/>
                    </a:lnTo>
                    <a:lnTo>
                      <a:pt x="930" y="1389"/>
                    </a:lnTo>
                    <a:close/>
                    <a:moveTo>
                      <a:pt x="849" y="1272"/>
                    </a:moveTo>
                    <a:lnTo>
                      <a:pt x="860" y="1276"/>
                    </a:lnTo>
                    <a:lnTo>
                      <a:pt x="868" y="1274"/>
                    </a:lnTo>
                    <a:lnTo>
                      <a:pt x="876" y="1270"/>
                    </a:lnTo>
                    <a:lnTo>
                      <a:pt x="885" y="1274"/>
                    </a:lnTo>
                    <a:lnTo>
                      <a:pt x="903" y="1278"/>
                    </a:lnTo>
                    <a:lnTo>
                      <a:pt x="916" y="1278"/>
                    </a:lnTo>
                    <a:lnTo>
                      <a:pt x="916" y="1285"/>
                    </a:lnTo>
                    <a:lnTo>
                      <a:pt x="912" y="1291"/>
                    </a:lnTo>
                    <a:lnTo>
                      <a:pt x="895" y="1293"/>
                    </a:lnTo>
                    <a:lnTo>
                      <a:pt x="893" y="1301"/>
                    </a:lnTo>
                    <a:lnTo>
                      <a:pt x="895" y="1310"/>
                    </a:lnTo>
                    <a:lnTo>
                      <a:pt x="891" y="1326"/>
                    </a:lnTo>
                    <a:lnTo>
                      <a:pt x="895" y="1332"/>
                    </a:lnTo>
                    <a:lnTo>
                      <a:pt x="897" y="1347"/>
                    </a:lnTo>
                    <a:lnTo>
                      <a:pt x="893" y="1353"/>
                    </a:lnTo>
                    <a:lnTo>
                      <a:pt x="880" y="1358"/>
                    </a:lnTo>
                    <a:lnTo>
                      <a:pt x="864" y="1355"/>
                    </a:lnTo>
                    <a:lnTo>
                      <a:pt x="859" y="1353"/>
                    </a:lnTo>
                    <a:lnTo>
                      <a:pt x="847" y="1345"/>
                    </a:lnTo>
                    <a:lnTo>
                      <a:pt x="841" y="1349"/>
                    </a:lnTo>
                    <a:lnTo>
                      <a:pt x="834" y="1351"/>
                    </a:lnTo>
                    <a:lnTo>
                      <a:pt x="826" y="1349"/>
                    </a:lnTo>
                    <a:lnTo>
                      <a:pt x="824" y="1337"/>
                    </a:lnTo>
                    <a:lnTo>
                      <a:pt x="816" y="1332"/>
                    </a:lnTo>
                    <a:lnTo>
                      <a:pt x="812" y="1324"/>
                    </a:lnTo>
                    <a:lnTo>
                      <a:pt x="812" y="1310"/>
                    </a:lnTo>
                    <a:lnTo>
                      <a:pt x="801" y="1295"/>
                    </a:lnTo>
                    <a:lnTo>
                      <a:pt x="789" y="1287"/>
                    </a:lnTo>
                    <a:lnTo>
                      <a:pt x="784" y="1291"/>
                    </a:lnTo>
                    <a:lnTo>
                      <a:pt x="776" y="1289"/>
                    </a:lnTo>
                    <a:lnTo>
                      <a:pt x="776" y="1284"/>
                    </a:lnTo>
                    <a:lnTo>
                      <a:pt x="780" y="1276"/>
                    </a:lnTo>
                    <a:lnTo>
                      <a:pt x="786" y="1270"/>
                    </a:lnTo>
                    <a:lnTo>
                      <a:pt x="795" y="1268"/>
                    </a:lnTo>
                    <a:lnTo>
                      <a:pt x="803" y="1262"/>
                    </a:lnTo>
                    <a:lnTo>
                      <a:pt x="812" y="1260"/>
                    </a:lnTo>
                    <a:lnTo>
                      <a:pt x="822" y="1253"/>
                    </a:lnTo>
                    <a:lnTo>
                      <a:pt x="830" y="1262"/>
                    </a:lnTo>
                    <a:lnTo>
                      <a:pt x="837" y="1264"/>
                    </a:lnTo>
                    <a:lnTo>
                      <a:pt x="849" y="1272"/>
                    </a:lnTo>
                    <a:close/>
                    <a:moveTo>
                      <a:pt x="768" y="1105"/>
                    </a:moveTo>
                    <a:lnTo>
                      <a:pt x="778" y="1114"/>
                    </a:lnTo>
                    <a:lnTo>
                      <a:pt x="782" y="1109"/>
                    </a:lnTo>
                    <a:lnTo>
                      <a:pt x="793" y="1107"/>
                    </a:lnTo>
                    <a:lnTo>
                      <a:pt x="803" y="1113"/>
                    </a:lnTo>
                    <a:lnTo>
                      <a:pt x="807" y="1118"/>
                    </a:lnTo>
                    <a:lnTo>
                      <a:pt x="803" y="1124"/>
                    </a:lnTo>
                    <a:lnTo>
                      <a:pt x="803" y="1130"/>
                    </a:lnTo>
                    <a:lnTo>
                      <a:pt x="799" y="1130"/>
                    </a:lnTo>
                    <a:lnTo>
                      <a:pt x="797" y="1130"/>
                    </a:lnTo>
                    <a:lnTo>
                      <a:pt x="788" y="1130"/>
                    </a:lnTo>
                    <a:lnTo>
                      <a:pt x="778" y="1136"/>
                    </a:lnTo>
                    <a:lnTo>
                      <a:pt x="768" y="1147"/>
                    </a:lnTo>
                    <a:lnTo>
                      <a:pt x="770" y="1157"/>
                    </a:lnTo>
                    <a:lnTo>
                      <a:pt x="770" y="1166"/>
                    </a:lnTo>
                    <a:lnTo>
                      <a:pt x="761" y="1166"/>
                    </a:lnTo>
                    <a:lnTo>
                      <a:pt x="743" y="1170"/>
                    </a:lnTo>
                    <a:lnTo>
                      <a:pt x="734" y="1170"/>
                    </a:lnTo>
                    <a:lnTo>
                      <a:pt x="722" y="1178"/>
                    </a:lnTo>
                    <a:lnTo>
                      <a:pt x="711" y="1189"/>
                    </a:lnTo>
                    <a:lnTo>
                      <a:pt x="699" y="1191"/>
                    </a:lnTo>
                    <a:lnTo>
                      <a:pt x="678" y="1214"/>
                    </a:lnTo>
                    <a:lnTo>
                      <a:pt x="678" y="1211"/>
                    </a:lnTo>
                    <a:lnTo>
                      <a:pt x="678" y="1203"/>
                    </a:lnTo>
                    <a:lnTo>
                      <a:pt x="674" y="1197"/>
                    </a:lnTo>
                    <a:lnTo>
                      <a:pt x="672" y="1180"/>
                    </a:lnTo>
                    <a:lnTo>
                      <a:pt x="670" y="1172"/>
                    </a:lnTo>
                    <a:lnTo>
                      <a:pt x="672" y="1159"/>
                    </a:lnTo>
                    <a:lnTo>
                      <a:pt x="670" y="1157"/>
                    </a:lnTo>
                    <a:lnTo>
                      <a:pt x="655" y="1145"/>
                    </a:lnTo>
                    <a:lnTo>
                      <a:pt x="655" y="1136"/>
                    </a:lnTo>
                    <a:lnTo>
                      <a:pt x="665" y="1138"/>
                    </a:lnTo>
                    <a:lnTo>
                      <a:pt x="670" y="1136"/>
                    </a:lnTo>
                    <a:lnTo>
                      <a:pt x="684" y="1145"/>
                    </a:lnTo>
                    <a:lnTo>
                      <a:pt x="697" y="1141"/>
                    </a:lnTo>
                    <a:lnTo>
                      <a:pt x="711" y="1132"/>
                    </a:lnTo>
                    <a:lnTo>
                      <a:pt x="716" y="1124"/>
                    </a:lnTo>
                    <a:lnTo>
                      <a:pt x="718" y="1109"/>
                    </a:lnTo>
                    <a:lnTo>
                      <a:pt x="720" y="1097"/>
                    </a:lnTo>
                    <a:lnTo>
                      <a:pt x="730" y="1091"/>
                    </a:lnTo>
                    <a:lnTo>
                      <a:pt x="736" y="1093"/>
                    </a:lnTo>
                    <a:lnTo>
                      <a:pt x="749" y="1097"/>
                    </a:lnTo>
                    <a:lnTo>
                      <a:pt x="757" y="1101"/>
                    </a:lnTo>
                    <a:lnTo>
                      <a:pt x="768" y="1105"/>
                    </a:lnTo>
                    <a:close/>
                    <a:moveTo>
                      <a:pt x="1563" y="990"/>
                    </a:moveTo>
                    <a:lnTo>
                      <a:pt x="1557" y="992"/>
                    </a:lnTo>
                    <a:lnTo>
                      <a:pt x="1531" y="982"/>
                    </a:lnTo>
                    <a:lnTo>
                      <a:pt x="1525" y="978"/>
                    </a:lnTo>
                    <a:lnTo>
                      <a:pt x="1496" y="965"/>
                    </a:lnTo>
                    <a:lnTo>
                      <a:pt x="1475" y="947"/>
                    </a:lnTo>
                    <a:lnTo>
                      <a:pt x="1469" y="936"/>
                    </a:lnTo>
                    <a:lnTo>
                      <a:pt x="1463" y="924"/>
                    </a:lnTo>
                    <a:lnTo>
                      <a:pt x="1458" y="909"/>
                    </a:lnTo>
                    <a:lnTo>
                      <a:pt x="1458" y="899"/>
                    </a:lnTo>
                    <a:lnTo>
                      <a:pt x="1460" y="890"/>
                    </a:lnTo>
                    <a:lnTo>
                      <a:pt x="1460" y="882"/>
                    </a:lnTo>
                    <a:lnTo>
                      <a:pt x="1465" y="880"/>
                    </a:lnTo>
                    <a:lnTo>
                      <a:pt x="1486" y="899"/>
                    </a:lnTo>
                    <a:lnTo>
                      <a:pt x="1500" y="911"/>
                    </a:lnTo>
                    <a:lnTo>
                      <a:pt x="1509" y="917"/>
                    </a:lnTo>
                    <a:lnTo>
                      <a:pt x="1523" y="938"/>
                    </a:lnTo>
                    <a:lnTo>
                      <a:pt x="1529" y="947"/>
                    </a:lnTo>
                    <a:lnTo>
                      <a:pt x="1563" y="982"/>
                    </a:lnTo>
                    <a:lnTo>
                      <a:pt x="1563" y="990"/>
                    </a:lnTo>
                    <a:close/>
                    <a:moveTo>
                      <a:pt x="718" y="867"/>
                    </a:moveTo>
                    <a:lnTo>
                      <a:pt x="722" y="874"/>
                    </a:lnTo>
                    <a:lnTo>
                      <a:pt x="732" y="886"/>
                    </a:lnTo>
                    <a:lnTo>
                      <a:pt x="745" y="892"/>
                    </a:lnTo>
                    <a:lnTo>
                      <a:pt x="761" y="888"/>
                    </a:lnTo>
                    <a:lnTo>
                      <a:pt x="774" y="884"/>
                    </a:lnTo>
                    <a:lnTo>
                      <a:pt x="776" y="878"/>
                    </a:lnTo>
                    <a:lnTo>
                      <a:pt x="788" y="882"/>
                    </a:lnTo>
                    <a:lnTo>
                      <a:pt x="793" y="897"/>
                    </a:lnTo>
                    <a:lnTo>
                      <a:pt x="786" y="895"/>
                    </a:lnTo>
                    <a:lnTo>
                      <a:pt x="766" y="907"/>
                    </a:lnTo>
                    <a:lnTo>
                      <a:pt x="774" y="919"/>
                    </a:lnTo>
                    <a:lnTo>
                      <a:pt x="788" y="922"/>
                    </a:lnTo>
                    <a:lnTo>
                      <a:pt x="797" y="930"/>
                    </a:lnTo>
                    <a:lnTo>
                      <a:pt x="805" y="940"/>
                    </a:lnTo>
                    <a:lnTo>
                      <a:pt x="812" y="942"/>
                    </a:lnTo>
                    <a:lnTo>
                      <a:pt x="816" y="940"/>
                    </a:lnTo>
                    <a:lnTo>
                      <a:pt x="830" y="955"/>
                    </a:lnTo>
                    <a:lnTo>
                      <a:pt x="830" y="961"/>
                    </a:lnTo>
                    <a:lnTo>
                      <a:pt x="814" y="965"/>
                    </a:lnTo>
                    <a:lnTo>
                      <a:pt x="814" y="957"/>
                    </a:lnTo>
                    <a:lnTo>
                      <a:pt x="805" y="953"/>
                    </a:lnTo>
                    <a:lnTo>
                      <a:pt x="795" y="957"/>
                    </a:lnTo>
                    <a:lnTo>
                      <a:pt x="795" y="963"/>
                    </a:lnTo>
                    <a:lnTo>
                      <a:pt x="778" y="968"/>
                    </a:lnTo>
                    <a:lnTo>
                      <a:pt x="749" y="972"/>
                    </a:lnTo>
                    <a:lnTo>
                      <a:pt x="732" y="965"/>
                    </a:lnTo>
                    <a:lnTo>
                      <a:pt x="693" y="963"/>
                    </a:lnTo>
                    <a:lnTo>
                      <a:pt x="667" y="970"/>
                    </a:lnTo>
                    <a:lnTo>
                      <a:pt x="653" y="970"/>
                    </a:lnTo>
                    <a:lnTo>
                      <a:pt x="549" y="955"/>
                    </a:lnTo>
                    <a:lnTo>
                      <a:pt x="546" y="945"/>
                    </a:lnTo>
                    <a:lnTo>
                      <a:pt x="549" y="938"/>
                    </a:lnTo>
                    <a:lnTo>
                      <a:pt x="565" y="926"/>
                    </a:lnTo>
                    <a:lnTo>
                      <a:pt x="582" y="917"/>
                    </a:lnTo>
                    <a:lnTo>
                      <a:pt x="596" y="903"/>
                    </a:lnTo>
                    <a:lnTo>
                      <a:pt x="609" y="886"/>
                    </a:lnTo>
                    <a:lnTo>
                      <a:pt x="620" y="876"/>
                    </a:lnTo>
                    <a:lnTo>
                      <a:pt x="634" y="872"/>
                    </a:lnTo>
                    <a:lnTo>
                      <a:pt x="651" y="869"/>
                    </a:lnTo>
                    <a:lnTo>
                      <a:pt x="665" y="871"/>
                    </a:lnTo>
                    <a:lnTo>
                      <a:pt x="682" y="865"/>
                    </a:lnTo>
                    <a:lnTo>
                      <a:pt x="693" y="859"/>
                    </a:lnTo>
                    <a:lnTo>
                      <a:pt x="699" y="853"/>
                    </a:lnTo>
                    <a:lnTo>
                      <a:pt x="720" y="859"/>
                    </a:lnTo>
                    <a:lnTo>
                      <a:pt x="718" y="867"/>
                    </a:lnTo>
                    <a:close/>
                    <a:moveTo>
                      <a:pt x="1104" y="807"/>
                    </a:moveTo>
                    <a:lnTo>
                      <a:pt x="1120" y="851"/>
                    </a:lnTo>
                    <a:lnTo>
                      <a:pt x="1129" y="849"/>
                    </a:lnTo>
                    <a:lnTo>
                      <a:pt x="1135" y="857"/>
                    </a:lnTo>
                    <a:lnTo>
                      <a:pt x="1129" y="869"/>
                    </a:lnTo>
                    <a:lnTo>
                      <a:pt x="1129" y="880"/>
                    </a:lnTo>
                    <a:lnTo>
                      <a:pt x="1135" y="886"/>
                    </a:lnTo>
                    <a:lnTo>
                      <a:pt x="1145" y="884"/>
                    </a:lnTo>
                    <a:lnTo>
                      <a:pt x="1160" y="882"/>
                    </a:lnTo>
                    <a:lnTo>
                      <a:pt x="1177" y="897"/>
                    </a:lnTo>
                    <a:lnTo>
                      <a:pt x="1187" y="899"/>
                    </a:lnTo>
                    <a:lnTo>
                      <a:pt x="1196" y="903"/>
                    </a:lnTo>
                    <a:lnTo>
                      <a:pt x="1210" y="911"/>
                    </a:lnTo>
                    <a:lnTo>
                      <a:pt x="1223" y="909"/>
                    </a:lnTo>
                    <a:lnTo>
                      <a:pt x="1250" y="892"/>
                    </a:lnTo>
                    <a:lnTo>
                      <a:pt x="1275" y="886"/>
                    </a:lnTo>
                    <a:lnTo>
                      <a:pt x="1275" y="882"/>
                    </a:lnTo>
                    <a:lnTo>
                      <a:pt x="1331" y="882"/>
                    </a:lnTo>
                    <a:lnTo>
                      <a:pt x="1331" y="886"/>
                    </a:lnTo>
                    <a:lnTo>
                      <a:pt x="1335" y="890"/>
                    </a:lnTo>
                    <a:lnTo>
                      <a:pt x="1340" y="901"/>
                    </a:lnTo>
                    <a:lnTo>
                      <a:pt x="1344" y="922"/>
                    </a:lnTo>
                    <a:lnTo>
                      <a:pt x="1344" y="984"/>
                    </a:lnTo>
                    <a:lnTo>
                      <a:pt x="1340" y="993"/>
                    </a:lnTo>
                    <a:lnTo>
                      <a:pt x="1331" y="1007"/>
                    </a:lnTo>
                    <a:lnTo>
                      <a:pt x="1321" y="1013"/>
                    </a:lnTo>
                    <a:lnTo>
                      <a:pt x="1304" y="1018"/>
                    </a:lnTo>
                    <a:lnTo>
                      <a:pt x="1289" y="1026"/>
                    </a:lnTo>
                    <a:lnTo>
                      <a:pt x="1281" y="1036"/>
                    </a:lnTo>
                    <a:lnTo>
                      <a:pt x="1277" y="1072"/>
                    </a:lnTo>
                    <a:lnTo>
                      <a:pt x="1264" y="1088"/>
                    </a:lnTo>
                    <a:lnTo>
                      <a:pt x="1239" y="1107"/>
                    </a:lnTo>
                    <a:lnTo>
                      <a:pt x="1218" y="1116"/>
                    </a:lnTo>
                    <a:lnTo>
                      <a:pt x="1200" y="1118"/>
                    </a:lnTo>
                    <a:lnTo>
                      <a:pt x="1185" y="1114"/>
                    </a:lnTo>
                    <a:lnTo>
                      <a:pt x="1173" y="1105"/>
                    </a:lnTo>
                    <a:lnTo>
                      <a:pt x="1118" y="1053"/>
                    </a:lnTo>
                    <a:lnTo>
                      <a:pt x="1114" y="1040"/>
                    </a:lnTo>
                    <a:lnTo>
                      <a:pt x="1114" y="1028"/>
                    </a:lnTo>
                    <a:lnTo>
                      <a:pt x="1120" y="1017"/>
                    </a:lnTo>
                    <a:lnTo>
                      <a:pt x="1108" y="990"/>
                    </a:lnTo>
                    <a:lnTo>
                      <a:pt x="1099" y="953"/>
                    </a:lnTo>
                    <a:lnTo>
                      <a:pt x="1089" y="940"/>
                    </a:lnTo>
                    <a:lnTo>
                      <a:pt x="1095" y="899"/>
                    </a:lnTo>
                    <a:lnTo>
                      <a:pt x="1102" y="878"/>
                    </a:lnTo>
                    <a:lnTo>
                      <a:pt x="1102" y="867"/>
                    </a:lnTo>
                    <a:lnTo>
                      <a:pt x="1108" y="846"/>
                    </a:lnTo>
                    <a:lnTo>
                      <a:pt x="1100" y="832"/>
                    </a:lnTo>
                    <a:lnTo>
                      <a:pt x="1099" y="813"/>
                    </a:lnTo>
                    <a:lnTo>
                      <a:pt x="1104" y="807"/>
                    </a:lnTo>
                    <a:close/>
                    <a:moveTo>
                      <a:pt x="1043" y="742"/>
                    </a:moveTo>
                    <a:lnTo>
                      <a:pt x="1026" y="748"/>
                    </a:lnTo>
                    <a:lnTo>
                      <a:pt x="1031" y="742"/>
                    </a:lnTo>
                    <a:lnTo>
                      <a:pt x="1033" y="736"/>
                    </a:lnTo>
                    <a:lnTo>
                      <a:pt x="1026" y="723"/>
                    </a:lnTo>
                    <a:lnTo>
                      <a:pt x="1022" y="715"/>
                    </a:lnTo>
                    <a:lnTo>
                      <a:pt x="1014" y="709"/>
                    </a:lnTo>
                    <a:lnTo>
                      <a:pt x="1014" y="705"/>
                    </a:lnTo>
                    <a:lnTo>
                      <a:pt x="1037" y="719"/>
                    </a:lnTo>
                    <a:lnTo>
                      <a:pt x="1045" y="726"/>
                    </a:lnTo>
                    <a:lnTo>
                      <a:pt x="1039" y="730"/>
                    </a:lnTo>
                    <a:lnTo>
                      <a:pt x="1039" y="736"/>
                    </a:lnTo>
                    <a:lnTo>
                      <a:pt x="1043" y="742"/>
                    </a:lnTo>
                    <a:close/>
                    <a:moveTo>
                      <a:pt x="983" y="715"/>
                    </a:moveTo>
                    <a:lnTo>
                      <a:pt x="995" y="719"/>
                    </a:lnTo>
                    <a:lnTo>
                      <a:pt x="1004" y="717"/>
                    </a:lnTo>
                    <a:lnTo>
                      <a:pt x="1012" y="719"/>
                    </a:lnTo>
                    <a:lnTo>
                      <a:pt x="1012" y="723"/>
                    </a:lnTo>
                    <a:lnTo>
                      <a:pt x="1006" y="728"/>
                    </a:lnTo>
                    <a:lnTo>
                      <a:pt x="1001" y="736"/>
                    </a:lnTo>
                    <a:lnTo>
                      <a:pt x="1003" y="742"/>
                    </a:lnTo>
                    <a:lnTo>
                      <a:pt x="1012" y="746"/>
                    </a:lnTo>
                    <a:lnTo>
                      <a:pt x="999" y="751"/>
                    </a:lnTo>
                    <a:lnTo>
                      <a:pt x="993" y="751"/>
                    </a:lnTo>
                    <a:lnTo>
                      <a:pt x="981" y="740"/>
                    </a:lnTo>
                    <a:lnTo>
                      <a:pt x="985" y="736"/>
                    </a:lnTo>
                    <a:lnTo>
                      <a:pt x="985" y="728"/>
                    </a:lnTo>
                    <a:lnTo>
                      <a:pt x="981" y="723"/>
                    </a:lnTo>
                    <a:lnTo>
                      <a:pt x="976" y="721"/>
                    </a:lnTo>
                    <a:lnTo>
                      <a:pt x="978" y="711"/>
                    </a:lnTo>
                    <a:lnTo>
                      <a:pt x="974" y="701"/>
                    </a:lnTo>
                    <a:lnTo>
                      <a:pt x="974" y="698"/>
                    </a:lnTo>
                    <a:lnTo>
                      <a:pt x="976" y="692"/>
                    </a:lnTo>
                    <a:lnTo>
                      <a:pt x="976" y="700"/>
                    </a:lnTo>
                    <a:lnTo>
                      <a:pt x="980" y="709"/>
                    </a:lnTo>
                    <a:lnTo>
                      <a:pt x="983" y="715"/>
                    </a:lnTo>
                    <a:close/>
                    <a:moveTo>
                      <a:pt x="1018" y="615"/>
                    </a:moveTo>
                    <a:lnTo>
                      <a:pt x="1054" y="628"/>
                    </a:lnTo>
                    <a:lnTo>
                      <a:pt x="1060" y="617"/>
                    </a:lnTo>
                    <a:lnTo>
                      <a:pt x="1077" y="605"/>
                    </a:lnTo>
                    <a:lnTo>
                      <a:pt x="1087" y="603"/>
                    </a:lnTo>
                    <a:lnTo>
                      <a:pt x="1095" y="609"/>
                    </a:lnTo>
                    <a:lnTo>
                      <a:pt x="1099" y="628"/>
                    </a:lnTo>
                    <a:lnTo>
                      <a:pt x="1108" y="653"/>
                    </a:lnTo>
                    <a:lnTo>
                      <a:pt x="1112" y="661"/>
                    </a:lnTo>
                    <a:lnTo>
                      <a:pt x="1114" y="663"/>
                    </a:lnTo>
                    <a:lnTo>
                      <a:pt x="1120" y="667"/>
                    </a:lnTo>
                    <a:lnTo>
                      <a:pt x="1154" y="676"/>
                    </a:lnTo>
                    <a:lnTo>
                      <a:pt x="1160" y="675"/>
                    </a:lnTo>
                    <a:lnTo>
                      <a:pt x="1172" y="673"/>
                    </a:lnTo>
                    <a:lnTo>
                      <a:pt x="1185" y="675"/>
                    </a:lnTo>
                    <a:lnTo>
                      <a:pt x="1200" y="678"/>
                    </a:lnTo>
                    <a:lnTo>
                      <a:pt x="1216" y="688"/>
                    </a:lnTo>
                    <a:lnTo>
                      <a:pt x="1223" y="690"/>
                    </a:lnTo>
                    <a:lnTo>
                      <a:pt x="1233" y="703"/>
                    </a:lnTo>
                    <a:lnTo>
                      <a:pt x="1212" y="728"/>
                    </a:lnTo>
                    <a:lnTo>
                      <a:pt x="1156" y="726"/>
                    </a:lnTo>
                    <a:lnTo>
                      <a:pt x="1108" y="717"/>
                    </a:lnTo>
                    <a:lnTo>
                      <a:pt x="1095" y="709"/>
                    </a:lnTo>
                    <a:lnTo>
                      <a:pt x="1083" y="703"/>
                    </a:lnTo>
                    <a:lnTo>
                      <a:pt x="1077" y="705"/>
                    </a:lnTo>
                    <a:lnTo>
                      <a:pt x="1070" y="700"/>
                    </a:lnTo>
                    <a:lnTo>
                      <a:pt x="1070" y="698"/>
                    </a:lnTo>
                    <a:lnTo>
                      <a:pt x="1037" y="680"/>
                    </a:lnTo>
                    <a:lnTo>
                      <a:pt x="1026" y="675"/>
                    </a:lnTo>
                    <a:lnTo>
                      <a:pt x="991" y="667"/>
                    </a:lnTo>
                    <a:lnTo>
                      <a:pt x="968" y="661"/>
                    </a:lnTo>
                    <a:lnTo>
                      <a:pt x="955" y="661"/>
                    </a:lnTo>
                    <a:lnTo>
                      <a:pt x="932" y="661"/>
                    </a:lnTo>
                    <a:lnTo>
                      <a:pt x="907" y="650"/>
                    </a:lnTo>
                    <a:lnTo>
                      <a:pt x="899" y="636"/>
                    </a:lnTo>
                    <a:lnTo>
                      <a:pt x="897" y="630"/>
                    </a:lnTo>
                    <a:lnTo>
                      <a:pt x="899" y="623"/>
                    </a:lnTo>
                    <a:lnTo>
                      <a:pt x="912" y="617"/>
                    </a:lnTo>
                    <a:lnTo>
                      <a:pt x="933" y="602"/>
                    </a:lnTo>
                    <a:lnTo>
                      <a:pt x="968" y="596"/>
                    </a:lnTo>
                    <a:lnTo>
                      <a:pt x="989" y="596"/>
                    </a:lnTo>
                    <a:lnTo>
                      <a:pt x="1006" y="602"/>
                    </a:lnTo>
                    <a:lnTo>
                      <a:pt x="1014" y="609"/>
                    </a:lnTo>
                    <a:lnTo>
                      <a:pt x="1018" y="615"/>
                    </a:lnTo>
                    <a:close/>
                    <a:moveTo>
                      <a:pt x="1227" y="628"/>
                    </a:moveTo>
                    <a:lnTo>
                      <a:pt x="1233" y="634"/>
                    </a:lnTo>
                    <a:lnTo>
                      <a:pt x="1237" y="630"/>
                    </a:lnTo>
                    <a:lnTo>
                      <a:pt x="1268" y="657"/>
                    </a:lnTo>
                    <a:lnTo>
                      <a:pt x="1269" y="653"/>
                    </a:lnTo>
                    <a:lnTo>
                      <a:pt x="1302" y="690"/>
                    </a:lnTo>
                    <a:lnTo>
                      <a:pt x="1298" y="701"/>
                    </a:lnTo>
                    <a:lnTo>
                      <a:pt x="1306" y="703"/>
                    </a:lnTo>
                    <a:lnTo>
                      <a:pt x="1321" y="738"/>
                    </a:lnTo>
                    <a:lnTo>
                      <a:pt x="1319" y="742"/>
                    </a:lnTo>
                    <a:lnTo>
                      <a:pt x="1287" y="732"/>
                    </a:lnTo>
                    <a:lnTo>
                      <a:pt x="1260" y="732"/>
                    </a:lnTo>
                    <a:lnTo>
                      <a:pt x="1256" y="726"/>
                    </a:lnTo>
                    <a:lnTo>
                      <a:pt x="1250" y="701"/>
                    </a:lnTo>
                    <a:lnTo>
                      <a:pt x="1231" y="682"/>
                    </a:lnTo>
                    <a:lnTo>
                      <a:pt x="1195" y="669"/>
                    </a:lnTo>
                    <a:lnTo>
                      <a:pt x="1172" y="663"/>
                    </a:lnTo>
                    <a:lnTo>
                      <a:pt x="1152" y="663"/>
                    </a:lnTo>
                    <a:lnTo>
                      <a:pt x="1124" y="650"/>
                    </a:lnTo>
                    <a:lnTo>
                      <a:pt x="1120" y="638"/>
                    </a:lnTo>
                    <a:lnTo>
                      <a:pt x="1120" y="625"/>
                    </a:lnTo>
                    <a:lnTo>
                      <a:pt x="1114" y="602"/>
                    </a:lnTo>
                    <a:lnTo>
                      <a:pt x="1114" y="596"/>
                    </a:lnTo>
                    <a:lnTo>
                      <a:pt x="1110" y="592"/>
                    </a:lnTo>
                    <a:lnTo>
                      <a:pt x="1110" y="582"/>
                    </a:lnTo>
                    <a:lnTo>
                      <a:pt x="1114" y="577"/>
                    </a:lnTo>
                    <a:lnTo>
                      <a:pt x="1116" y="571"/>
                    </a:lnTo>
                    <a:lnTo>
                      <a:pt x="1124" y="565"/>
                    </a:lnTo>
                    <a:lnTo>
                      <a:pt x="1133" y="563"/>
                    </a:lnTo>
                    <a:lnTo>
                      <a:pt x="1160" y="569"/>
                    </a:lnTo>
                    <a:lnTo>
                      <a:pt x="1170" y="575"/>
                    </a:lnTo>
                    <a:lnTo>
                      <a:pt x="1185" y="592"/>
                    </a:lnTo>
                    <a:lnTo>
                      <a:pt x="1200" y="600"/>
                    </a:lnTo>
                    <a:lnTo>
                      <a:pt x="1202" y="602"/>
                    </a:lnTo>
                    <a:lnTo>
                      <a:pt x="1212" y="609"/>
                    </a:lnTo>
                    <a:lnTo>
                      <a:pt x="1225" y="623"/>
                    </a:lnTo>
                    <a:lnTo>
                      <a:pt x="1227" y="628"/>
                    </a:lnTo>
                    <a:close/>
                    <a:moveTo>
                      <a:pt x="605" y="10"/>
                    </a:moveTo>
                    <a:lnTo>
                      <a:pt x="607" y="12"/>
                    </a:lnTo>
                    <a:lnTo>
                      <a:pt x="615" y="12"/>
                    </a:lnTo>
                    <a:lnTo>
                      <a:pt x="617" y="14"/>
                    </a:lnTo>
                    <a:lnTo>
                      <a:pt x="659" y="23"/>
                    </a:lnTo>
                    <a:lnTo>
                      <a:pt x="661" y="21"/>
                    </a:lnTo>
                    <a:lnTo>
                      <a:pt x="663" y="12"/>
                    </a:lnTo>
                    <a:lnTo>
                      <a:pt x="665" y="10"/>
                    </a:lnTo>
                    <a:lnTo>
                      <a:pt x="668" y="10"/>
                    </a:lnTo>
                    <a:lnTo>
                      <a:pt x="684" y="14"/>
                    </a:lnTo>
                    <a:lnTo>
                      <a:pt x="686" y="16"/>
                    </a:lnTo>
                    <a:lnTo>
                      <a:pt x="688" y="18"/>
                    </a:lnTo>
                    <a:lnTo>
                      <a:pt x="692" y="18"/>
                    </a:lnTo>
                    <a:lnTo>
                      <a:pt x="695" y="16"/>
                    </a:lnTo>
                    <a:lnTo>
                      <a:pt x="699" y="18"/>
                    </a:lnTo>
                    <a:lnTo>
                      <a:pt x="703" y="18"/>
                    </a:lnTo>
                    <a:lnTo>
                      <a:pt x="730" y="31"/>
                    </a:lnTo>
                    <a:lnTo>
                      <a:pt x="736" y="35"/>
                    </a:lnTo>
                    <a:lnTo>
                      <a:pt x="740" y="39"/>
                    </a:lnTo>
                    <a:lnTo>
                      <a:pt x="747" y="52"/>
                    </a:lnTo>
                    <a:lnTo>
                      <a:pt x="751" y="66"/>
                    </a:lnTo>
                    <a:lnTo>
                      <a:pt x="753" y="71"/>
                    </a:lnTo>
                    <a:lnTo>
                      <a:pt x="755" y="89"/>
                    </a:lnTo>
                    <a:lnTo>
                      <a:pt x="757" y="92"/>
                    </a:lnTo>
                    <a:lnTo>
                      <a:pt x="764" y="100"/>
                    </a:lnTo>
                    <a:lnTo>
                      <a:pt x="772" y="110"/>
                    </a:lnTo>
                    <a:lnTo>
                      <a:pt x="778" y="117"/>
                    </a:lnTo>
                    <a:lnTo>
                      <a:pt x="784" y="123"/>
                    </a:lnTo>
                    <a:lnTo>
                      <a:pt x="786" y="127"/>
                    </a:lnTo>
                    <a:lnTo>
                      <a:pt x="789" y="129"/>
                    </a:lnTo>
                    <a:lnTo>
                      <a:pt x="793" y="127"/>
                    </a:lnTo>
                    <a:lnTo>
                      <a:pt x="795" y="129"/>
                    </a:lnTo>
                    <a:lnTo>
                      <a:pt x="803" y="137"/>
                    </a:lnTo>
                    <a:lnTo>
                      <a:pt x="809" y="142"/>
                    </a:lnTo>
                    <a:lnTo>
                      <a:pt x="812" y="148"/>
                    </a:lnTo>
                    <a:lnTo>
                      <a:pt x="820" y="150"/>
                    </a:lnTo>
                    <a:lnTo>
                      <a:pt x="824" y="152"/>
                    </a:lnTo>
                    <a:lnTo>
                      <a:pt x="830" y="150"/>
                    </a:lnTo>
                    <a:lnTo>
                      <a:pt x="839" y="150"/>
                    </a:lnTo>
                    <a:lnTo>
                      <a:pt x="847" y="154"/>
                    </a:lnTo>
                    <a:lnTo>
                      <a:pt x="855" y="156"/>
                    </a:lnTo>
                    <a:lnTo>
                      <a:pt x="859" y="160"/>
                    </a:lnTo>
                    <a:lnTo>
                      <a:pt x="903" y="204"/>
                    </a:lnTo>
                    <a:lnTo>
                      <a:pt x="903" y="206"/>
                    </a:lnTo>
                    <a:lnTo>
                      <a:pt x="905" y="210"/>
                    </a:lnTo>
                    <a:lnTo>
                      <a:pt x="903" y="214"/>
                    </a:lnTo>
                    <a:lnTo>
                      <a:pt x="901" y="217"/>
                    </a:lnTo>
                    <a:lnTo>
                      <a:pt x="897" y="221"/>
                    </a:lnTo>
                    <a:lnTo>
                      <a:pt x="884" y="231"/>
                    </a:lnTo>
                    <a:lnTo>
                      <a:pt x="874" y="237"/>
                    </a:lnTo>
                    <a:lnTo>
                      <a:pt x="866" y="238"/>
                    </a:lnTo>
                    <a:lnTo>
                      <a:pt x="857" y="242"/>
                    </a:lnTo>
                    <a:lnTo>
                      <a:pt x="847" y="244"/>
                    </a:lnTo>
                    <a:lnTo>
                      <a:pt x="843" y="244"/>
                    </a:lnTo>
                    <a:lnTo>
                      <a:pt x="824" y="254"/>
                    </a:lnTo>
                    <a:lnTo>
                      <a:pt x="822" y="254"/>
                    </a:lnTo>
                    <a:lnTo>
                      <a:pt x="814" y="244"/>
                    </a:lnTo>
                    <a:lnTo>
                      <a:pt x="811" y="244"/>
                    </a:lnTo>
                    <a:lnTo>
                      <a:pt x="803" y="244"/>
                    </a:lnTo>
                    <a:lnTo>
                      <a:pt x="801" y="244"/>
                    </a:lnTo>
                    <a:lnTo>
                      <a:pt x="799" y="244"/>
                    </a:lnTo>
                    <a:lnTo>
                      <a:pt x="795" y="240"/>
                    </a:lnTo>
                    <a:lnTo>
                      <a:pt x="788" y="238"/>
                    </a:lnTo>
                    <a:lnTo>
                      <a:pt x="778" y="237"/>
                    </a:lnTo>
                    <a:lnTo>
                      <a:pt x="766" y="233"/>
                    </a:lnTo>
                    <a:lnTo>
                      <a:pt x="759" y="229"/>
                    </a:lnTo>
                    <a:lnTo>
                      <a:pt x="755" y="229"/>
                    </a:lnTo>
                    <a:lnTo>
                      <a:pt x="753" y="229"/>
                    </a:lnTo>
                    <a:lnTo>
                      <a:pt x="749" y="231"/>
                    </a:lnTo>
                    <a:lnTo>
                      <a:pt x="726" y="254"/>
                    </a:lnTo>
                    <a:lnTo>
                      <a:pt x="722" y="254"/>
                    </a:lnTo>
                    <a:lnTo>
                      <a:pt x="722" y="256"/>
                    </a:lnTo>
                    <a:lnTo>
                      <a:pt x="724" y="260"/>
                    </a:lnTo>
                    <a:lnTo>
                      <a:pt x="728" y="262"/>
                    </a:lnTo>
                    <a:lnTo>
                      <a:pt x="734" y="263"/>
                    </a:lnTo>
                    <a:lnTo>
                      <a:pt x="741" y="262"/>
                    </a:lnTo>
                    <a:lnTo>
                      <a:pt x="747" y="263"/>
                    </a:lnTo>
                    <a:lnTo>
                      <a:pt x="757" y="265"/>
                    </a:lnTo>
                    <a:lnTo>
                      <a:pt x="778" y="275"/>
                    </a:lnTo>
                    <a:lnTo>
                      <a:pt x="782" y="277"/>
                    </a:lnTo>
                    <a:lnTo>
                      <a:pt x="784" y="283"/>
                    </a:lnTo>
                    <a:lnTo>
                      <a:pt x="786" y="288"/>
                    </a:lnTo>
                    <a:lnTo>
                      <a:pt x="784" y="294"/>
                    </a:lnTo>
                    <a:lnTo>
                      <a:pt x="774" y="310"/>
                    </a:lnTo>
                    <a:lnTo>
                      <a:pt x="751" y="298"/>
                    </a:lnTo>
                    <a:lnTo>
                      <a:pt x="749" y="300"/>
                    </a:lnTo>
                    <a:lnTo>
                      <a:pt x="745" y="302"/>
                    </a:lnTo>
                    <a:lnTo>
                      <a:pt x="743" y="310"/>
                    </a:lnTo>
                    <a:lnTo>
                      <a:pt x="745" y="311"/>
                    </a:lnTo>
                    <a:lnTo>
                      <a:pt x="743" y="313"/>
                    </a:lnTo>
                    <a:lnTo>
                      <a:pt x="741" y="313"/>
                    </a:lnTo>
                    <a:lnTo>
                      <a:pt x="734" y="321"/>
                    </a:lnTo>
                    <a:lnTo>
                      <a:pt x="711" y="342"/>
                    </a:lnTo>
                    <a:lnTo>
                      <a:pt x="709" y="342"/>
                    </a:lnTo>
                    <a:lnTo>
                      <a:pt x="703" y="344"/>
                    </a:lnTo>
                    <a:lnTo>
                      <a:pt x="692" y="342"/>
                    </a:lnTo>
                    <a:lnTo>
                      <a:pt x="690" y="342"/>
                    </a:lnTo>
                    <a:lnTo>
                      <a:pt x="678" y="336"/>
                    </a:lnTo>
                    <a:lnTo>
                      <a:pt x="678" y="335"/>
                    </a:lnTo>
                    <a:lnTo>
                      <a:pt x="670" y="331"/>
                    </a:lnTo>
                    <a:lnTo>
                      <a:pt x="663" y="321"/>
                    </a:lnTo>
                    <a:lnTo>
                      <a:pt x="661" y="323"/>
                    </a:lnTo>
                    <a:lnTo>
                      <a:pt x="665" y="325"/>
                    </a:lnTo>
                    <a:lnTo>
                      <a:pt x="663" y="327"/>
                    </a:lnTo>
                    <a:lnTo>
                      <a:pt x="647" y="319"/>
                    </a:lnTo>
                    <a:lnTo>
                      <a:pt x="649" y="317"/>
                    </a:lnTo>
                    <a:lnTo>
                      <a:pt x="651" y="317"/>
                    </a:lnTo>
                    <a:lnTo>
                      <a:pt x="651" y="315"/>
                    </a:lnTo>
                    <a:lnTo>
                      <a:pt x="619" y="296"/>
                    </a:lnTo>
                    <a:lnTo>
                      <a:pt x="594" y="283"/>
                    </a:lnTo>
                    <a:lnTo>
                      <a:pt x="588" y="281"/>
                    </a:lnTo>
                    <a:lnTo>
                      <a:pt x="586" y="279"/>
                    </a:lnTo>
                    <a:lnTo>
                      <a:pt x="586" y="263"/>
                    </a:lnTo>
                    <a:lnTo>
                      <a:pt x="580" y="250"/>
                    </a:lnTo>
                    <a:lnTo>
                      <a:pt x="569" y="269"/>
                    </a:lnTo>
                    <a:lnTo>
                      <a:pt x="567" y="269"/>
                    </a:lnTo>
                    <a:lnTo>
                      <a:pt x="565" y="271"/>
                    </a:lnTo>
                    <a:lnTo>
                      <a:pt x="544" y="260"/>
                    </a:lnTo>
                    <a:lnTo>
                      <a:pt x="540" y="262"/>
                    </a:lnTo>
                    <a:lnTo>
                      <a:pt x="538" y="263"/>
                    </a:lnTo>
                    <a:lnTo>
                      <a:pt x="536" y="269"/>
                    </a:lnTo>
                    <a:lnTo>
                      <a:pt x="534" y="271"/>
                    </a:lnTo>
                    <a:lnTo>
                      <a:pt x="528" y="283"/>
                    </a:lnTo>
                    <a:lnTo>
                      <a:pt x="524" y="292"/>
                    </a:lnTo>
                    <a:lnTo>
                      <a:pt x="553" y="310"/>
                    </a:lnTo>
                    <a:lnTo>
                      <a:pt x="576" y="323"/>
                    </a:lnTo>
                    <a:lnTo>
                      <a:pt x="580" y="327"/>
                    </a:lnTo>
                    <a:lnTo>
                      <a:pt x="590" y="335"/>
                    </a:lnTo>
                    <a:lnTo>
                      <a:pt x="620" y="350"/>
                    </a:lnTo>
                    <a:lnTo>
                      <a:pt x="624" y="354"/>
                    </a:lnTo>
                    <a:lnTo>
                      <a:pt x="624" y="360"/>
                    </a:lnTo>
                    <a:lnTo>
                      <a:pt x="622" y="363"/>
                    </a:lnTo>
                    <a:lnTo>
                      <a:pt x="617" y="367"/>
                    </a:lnTo>
                    <a:lnTo>
                      <a:pt x="582" y="388"/>
                    </a:lnTo>
                    <a:lnTo>
                      <a:pt x="536" y="413"/>
                    </a:lnTo>
                    <a:lnTo>
                      <a:pt x="498" y="427"/>
                    </a:lnTo>
                    <a:lnTo>
                      <a:pt x="430" y="450"/>
                    </a:lnTo>
                    <a:lnTo>
                      <a:pt x="402" y="346"/>
                    </a:lnTo>
                    <a:lnTo>
                      <a:pt x="394" y="340"/>
                    </a:lnTo>
                    <a:lnTo>
                      <a:pt x="373" y="321"/>
                    </a:lnTo>
                    <a:lnTo>
                      <a:pt x="367" y="315"/>
                    </a:lnTo>
                    <a:lnTo>
                      <a:pt x="367" y="313"/>
                    </a:lnTo>
                    <a:lnTo>
                      <a:pt x="371" y="310"/>
                    </a:lnTo>
                    <a:lnTo>
                      <a:pt x="367" y="306"/>
                    </a:lnTo>
                    <a:lnTo>
                      <a:pt x="365" y="308"/>
                    </a:lnTo>
                    <a:lnTo>
                      <a:pt x="357" y="306"/>
                    </a:lnTo>
                    <a:lnTo>
                      <a:pt x="356" y="304"/>
                    </a:lnTo>
                    <a:lnTo>
                      <a:pt x="346" y="294"/>
                    </a:lnTo>
                    <a:lnTo>
                      <a:pt x="309" y="263"/>
                    </a:lnTo>
                    <a:lnTo>
                      <a:pt x="258" y="319"/>
                    </a:lnTo>
                    <a:lnTo>
                      <a:pt x="298" y="358"/>
                    </a:lnTo>
                    <a:lnTo>
                      <a:pt x="300" y="361"/>
                    </a:lnTo>
                    <a:lnTo>
                      <a:pt x="317" y="375"/>
                    </a:lnTo>
                    <a:lnTo>
                      <a:pt x="334" y="419"/>
                    </a:lnTo>
                    <a:lnTo>
                      <a:pt x="367" y="548"/>
                    </a:lnTo>
                    <a:lnTo>
                      <a:pt x="369" y="563"/>
                    </a:lnTo>
                    <a:lnTo>
                      <a:pt x="365" y="573"/>
                    </a:lnTo>
                    <a:lnTo>
                      <a:pt x="352" y="592"/>
                    </a:lnTo>
                    <a:lnTo>
                      <a:pt x="271" y="675"/>
                    </a:lnTo>
                    <a:lnTo>
                      <a:pt x="236" y="707"/>
                    </a:lnTo>
                    <a:lnTo>
                      <a:pt x="194" y="751"/>
                    </a:lnTo>
                    <a:lnTo>
                      <a:pt x="187" y="755"/>
                    </a:lnTo>
                    <a:lnTo>
                      <a:pt x="179" y="755"/>
                    </a:lnTo>
                    <a:lnTo>
                      <a:pt x="173" y="753"/>
                    </a:lnTo>
                    <a:lnTo>
                      <a:pt x="167" y="749"/>
                    </a:lnTo>
                    <a:lnTo>
                      <a:pt x="165" y="746"/>
                    </a:lnTo>
                    <a:lnTo>
                      <a:pt x="148" y="711"/>
                    </a:lnTo>
                    <a:lnTo>
                      <a:pt x="148" y="709"/>
                    </a:lnTo>
                    <a:lnTo>
                      <a:pt x="146" y="707"/>
                    </a:lnTo>
                    <a:lnTo>
                      <a:pt x="144" y="701"/>
                    </a:lnTo>
                    <a:lnTo>
                      <a:pt x="144" y="694"/>
                    </a:lnTo>
                    <a:lnTo>
                      <a:pt x="146" y="692"/>
                    </a:lnTo>
                    <a:lnTo>
                      <a:pt x="148" y="692"/>
                    </a:lnTo>
                    <a:lnTo>
                      <a:pt x="148" y="694"/>
                    </a:lnTo>
                    <a:lnTo>
                      <a:pt x="148" y="696"/>
                    </a:lnTo>
                    <a:lnTo>
                      <a:pt x="150" y="703"/>
                    </a:lnTo>
                    <a:lnTo>
                      <a:pt x="150" y="707"/>
                    </a:lnTo>
                    <a:lnTo>
                      <a:pt x="158" y="721"/>
                    </a:lnTo>
                    <a:lnTo>
                      <a:pt x="165" y="738"/>
                    </a:lnTo>
                    <a:lnTo>
                      <a:pt x="167" y="742"/>
                    </a:lnTo>
                    <a:lnTo>
                      <a:pt x="169" y="744"/>
                    </a:lnTo>
                    <a:lnTo>
                      <a:pt x="171" y="744"/>
                    </a:lnTo>
                    <a:lnTo>
                      <a:pt x="173" y="744"/>
                    </a:lnTo>
                    <a:lnTo>
                      <a:pt x="175" y="744"/>
                    </a:lnTo>
                    <a:lnTo>
                      <a:pt x="187" y="732"/>
                    </a:lnTo>
                    <a:lnTo>
                      <a:pt x="213" y="703"/>
                    </a:lnTo>
                    <a:lnTo>
                      <a:pt x="215" y="701"/>
                    </a:lnTo>
                    <a:lnTo>
                      <a:pt x="215" y="698"/>
                    </a:lnTo>
                    <a:lnTo>
                      <a:pt x="213" y="694"/>
                    </a:lnTo>
                    <a:lnTo>
                      <a:pt x="198" y="661"/>
                    </a:lnTo>
                    <a:lnTo>
                      <a:pt x="198" y="659"/>
                    </a:lnTo>
                    <a:lnTo>
                      <a:pt x="196" y="655"/>
                    </a:lnTo>
                    <a:lnTo>
                      <a:pt x="194" y="652"/>
                    </a:lnTo>
                    <a:lnTo>
                      <a:pt x="190" y="646"/>
                    </a:lnTo>
                    <a:lnTo>
                      <a:pt x="177" y="628"/>
                    </a:lnTo>
                    <a:lnTo>
                      <a:pt x="165" y="627"/>
                    </a:lnTo>
                    <a:lnTo>
                      <a:pt x="135" y="627"/>
                    </a:lnTo>
                    <a:lnTo>
                      <a:pt x="135" y="623"/>
                    </a:lnTo>
                    <a:lnTo>
                      <a:pt x="98" y="542"/>
                    </a:lnTo>
                    <a:lnTo>
                      <a:pt x="96" y="538"/>
                    </a:lnTo>
                    <a:lnTo>
                      <a:pt x="108" y="530"/>
                    </a:lnTo>
                    <a:lnTo>
                      <a:pt x="137" y="517"/>
                    </a:lnTo>
                    <a:lnTo>
                      <a:pt x="140" y="513"/>
                    </a:lnTo>
                    <a:lnTo>
                      <a:pt x="112" y="446"/>
                    </a:lnTo>
                    <a:lnTo>
                      <a:pt x="104" y="438"/>
                    </a:lnTo>
                    <a:lnTo>
                      <a:pt x="50" y="338"/>
                    </a:lnTo>
                    <a:lnTo>
                      <a:pt x="50" y="325"/>
                    </a:lnTo>
                    <a:lnTo>
                      <a:pt x="50" y="317"/>
                    </a:lnTo>
                    <a:lnTo>
                      <a:pt x="33" y="279"/>
                    </a:lnTo>
                    <a:lnTo>
                      <a:pt x="20" y="269"/>
                    </a:lnTo>
                    <a:lnTo>
                      <a:pt x="14" y="262"/>
                    </a:lnTo>
                    <a:lnTo>
                      <a:pt x="14" y="254"/>
                    </a:lnTo>
                    <a:lnTo>
                      <a:pt x="6" y="244"/>
                    </a:lnTo>
                    <a:lnTo>
                      <a:pt x="0" y="237"/>
                    </a:lnTo>
                    <a:lnTo>
                      <a:pt x="4" y="235"/>
                    </a:lnTo>
                    <a:lnTo>
                      <a:pt x="217" y="83"/>
                    </a:lnTo>
                    <a:lnTo>
                      <a:pt x="292" y="39"/>
                    </a:lnTo>
                    <a:lnTo>
                      <a:pt x="302" y="33"/>
                    </a:lnTo>
                    <a:lnTo>
                      <a:pt x="317" y="29"/>
                    </a:lnTo>
                    <a:lnTo>
                      <a:pt x="329" y="25"/>
                    </a:lnTo>
                    <a:lnTo>
                      <a:pt x="338" y="23"/>
                    </a:lnTo>
                    <a:lnTo>
                      <a:pt x="359" y="23"/>
                    </a:lnTo>
                    <a:lnTo>
                      <a:pt x="373" y="23"/>
                    </a:lnTo>
                    <a:lnTo>
                      <a:pt x="382" y="23"/>
                    </a:lnTo>
                    <a:lnTo>
                      <a:pt x="392" y="19"/>
                    </a:lnTo>
                    <a:lnTo>
                      <a:pt x="396" y="21"/>
                    </a:lnTo>
                    <a:lnTo>
                      <a:pt x="402" y="23"/>
                    </a:lnTo>
                    <a:lnTo>
                      <a:pt x="411" y="23"/>
                    </a:lnTo>
                    <a:lnTo>
                      <a:pt x="417" y="21"/>
                    </a:lnTo>
                    <a:lnTo>
                      <a:pt x="421" y="23"/>
                    </a:lnTo>
                    <a:lnTo>
                      <a:pt x="423" y="25"/>
                    </a:lnTo>
                    <a:lnTo>
                      <a:pt x="421" y="31"/>
                    </a:lnTo>
                    <a:lnTo>
                      <a:pt x="415" y="39"/>
                    </a:lnTo>
                    <a:lnTo>
                      <a:pt x="377" y="83"/>
                    </a:lnTo>
                    <a:lnTo>
                      <a:pt x="371" y="108"/>
                    </a:lnTo>
                    <a:lnTo>
                      <a:pt x="356" y="123"/>
                    </a:lnTo>
                    <a:lnTo>
                      <a:pt x="352" y="123"/>
                    </a:lnTo>
                    <a:lnTo>
                      <a:pt x="350" y="129"/>
                    </a:lnTo>
                    <a:lnTo>
                      <a:pt x="329" y="148"/>
                    </a:lnTo>
                    <a:lnTo>
                      <a:pt x="315" y="164"/>
                    </a:lnTo>
                    <a:lnTo>
                      <a:pt x="298" y="177"/>
                    </a:lnTo>
                    <a:lnTo>
                      <a:pt x="344" y="219"/>
                    </a:lnTo>
                    <a:lnTo>
                      <a:pt x="356" y="204"/>
                    </a:lnTo>
                    <a:lnTo>
                      <a:pt x="365" y="192"/>
                    </a:lnTo>
                    <a:lnTo>
                      <a:pt x="367" y="194"/>
                    </a:lnTo>
                    <a:lnTo>
                      <a:pt x="369" y="189"/>
                    </a:lnTo>
                    <a:lnTo>
                      <a:pt x="371" y="183"/>
                    </a:lnTo>
                    <a:lnTo>
                      <a:pt x="377" y="175"/>
                    </a:lnTo>
                    <a:lnTo>
                      <a:pt x="382" y="169"/>
                    </a:lnTo>
                    <a:lnTo>
                      <a:pt x="392" y="175"/>
                    </a:lnTo>
                    <a:lnTo>
                      <a:pt x="398" y="179"/>
                    </a:lnTo>
                    <a:lnTo>
                      <a:pt x="413" y="171"/>
                    </a:lnTo>
                    <a:lnTo>
                      <a:pt x="425" y="171"/>
                    </a:lnTo>
                    <a:lnTo>
                      <a:pt x="428" y="162"/>
                    </a:lnTo>
                    <a:lnTo>
                      <a:pt x="423" y="148"/>
                    </a:lnTo>
                    <a:lnTo>
                      <a:pt x="428" y="123"/>
                    </a:lnTo>
                    <a:lnTo>
                      <a:pt x="436" y="116"/>
                    </a:lnTo>
                    <a:lnTo>
                      <a:pt x="455" y="104"/>
                    </a:lnTo>
                    <a:lnTo>
                      <a:pt x="463" y="98"/>
                    </a:lnTo>
                    <a:lnTo>
                      <a:pt x="465" y="96"/>
                    </a:lnTo>
                    <a:lnTo>
                      <a:pt x="471" y="91"/>
                    </a:lnTo>
                    <a:lnTo>
                      <a:pt x="471" y="89"/>
                    </a:lnTo>
                    <a:lnTo>
                      <a:pt x="475" y="87"/>
                    </a:lnTo>
                    <a:lnTo>
                      <a:pt x="476" y="85"/>
                    </a:lnTo>
                    <a:lnTo>
                      <a:pt x="480" y="89"/>
                    </a:lnTo>
                    <a:lnTo>
                      <a:pt x="486" y="94"/>
                    </a:lnTo>
                    <a:lnTo>
                      <a:pt x="488" y="96"/>
                    </a:lnTo>
                    <a:lnTo>
                      <a:pt x="492" y="104"/>
                    </a:lnTo>
                    <a:lnTo>
                      <a:pt x="498" y="110"/>
                    </a:lnTo>
                    <a:lnTo>
                      <a:pt x="501" y="116"/>
                    </a:lnTo>
                    <a:lnTo>
                      <a:pt x="507" y="121"/>
                    </a:lnTo>
                    <a:lnTo>
                      <a:pt x="509" y="123"/>
                    </a:lnTo>
                    <a:lnTo>
                      <a:pt x="513" y="137"/>
                    </a:lnTo>
                    <a:lnTo>
                      <a:pt x="517" y="144"/>
                    </a:lnTo>
                    <a:lnTo>
                      <a:pt x="519" y="154"/>
                    </a:lnTo>
                    <a:lnTo>
                      <a:pt x="521" y="158"/>
                    </a:lnTo>
                    <a:lnTo>
                      <a:pt x="526" y="164"/>
                    </a:lnTo>
                    <a:lnTo>
                      <a:pt x="534" y="173"/>
                    </a:lnTo>
                    <a:lnTo>
                      <a:pt x="538" y="175"/>
                    </a:lnTo>
                    <a:lnTo>
                      <a:pt x="540" y="179"/>
                    </a:lnTo>
                    <a:lnTo>
                      <a:pt x="549" y="187"/>
                    </a:lnTo>
                    <a:lnTo>
                      <a:pt x="553" y="189"/>
                    </a:lnTo>
                    <a:lnTo>
                      <a:pt x="559" y="190"/>
                    </a:lnTo>
                    <a:lnTo>
                      <a:pt x="563" y="190"/>
                    </a:lnTo>
                    <a:lnTo>
                      <a:pt x="565" y="189"/>
                    </a:lnTo>
                    <a:lnTo>
                      <a:pt x="563" y="189"/>
                    </a:lnTo>
                    <a:lnTo>
                      <a:pt x="572" y="177"/>
                    </a:lnTo>
                    <a:lnTo>
                      <a:pt x="586" y="167"/>
                    </a:lnTo>
                    <a:lnTo>
                      <a:pt x="590" y="162"/>
                    </a:lnTo>
                    <a:lnTo>
                      <a:pt x="590" y="158"/>
                    </a:lnTo>
                    <a:lnTo>
                      <a:pt x="588" y="156"/>
                    </a:lnTo>
                    <a:lnTo>
                      <a:pt x="586" y="154"/>
                    </a:lnTo>
                    <a:lnTo>
                      <a:pt x="582" y="150"/>
                    </a:lnTo>
                    <a:lnTo>
                      <a:pt x="578" y="152"/>
                    </a:lnTo>
                    <a:lnTo>
                      <a:pt x="571" y="150"/>
                    </a:lnTo>
                    <a:lnTo>
                      <a:pt x="561" y="146"/>
                    </a:lnTo>
                    <a:lnTo>
                      <a:pt x="557" y="142"/>
                    </a:lnTo>
                    <a:lnTo>
                      <a:pt x="546" y="121"/>
                    </a:lnTo>
                    <a:lnTo>
                      <a:pt x="544" y="116"/>
                    </a:lnTo>
                    <a:lnTo>
                      <a:pt x="546" y="114"/>
                    </a:lnTo>
                    <a:lnTo>
                      <a:pt x="551" y="110"/>
                    </a:lnTo>
                    <a:lnTo>
                      <a:pt x="546" y="104"/>
                    </a:lnTo>
                    <a:lnTo>
                      <a:pt x="546" y="102"/>
                    </a:lnTo>
                    <a:lnTo>
                      <a:pt x="542" y="96"/>
                    </a:lnTo>
                    <a:lnTo>
                      <a:pt x="540" y="91"/>
                    </a:lnTo>
                    <a:lnTo>
                      <a:pt x="540" y="89"/>
                    </a:lnTo>
                    <a:lnTo>
                      <a:pt x="551" y="81"/>
                    </a:lnTo>
                    <a:lnTo>
                      <a:pt x="536" y="56"/>
                    </a:lnTo>
                    <a:lnTo>
                      <a:pt x="528" y="54"/>
                    </a:lnTo>
                    <a:lnTo>
                      <a:pt x="523" y="46"/>
                    </a:lnTo>
                    <a:lnTo>
                      <a:pt x="511" y="37"/>
                    </a:lnTo>
                    <a:lnTo>
                      <a:pt x="509" y="33"/>
                    </a:lnTo>
                    <a:lnTo>
                      <a:pt x="509" y="27"/>
                    </a:lnTo>
                    <a:lnTo>
                      <a:pt x="513" y="21"/>
                    </a:lnTo>
                    <a:lnTo>
                      <a:pt x="524" y="18"/>
                    </a:lnTo>
                    <a:lnTo>
                      <a:pt x="528" y="8"/>
                    </a:lnTo>
                    <a:lnTo>
                      <a:pt x="544" y="4"/>
                    </a:lnTo>
                    <a:lnTo>
                      <a:pt x="557" y="4"/>
                    </a:lnTo>
                    <a:lnTo>
                      <a:pt x="563" y="2"/>
                    </a:lnTo>
                    <a:lnTo>
                      <a:pt x="567" y="2"/>
                    </a:lnTo>
                    <a:lnTo>
                      <a:pt x="571" y="8"/>
                    </a:lnTo>
                    <a:lnTo>
                      <a:pt x="578" y="12"/>
                    </a:lnTo>
                    <a:lnTo>
                      <a:pt x="594" y="12"/>
                    </a:lnTo>
                    <a:lnTo>
                      <a:pt x="594" y="0"/>
                    </a:lnTo>
                    <a:lnTo>
                      <a:pt x="599" y="0"/>
                    </a:lnTo>
                    <a:lnTo>
                      <a:pt x="601" y="6"/>
                    </a:lnTo>
                    <a:lnTo>
                      <a:pt x="605" y="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5" name="Freeform 55">
                <a:extLst>
                  <a:ext uri="{FF2B5EF4-FFF2-40B4-BE49-F238E27FC236}">
                    <a16:creationId xmlns:a16="http://schemas.microsoft.com/office/drawing/2014/main" id="{4D921ED2-1291-82B4-78FC-6D1DE9905C35}"/>
                  </a:ext>
                </a:extLst>
              </p:cNvPr>
              <p:cNvSpPr>
                <a:spLocks/>
              </p:cNvSpPr>
              <p:nvPr/>
            </p:nvSpPr>
            <p:spPr bwMode="gray">
              <a:xfrm>
                <a:off x="3927467" y="1934547"/>
                <a:ext cx="634948" cy="435328"/>
              </a:xfrm>
              <a:custGeom>
                <a:avLst/>
                <a:gdLst>
                  <a:gd name="T0" fmla="*/ 523 w 563"/>
                  <a:gd name="T1" fmla="*/ 158 h 386"/>
                  <a:gd name="T2" fmla="*/ 486 w 563"/>
                  <a:gd name="T3" fmla="*/ 179 h 386"/>
                  <a:gd name="T4" fmla="*/ 448 w 563"/>
                  <a:gd name="T5" fmla="*/ 198 h 386"/>
                  <a:gd name="T6" fmla="*/ 434 w 563"/>
                  <a:gd name="T7" fmla="*/ 215 h 386"/>
                  <a:gd name="T8" fmla="*/ 452 w 563"/>
                  <a:gd name="T9" fmla="*/ 240 h 386"/>
                  <a:gd name="T10" fmla="*/ 463 w 563"/>
                  <a:gd name="T11" fmla="*/ 280 h 386"/>
                  <a:gd name="T12" fmla="*/ 404 w 563"/>
                  <a:gd name="T13" fmla="*/ 315 h 386"/>
                  <a:gd name="T14" fmla="*/ 386 w 563"/>
                  <a:gd name="T15" fmla="*/ 361 h 386"/>
                  <a:gd name="T16" fmla="*/ 359 w 563"/>
                  <a:gd name="T17" fmla="*/ 382 h 386"/>
                  <a:gd name="T18" fmla="*/ 338 w 563"/>
                  <a:gd name="T19" fmla="*/ 386 h 386"/>
                  <a:gd name="T20" fmla="*/ 319 w 563"/>
                  <a:gd name="T21" fmla="*/ 371 h 386"/>
                  <a:gd name="T22" fmla="*/ 298 w 563"/>
                  <a:gd name="T23" fmla="*/ 340 h 386"/>
                  <a:gd name="T24" fmla="*/ 273 w 563"/>
                  <a:gd name="T25" fmla="*/ 321 h 386"/>
                  <a:gd name="T26" fmla="*/ 246 w 563"/>
                  <a:gd name="T27" fmla="*/ 304 h 386"/>
                  <a:gd name="T28" fmla="*/ 204 w 563"/>
                  <a:gd name="T29" fmla="*/ 286 h 386"/>
                  <a:gd name="T30" fmla="*/ 146 w 563"/>
                  <a:gd name="T31" fmla="*/ 259 h 386"/>
                  <a:gd name="T32" fmla="*/ 112 w 563"/>
                  <a:gd name="T33" fmla="*/ 219 h 386"/>
                  <a:gd name="T34" fmla="*/ 100 w 563"/>
                  <a:gd name="T35" fmla="*/ 194 h 386"/>
                  <a:gd name="T36" fmla="*/ 71 w 563"/>
                  <a:gd name="T37" fmla="*/ 156 h 386"/>
                  <a:gd name="T38" fmla="*/ 56 w 563"/>
                  <a:gd name="T39" fmla="*/ 163 h 386"/>
                  <a:gd name="T40" fmla="*/ 41 w 563"/>
                  <a:gd name="T41" fmla="*/ 150 h 386"/>
                  <a:gd name="T42" fmla="*/ 25 w 563"/>
                  <a:gd name="T43" fmla="*/ 106 h 386"/>
                  <a:gd name="T44" fmla="*/ 0 w 563"/>
                  <a:gd name="T45" fmla="*/ 90 h 386"/>
                  <a:gd name="T46" fmla="*/ 48 w 563"/>
                  <a:gd name="T47" fmla="*/ 58 h 386"/>
                  <a:gd name="T48" fmla="*/ 69 w 563"/>
                  <a:gd name="T49" fmla="*/ 40 h 386"/>
                  <a:gd name="T50" fmla="*/ 100 w 563"/>
                  <a:gd name="T51" fmla="*/ 23 h 386"/>
                  <a:gd name="T52" fmla="*/ 173 w 563"/>
                  <a:gd name="T53" fmla="*/ 2 h 386"/>
                  <a:gd name="T54" fmla="*/ 235 w 563"/>
                  <a:gd name="T55" fmla="*/ 0 h 386"/>
                  <a:gd name="T56" fmla="*/ 271 w 563"/>
                  <a:gd name="T57" fmla="*/ 0 h 386"/>
                  <a:gd name="T58" fmla="*/ 319 w 563"/>
                  <a:gd name="T59" fmla="*/ 21 h 386"/>
                  <a:gd name="T60" fmla="*/ 304 w 563"/>
                  <a:gd name="T61" fmla="*/ 35 h 386"/>
                  <a:gd name="T62" fmla="*/ 283 w 563"/>
                  <a:gd name="T63" fmla="*/ 73 h 386"/>
                  <a:gd name="T64" fmla="*/ 300 w 563"/>
                  <a:gd name="T65" fmla="*/ 54 h 386"/>
                  <a:gd name="T66" fmla="*/ 323 w 563"/>
                  <a:gd name="T67" fmla="*/ 52 h 386"/>
                  <a:gd name="T68" fmla="*/ 332 w 563"/>
                  <a:gd name="T69" fmla="*/ 73 h 386"/>
                  <a:gd name="T70" fmla="*/ 388 w 563"/>
                  <a:gd name="T71" fmla="*/ 2 h 386"/>
                  <a:gd name="T72" fmla="*/ 432 w 563"/>
                  <a:gd name="T73" fmla="*/ 29 h 386"/>
                  <a:gd name="T74" fmla="*/ 409 w 563"/>
                  <a:gd name="T75" fmla="*/ 23 h 386"/>
                  <a:gd name="T76" fmla="*/ 379 w 563"/>
                  <a:gd name="T77" fmla="*/ 25 h 386"/>
                  <a:gd name="T78" fmla="*/ 423 w 563"/>
                  <a:gd name="T79" fmla="*/ 111 h 386"/>
                  <a:gd name="T80" fmla="*/ 434 w 563"/>
                  <a:gd name="T81" fmla="*/ 115 h 386"/>
                  <a:gd name="T82" fmla="*/ 467 w 563"/>
                  <a:gd name="T83" fmla="*/ 71 h 386"/>
                  <a:gd name="T84" fmla="*/ 515 w 563"/>
                  <a:gd name="T85" fmla="*/ 96 h 386"/>
                  <a:gd name="T86" fmla="*/ 538 w 563"/>
                  <a:gd name="T87" fmla="*/ 109 h 386"/>
                  <a:gd name="T88" fmla="*/ 561 w 563"/>
                  <a:gd name="T89" fmla="*/ 13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3" h="386">
                    <a:moveTo>
                      <a:pt x="561" y="131"/>
                    </a:moveTo>
                    <a:lnTo>
                      <a:pt x="523" y="158"/>
                    </a:lnTo>
                    <a:lnTo>
                      <a:pt x="501" y="167"/>
                    </a:lnTo>
                    <a:lnTo>
                      <a:pt x="486" y="179"/>
                    </a:lnTo>
                    <a:lnTo>
                      <a:pt x="461" y="192"/>
                    </a:lnTo>
                    <a:lnTo>
                      <a:pt x="448" y="198"/>
                    </a:lnTo>
                    <a:lnTo>
                      <a:pt x="436" y="204"/>
                    </a:lnTo>
                    <a:lnTo>
                      <a:pt x="434" y="215"/>
                    </a:lnTo>
                    <a:lnTo>
                      <a:pt x="436" y="219"/>
                    </a:lnTo>
                    <a:lnTo>
                      <a:pt x="452" y="240"/>
                    </a:lnTo>
                    <a:lnTo>
                      <a:pt x="475" y="273"/>
                    </a:lnTo>
                    <a:lnTo>
                      <a:pt x="463" y="280"/>
                    </a:lnTo>
                    <a:lnTo>
                      <a:pt x="411" y="313"/>
                    </a:lnTo>
                    <a:lnTo>
                      <a:pt x="404" y="315"/>
                    </a:lnTo>
                    <a:lnTo>
                      <a:pt x="394" y="352"/>
                    </a:lnTo>
                    <a:lnTo>
                      <a:pt x="386" y="361"/>
                    </a:lnTo>
                    <a:lnTo>
                      <a:pt x="384" y="371"/>
                    </a:lnTo>
                    <a:lnTo>
                      <a:pt x="359" y="382"/>
                    </a:lnTo>
                    <a:lnTo>
                      <a:pt x="346" y="386"/>
                    </a:lnTo>
                    <a:lnTo>
                      <a:pt x="338" y="386"/>
                    </a:lnTo>
                    <a:lnTo>
                      <a:pt x="331" y="380"/>
                    </a:lnTo>
                    <a:lnTo>
                      <a:pt x="319" y="371"/>
                    </a:lnTo>
                    <a:lnTo>
                      <a:pt x="309" y="353"/>
                    </a:lnTo>
                    <a:lnTo>
                      <a:pt x="298" y="340"/>
                    </a:lnTo>
                    <a:lnTo>
                      <a:pt x="281" y="328"/>
                    </a:lnTo>
                    <a:lnTo>
                      <a:pt x="273" y="321"/>
                    </a:lnTo>
                    <a:lnTo>
                      <a:pt x="260" y="311"/>
                    </a:lnTo>
                    <a:lnTo>
                      <a:pt x="246" y="304"/>
                    </a:lnTo>
                    <a:lnTo>
                      <a:pt x="231" y="296"/>
                    </a:lnTo>
                    <a:lnTo>
                      <a:pt x="204" y="286"/>
                    </a:lnTo>
                    <a:lnTo>
                      <a:pt x="177" y="275"/>
                    </a:lnTo>
                    <a:lnTo>
                      <a:pt x="146" y="259"/>
                    </a:lnTo>
                    <a:lnTo>
                      <a:pt x="121" y="236"/>
                    </a:lnTo>
                    <a:lnTo>
                      <a:pt x="112" y="219"/>
                    </a:lnTo>
                    <a:lnTo>
                      <a:pt x="104" y="206"/>
                    </a:lnTo>
                    <a:lnTo>
                      <a:pt x="100" y="194"/>
                    </a:lnTo>
                    <a:lnTo>
                      <a:pt x="85" y="152"/>
                    </a:lnTo>
                    <a:lnTo>
                      <a:pt x="71" y="156"/>
                    </a:lnTo>
                    <a:lnTo>
                      <a:pt x="66" y="158"/>
                    </a:lnTo>
                    <a:lnTo>
                      <a:pt x="56" y="163"/>
                    </a:lnTo>
                    <a:lnTo>
                      <a:pt x="54" y="163"/>
                    </a:lnTo>
                    <a:lnTo>
                      <a:pt x="41" y="150"/>
                    </a:lnTo>
                    <a:lnTo>
                      <a:pt x="29" y="133"/>
                    </a:lnTo>
                    <a:lnTo>
                      <a:pt x="25" y="106"/>
                    </a:lnTo>
                    <a:lnTo>
                      <a:pt x="10" y="102"/>
                    </a:lnTo>
                    <a:lnTo>
                      <a:pt x="0" y="90"/>
                    </a:lnTo>
                    <a:lnTo>
                      <a:pt x="35" y="67"/>
                    </a:lnTo>
                    <a:lnTo>
                      <a:pt x="48" y="58"/>
                    </a:lnTo>
                    <a:lnTo>
                      <a:pt x="58" y="50"/>
                    </a:lnTo>
                    <a:lnTo>
                      <a:pt x="69" y="40"/>
                    </a:lnTo>
                    <a:lnTo>
                      <a:pt x="77" y="42"/>
                    </a:lnTo>
                    <a:lnTo>
                      <a:pt x="100" y="23"/>
                    </a:lnTo>
                    <a:lnTo>
                      <a:pt x="133" y="12"/>
                    </a:lnTo>
                    <a:lnTo>
                      <a:pt x="173" y="2"/>
                    </a:lnTo>
                    <a:lnTo>
                      <a:pt x="190" y="8"/>
                    </a:lnTo>
                    <a:lnTo>
                      <a:pt x="235" y="0"/>
                    </a:lnTo>
                    <a:lnTo>
                      <a:pt x="263" y="0"/>
                    </a:lnTo>
                    <a:lnTo>
                      <a:pt x="271" y="0"/>
                    </a:lnTo>
                    <a:lnTo>
                      <a:pt x="296" y="8"/>
                    </a:lnTo>
                    <a:lnTo>
                      <a:pt x="319" y="21"/>
                    </a:lnTo>
                    <a:lnTo>
                      <a:pt x="317" y="29"/>
                    </a:lnTo>
                    <a:lnTo>
                      <a:pt x="304" y="35"/>
                    </a:lnTo>
                    <a:lnTo>
                      <a:pt x="275" y="69"/>
                    </a:lnTo>
                    <a:lnTo>
                      <a:pt x="283" y="73"/>
                    </a:lnTo>
                    <a:lnTo>
                      <a:pt x="283" y="75"/>
                    </a:lnTo>
                    <a:lnTo>
                      <a:pt x="300" y="54"/>
                    </a:lnTo>
                    <a:lnTo>
                      <a:pt x="317" y="46"/>
                    </a:lnTo>
                    <a:lnTo>
                      <a:pt x="323" y="52"/>
                    </a:lnTo>
                    <a:lnTo>
                      <a:pt x="342" y="60"/>
                    </a:lnTo>
                    <a:lnTo>
                      <a:pt x="332" y="73"/>
                    </a:lnTo>
                    <a:lnTo>
                      <a:pt x="344" y="81"/>
                    </a:lnTo>
                    <a:lnTo>
                      <a:pt x="388" y="2"/>
                    </a:lnTo>
                    <a:lnTo>
                      <a:pt x="434" y="27"/>
                    </a:lnTo>
                    <a:lnTo>
                      <a:pt x="432" y="29"/>
                    </a:lnTo>
                    <a:lnTo>
                      <a:pt x="413" y="17"/>
                    </a:lnTo>
                    <a:lnTo>
                      <a:pt x="409" y="23"/>
                    </a:lnTo>
                    <a:lnTo>
                      <a:pt x="388" y="10"/>
                    </a:lnTo>
                    <a:lnTo>
                      <a:pt x="379" y="25"/>
                    </a:lnTo>
                    <a:lnTo>
                      <a:pt x="450" y="65"/>
                    </a:lnTo>
                    <a:lnTo>
                      <a:pt x="423" y="111"/>
                    </a:lnTo>
                    <a:lnTo>
                      <a:pt x="432" y="117"/>
                    </a:lnTo>
                    <a:lnTo>
                      <a:pt x="434" y="115"/>
                    </a:lnTo>
                    <a:lnTo>
                      <a:pt x="459" y="71"/>
                    </a:lnTo>
                    <a:lnTo>
                      <a:pt x="467" y="71"/>
                    </a:lnTo>
                    <a:lnTo>
                      <a:pt x="478" y="71"/>
                    </a:lnTo>
                    <a:lnTo>
                      <a:pt x="515" y="96"/>
                    </a:lnTo>
                    <a:lnTo>
                      <a:pt x="528" y="108"/>
                    </a:lnTo>
                    <a:lnTo>
                      <a:pt x="538" y="109"/>
                    </a:lnTo>
                    <a:lnTo>
                      <a:pt x="563" y="127"/>
                    </a:lnTo>
                    <a:lnTo>
                      <a:pt x="561" y="1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6" name="Freeform 56">
                <a:extLst>
                  <a:ext uri="{FF2B5EF4-FFF2-40B4-BE49-F238E27FC236}">
                    <a16:creationId xmlns:a16="http://schemas.microsoft.com/office/drawing/2014/main" id="{7DB9E3FA-4821-5A26-718D-ADF5D99CB1A6}"/>
                  </a:ext>
                </a:extLst>
              </p:cNvPr>
              <p:cNvSpPr>
                <a:spLocks noEditPoints="1"/>
              </p:cNvSpPr>
              <p:nvPr/>
            </p:nvSpPr>
            <p:spPr bwMode="gray">
              <a:xfrm>
                <a:off x="4416929" y="2082288"/>
                <a:ext cx="400367" cy="363149"/>
              </a:xfrm>
              <a:custGeom>
                <a:avLst/>
                <a:gdLst>
                  <a:gd name="T0" fmla="*/ 344 w 355"/>
                  <a:gd name="T1" fmla="*/ 228 h 322"/>
                  <a:gd name="T2" fmla="*/ 329 w 355"/>
                  <a:gd name="T3" fmla="*/ 215 h 322"/>
                  <a:gd name="T4" fmla="*/ 319 w 355"/>
                  <a:gd name="T5" fmla="*/ 199 h 322"/>
                  <a:gd name="T6" fmla="*/ 309 w 355"/>
                  <a:gd name="T7" fmla="*/ 184 h 322"/>
                  <a:gd name="T8" fmla="*/ 294 w 355"/>
                  <a:gd name="T9" fmla="*/ 171 h 322"/>
                  <a:gd name="T10" fmla="*/ 288 w 355"/>
                  <a:gd name="T11" fmla="*/ 159 h 322"/>
                  <a:gd name="T12" fmla="*/ 290 w 355"/>
                  <a:gd name="T13" fmla="*/ 140 h 322"/>
                  <a:gd name="T14" fmla="*/ 284 w 355"/>
                  <a:gd name="T15" fmla="*/ 126 h 322"/>
                  <a:gd name="T16" fmla="*/ 271 w 355"/>
                  <a:gd name="T17" fmla="*/ 103 h 322"/>
                  <a:gd name="T18" fmla="*/ 259 w 355"/>
                  <a:gd name="T19" fmla="*/ 98 h 322"/>
                  <a:gd name="T20" fmla="*/ 263 w 355"/>
                  <a:gd name="T21" fmla="*/ 92 h 322"/>
                  <a:gd name="T22" fmla="*/ 282 w 355"/>
                  <a:gd name="T23" fmla="*/ 98 h 322"/>
                  <a:gd name="T24" fmla="*/ 304 w 355"/>
                  <a:gd name="T25" fmla="*/ 121 h 322"/>
                  <a:gd name="T26" fmla="*/ 317 w 355"/>
                  <a:gd name="T27" fmla="*/ 144 h 322"/>
                  <a:gd name="T28" fmla="*/ 332 w 355"/>
                  <a:gd name="T29" fmla="*/ 167 h 322"/>
                  <a:gd name="T30" fmla="*/ 348 w 355"/>
                  <a:gd name="T31" fmla="*/ 186 h 322"/>
                  <a:gd name="T32" fmla="*/ 355 w 355"/>
                  <a:gd name="T33" fmla="*/ 207 h 322"/>
                  <a:gd name="T34" fmla="*/ 352 w 355"/>
                  <a:gd name="T35" fmla="*/ 224 h 322"/>
                  <a:gd name="T36" fmla="*/ 259 w 355"/>
                  <a:gd name="T37" fmla="*/ 305 h 322"/>
                  <a:gd name="T38" fmla="*/ 213 w 355"/>
                  <a:gd name="T39" fmla="*/ 276 h 322"/>
                  <a:gd name="T40" fmla="*/ 188 w 355"/>
                  <a:gd name="T41" fmla="*/ 261 h 322"/>
                  <a:gd name="T42" fmla="*/ 185 w 355"/>
                  <a:gd name="T43" fmla="*/ 246 h 322"/>
                  <a:gd name="T44" fmla="*/ 163 w 355"/>
                  <a:gd name="T45" fmla="*/ 240 h 322"/>
                  <a:gd name="T46" fmla="*/ 154 w 355"/>
                  <a:gd name="T47" fmla="*/ 232 h 322"/>
                  <a:gd name="T48" fmla="*/ 144 w 355"/>
                  <a:gd name="T49" fmla="*/ 222 h 322"/>
                  <a:gd name="T50" fmla="*/ 125 w 355"/>
                  <a:gd name="T51" fmla="*/ 205 h 322"/>
                  <a:gd name="T52" fmla="*/ 87 w 355"/>
                  <a:gd name="T53" fmla="*/ 173 h 322"/>
                  <a:gd name="T54" fmla="*/ 67 w 355"/>
                  <a:gd name="T55" fmla="*/ 161 h 322"/>
                  <a:gd name="T56" fmla="*/ 52 w 355"/>
                  <a:gd name="T57" fmla="*/ 151 h 322"/>
                  <a:gd name="T58" fmla="*/ 41 w 355"/>
                  <a:gd name="T59" fmla="*/ 142 h 322"/>
                  <a:gd name="T60" fmla="*/ 2 w 355"/>
                  <a:gd name="T61" fmla="*/ 88 h 322"/>
                  <a:gd name="T62" fmla="*/ 2 w 355"/>
                  <a:gd name="T63" fmla="*/ 73 h 322"/>
                  <a:gd name="T64" fmla="*/ 27 w 355"/>
                  <a:gd name="T65" fmla="*/ 61 h 322"/>
                  <a:gd name="T66" fmla="*/ 67 w 355"/>
                  <a:gd name="T67" fmla="*/ 36 h 322"/>
                  <a:gd name="T68" fmla="*/ 127 w 355"/>
                  <a:gd name="T69" fmla="*/ 0 h 322"/>
                  <a:gd name="T70" fmla="*/ 156 w 355"/>
                  <a:gd name="T71" fmla="*/ 17 h 322"/>
                  <a:gd name="T72" fmla="*/ 194 w 355"/>
                  <a:gd name="T73" fmla="*/ 42 h 322"/>
                  <a:gd name="T74" fmla="*/ 208 w 355"/>
                  <a:gd name="T75" fmla="*/ 78 h 322"/>
                  <a:gd name="T76" fmla="*/ 183 w 355"/>
                  <a:gd name="T77" fmla="*/ 88 h 322"/>
                  <a:gd name="T78" fmla="*/ 162 w 355"/>
                  <a:gd name="T79" fmla="*/ 101 h 322"/>
                  <a:gd name="T80" fmla="*/ 148 w 355"/>
                  <a:gd name="T81" fmla="*/ 80 h 322"/>
                  <a:gd name="T82" fmla="*/ 138 w 355"/>
                  <a:gd name="T83" fmla="*/ 69 h 322"/>
                  <a:gd name="T84" fmla="*/ 140 w 355"/>
                  <a:gd name="T85" fmla="*/ 88 h 322"/>
                  <a:gd name="T86" fmla="*/ 137 w 355"/>
                  <a:gd name="T87" fmla="*/ 117 h 322"/>
                  <a:gd name="T88" fmla="*/ 156 w 355"/>
                  <a:gd name="T89" fmla="*/ 113 h 322"/>
                  <a:gd name="T90" fmla="*/ 171 w 355"/>
                  <a:gd name="T91" fmla="*/ 119 h 322"/>
                  <a:gd name="T92" fmla="*/ 219 w 355"/>
                  <a:gd name="T93" fmla="*/ 103 h 322"/>
                  <a:gd name="T94" fmla="*/ 240 w 355"/>
                  <a:gd name="T95" fmla="*/ 117 h 322"/>
                  <a:gd name="T96" fmla="*/ 254 w 355"/>
                  <a:gd name="T97" fmla="*/ 157 h 322"/>
                  <a:gd name="T98" fmla="*/ 202 w 355"/>
                  <a:gd name="T99" fmla="*/ 215 h 322"/>
                  <a:gd name="T100" fmla="*/ 169 w 355"/>
                  <a:gd name="T101" fmla="*/ 228 h 322"/>
                  <a:gd name="T102" fmla="*/ 185 w 355"/>
                  <a:gd name="T103" fmla="*/ 228 h 322"/>
                  <a:gd name="T104" fmla="*/ 206 w 355"/>
                  <a:gd name="T105" fmla="*/ 221 h 322"/>
                  <a:gd name="T106" fmla="*/ 259 w 355"/>
                  <a:gd name="T107" fmla="*/ 182 h 322"/>
                  <a:gd name="T108" fmla="*/ 286 w 355"/>
                  <a:gd name="T109" fmla="*/ 215 h 322"/>
                  <a:gd name="T110" fmla="*/ 323 w 355"/>
                  <a:gd name="T111" fmla="*/ 253 h 322"/>
                  <a:gd name="T112" fmla="*/ 311 w 355"/>
                  <a:gd name="T113" fmla="*/ 290 h 322"/>
                  <a:gd name="T114" fmla="*/ 294 w 355"/>
                  <a:gd name="T115" fmla="*/ 303 h 322"/>
                  <a:gd name="T116" fmla="*/ 290 w 355"/>
                  <a:gd name="T1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5" h="322">
                    <a:moveTo>
                      <a:pt x="352" y="224"/>
                    </a:moveTo>
                    <a:lnTo>
                      <a:pt x="344" y="228"/>
                    </a:lnTo>
                    <a:lnTo>
                      <a:pt x="338" y="222"/>
                    </a:lnTo>
                    <a:lnTo>
                      <a:pt x="329" y="215"/>
                    </a:lnTo>
                    <a:lnTo>
                      <a:pt x="325" y="203"/>
                    </a:lnTo>
                    <a:lnTo>
                      <a:pt x="319" y="199"/>
                    </a:lnTo>
                    <a:lnTo>
                      <a:pt x="315" y="194"/>
                    </a:lnTo>
                    <a:lnTo>
                      <a:pt x="309" y="184"/>
                    </a:lnTo>
                    <a:lnTo>
                      <a:pt x="304" y="178"/>
                    </a:lnTo>
                    <a:lnTo>
                      <a:pt x="294" y="171"/>
                    </a:lnTo>
                    <a:lnTo>
                      <a:pt x="290" y="167"/>
                    </a:lnTo>
                    <a:lnTo>
                      <a:pt x="288" y="159"/>
                    </a:lnTo>
                    <a:lnTo>
                      <a:pt x="288" y="149"/>
                    </a:lnTo>
                    <a:lnTo>
                      <a:pt x="290" y="140"/>
                    </a:lnTo>
                    <a:lnTo>
                      <a:pt x="288" y="134"/>
                    </a:lnTo>
                    <a:lnTo>
                      <a:pt x="284" y="126"/>
                    </a:lnTo>
                    <a:lnTo>
                      <a:pt x="277" y="115"/>
                    </a:lnTo>
                    <a:lnTo>
                      <a:pt x="271" y="103"/>
                    </a:lnTo>
                    <a:lnTo>
                      <a:pt x="265" y="98"/>
                    </a:lnTo>
                    <a:lnTo>
                      <a:pt x="259" y="98"/>
                    </a:lnTo>
                    <a:lnTo>
                      <a:pt x="259" y="96"/>
                    </a:lnTo>
                    <a:lnTo>
                      <a:pt x="263" y="92"/>
                    </a:lnTo>
                    <a:lnTo>
                      <a:pt x="269" y="92"/>
                    </a:lnTo>
                    <a:lnTo>
                      <a:pt x="282" y="98"/>
                    </a:lnTo>
                    <a:lnTo>
                      <a:pt x="296" y="115"/>
                    </a:lnTo>
                    <a:lnTo>
                      <a:pt x="304" y="121"/>
                    </a:lnTo>
                    <a:lnTo>
                      <a:pt x="307" y="128"/>
                    </a:lnTo>
                    <a:lnTo>
                      <a:pt x="317" y="144"/>
                    </a:lnTo>
                    <a:lnTo>
                      <a:pt x="327" y="157"/>
                    </a:lnTo>
                    <a:lnTo>
                      <a:pt x="332" y="167"/>
                    </a:lnTo>
                    <a:lnTo>
                      <a:pt x="342" y="178"/>
                    </a:lnTo>
                    <a:lnTo>
                      <a:pt x="348" y="186"/>
                    </a:lnTo>
                    <a:lnTo>
                      <a:pt x="354" y="194"/>
                    </a:lnTo>
                    <a:lnTo>
                      <a:pt x="355" y="207"/>
                    </a:lnTo>
                    <a:lnTo>
                      <a:pt x="355" y="219"/>
                    </a:lnTo>
                    <a:lnTo>
                      <a:pt x="352" y="224"/>
                    </a:lnTo>
                    <a:close/>
                    <a:moveTo>
                      <a:pt x="290" y="322"/>
                    </a:moveTo>
                    <a:lnTo>
                      <a:pt x="259" y="305"/>
                    </a:lnTo>
                    <a:lnTo>
                      <a:pt x="256" y="303"/>
                    </a:lnTo>
                    <a:lnTo>
                      <a:pt x="213" y="276"/>
                    </a:lnTo>
                    <a:lnTo>
                      <a:pt x="204" y="269"/>
                    </a:lnTo>
                    <a:lnTo>
                      <a:pt x="188" y="261"/>
                    </a:lnTo>
                    <a:lnTo>
                      <a:pt x="186" y="255"/>
                    </a:lnTo>
                    <a:lnTo>
                      <a:pt x="185" y="246"/>
                    </a:lnTo>
                    <a:lnTo>
                      <a:pt x="183" y="244"/>
                    </a:lnTo>
                    <a:lnTo>
                      <a:pt x="163" y="240"/>
                    </a:lnTo>
                    <a:lnTo>
                      <a:pt x="160" y="236"/>
                    </a:lnTo>
                    <a:lnTo>
                      <a:pt x="154" y="232"/>
                    </a:lnTo>
                    <a:lnTo>
                      <a:pt x="152" y="224"/>
                    </a:lnTo>
                    <a:lnTo>
                      <a:pt x="144" y="222"/>
                    </a:lnTo>
                    <a:lnTo>
                      <a:pt x="137" y="215"/>
                    </a:lnTo>
                    <a:lnTo>
                      <a:pt x="125" y="205"/>
                    </a:lnTo>
                    <a:lnTo>
                      <a:pt x="102" y="184"/>
                    </a:lnTo>
                    <a:lnTo>
                      <a:pt x="87" y="173"/>
                    </a:lnTo>
                    <a:lnTo>
                      <a:pt x="75" y="163"/>
                    </a:lnTo>
                    <a:lnTo>
                      <a:pt x="67" y="161"/>
                    </a:lnTo>
                    <a:lnTo>
                      <a:pt x="58" y="157"/>
                    </a:lnTo>
                    <a:lnTo>
                      <a:pt x="52" y="151"/>
                    </a:lnTo>
                    <a:lnTo>
                      <a:pt x="42" y="144"/>
                    </a:lnTo>
                    <a:lnTo>
                      <a:pt x="41" y="142"/>
                    </a:lnTo>
                    <a:lnTo>
                      <a:pt x="18" y="109"/>
                    </a:lnTo>
                    <a:lnTo>
                      <a:pt x="2" y="88"/>
                    </a:lnTo>
                    <a:lnTo>
                      <a:pt x="0" y="84"/>
                    </a:lnTo>
                    <a:lnTo>
                      <a:pt x="2" y="73"/>
                    </a:lnTo>
                    <a:lnTo>
                      <a:pt x="14" y="67"/>
                    </a:lnTo>
                    <a:lnTo>
                      <a:pt x="27" y="61"/>
                    </a:lnTo>
                    <a:lnTo>
                      <a:pt x="52" y="48"/>
                    </a:lnTo>
                    <a:lnTo>
                      <a:pt x="67" y="36"/>
                    </a:lnTo>
                    <a:lnTo>
                      <a:pt x="89" y="27"/>
                    </a:lnTo>
                    <a:lnTo>
                      <a:pt x="127" y="0"/>
                    </a:lnTo>
                    <a:lnTo>
                      <a:pt x="148" y="13"/>
                    </a:lnTo>
                    <a:lnTo>
                      <a:pt x="156" y="17"/>
                    </a:lnTo>
                    <a:lnTo>
                      <a:pt x="181" y="27"/>
                    </a:lnTo>
                    <a:lnTo>
                      <a:pt x="194" y="42"/>
                    </a:lnTo>
                    <a:lnTo>
                      <a:pt x="210" y="71"/>
                    </a:lnTo>
                    <a:lnTo>
                      <a:pt x="208" y="78"/>
                    </a:lnTo>
                    <a:lnTo>
                      <a:pt x="196" y="82"/>
                    </a:lnTo>
                    <a:lnTo>
                      <a:pt x="183" y="88"/>
                    </a:lnTo>
                    <a:lnTo>
                      <a:pt x="175" y="98"/>
                    </a:lnTo>
                    <a:lnTo>
                      <a:pt x="162" y="101"/>
                    </a:lnTo>
                    <a:lnTo>
                      <a:pt x="152" y="96"/>
                    </a:lnTo>
                    <a:lnTo>
                      <a:pt x="148" y="80"/>
                    </a:lnTo>
                    <a:lnTo>
                      <a:pt x="142" y="69"/>
                    </a:lnTo>
                    <a:lnTo>
                      <a:pt x="138" y="69"/>
                    </a:lnTo>
                    <a:lnTo>
                      <a:pt x="137" y="73"/>
                    </a:lnTo>
                    <a:lnTo>
                      <a:pt x="140" y="88"/>
                    </a:lnTo>
                    <a:lnTo>
                      <a:pt x="137" y="103"/>
                    </a:lnTo>
                    <a:lnTo>
                      <a:pt x="137" y="117"/>
                    </a:lnTo>
                    <a:lnTo>
                      <a:pt x="144" y="113"/>
                    </a:lnTo>
                    <a:lnTo>
                      <a:pt x="156" y="113"/>
                    </a:lnTo>
                    <a:lnTo>
                      <a:pt x="162" y="117"/>
                    </a:lnTo>
                    <a:lnTo>
                      <a:pt x="171" y="119"/>
                    </a:lnTo>
                    <a:lnTo>
                      <a:pt x="206" y="103"/>
                    </a:lnTo>
                    <a:lnTo>
                      <a:pt x="219" y="103"/>
                    </a:lnTo>
                    <a:lnTo>
                      <a:pt x="233" y="107"/>
                    </a:lnTo>
                    <a:lnTo>
                      <a:pt x="240" y="117"/>
                    </a:lnTo>
                    <a:lnTo>
                      <a:pt x="246" y="132"/>
                    </a:lnTo>
                    <a:lnTo>
                      <a:pt x="254" y="157"/>
                    </a:lnTo>
                    <a:lnTo>
                      <a:pt x="217" y="205"/>
                    </a:lnTo>
                    <a:lnTo>
                      <a:pt x="202" y="215"/>
                    </a:lnTo>
                    <a:lnTo>
                      <a:pt x="183" y="219"/>
                    </a:lnTo>
                    <a:lnTo>
                      <a:pt x="169" y="228"/>
                    </a:lnTo>
                    <a:lnTo>
                      <a:pt x="171" y="232"/>
                    </a:lnTo>
                    <a:lnTo>
                      <a:pt x="185" y="228"/>
                    </a:lnTo>
                    <a:lnTo>
                      <a:pt x="190" y="222"/>
                    </a:lnTo>
                    <a:lnTo>
                      <a:pt x="206" y="221"/>
                    </a:lnTo>
                    <a:lnTo>
                      <a:pt x="248" y="182"/>
                    </a:lnTo>
                    <a:lnTo>
                      <a:pt x="259" y="182"/>
                    </a:lnTo>
                    <a:lnTo>
                      <a:pt x="277" y="194"/>
                    </a:lnTo>
                    <a:lnTo>
                      <a:pt x="286" y="215"/>
                    </a:lnTo>
                    <a:lnTo>
                      <a:pt x="307" y="228"/>
                    </a:lnTo>
                    <a:lnTo>
                      <a:pt x="323" y="253"/>
                    </a:lnTo>
                    <a:lnTo>
                      <a:pt x="319" y="272"/>
                    </a:lnTo>
                    <a:lnTo>
                      <a:pt x="311" y="290"/>
                    </a:lnTo>
                    <a:lnTo>
                      <a:pt x="304" y="297"/>
                    </a:lnTo>
                    <a:lnTo>
                      <a:pt x="294" y="303"/>
                    </a:lnTo>
                    <a:lnTo>
                      <a:pt x="294" y="313"/>
                    </a:lnTo>
                    <a:lnTo>
                      <a:pt x="290" y="3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7" name="Freeform 57">
                <a:extLst>
                  <a:ext uri="{FF2B5EF4-FFF2-40B4-BE49-F238E27FC236}">
                    <a16:creationId xmlns:a16="http://schemas.microsoft.com/office/drawing/2014/main" id="{1BF64E81-63B3-A667-5935-DAEB60E6CECA}"/>
                  </a:ext>
                </a:extLst>
              </p:cNvPr>
              <p:cNvSpPr>
                <a:spLocks noEditPoints="1"/>
              </p:cNvSpPr>
              <p:nvPr/>
            </p:nvSpPr>
            <p:spPr bwMode="gray">
              <a:xfrm>
                <a:off x="4680833" y="2404837"/>
                <a:ext cx="524424" cy="413900"/>
              </a:xfrm>
              <a:custGeom>
                <a:avLst/>
                <a:gdLst>
                  <a:gd name="T0" fmla="*/ 438 w 465"/>
                  <a:gd name="T1" fmla="*/ 238 h 367"/>
                  <a:gd name="T2" fmla="*/ 402 w 465"/>
                  <a:gd name="T3" fmla="*/ 275 h 367"/>
                  <a:gd name="T4" fmla="*/ 369 w 465"/>
                  <a:gd name="T5" fmla="*/ 290 h 367"/>
                  <a:gd name="T6" fmla="*/ 350 w 465"/>
                  <a:gd name="T7" fmla="*/ 307 h 367"/>
                  <a:gd name="T8" fmla="*/ 323 w 465"/>
                  <a:gd name="T9" fmla="*/ 330 h 367"/>
                  <a:gd name="T10" fmla="*/ 191 w 465"/>
                  <a:gd name="T11" fmla="*/ 332 h 367"/>
                  <a:gd name="T12" fmla="*/ 87 w 465"/>
                  <a:gd name="T13" fmla="*/ 334 h 367"/>
                  <a:gd name="T14" fmla="*/ 4 w 465"/>
                  <a:gd name="T15" fmla="*/ 367 h 367"/>
                  <a:gd name="T16" fmla="*/ 12 w 465"/>
                  <a:gd name="T17" fmla="*/ 344 h 367"/>
                  <a:gd name="T18" fmla="*/ 0 w 465"/>
                  <a:gd name="T19" fmla="*/ 319 h 367"/>
                  <a:gd name="T20" fmla="*/ 6 w 465"/>
                  <a:gd name="T21" fmla="*/ 300 h 367"/>
                  <a:gd name="T22" fmla="*/ 16 w 465"/>
                  <a:gd name="T23" fmla="*/ 278 h 367"/>
                  <a:gd name="T24" fmla="*/ 54 w 465"/>
                  <a:gd name="T25" fmla="*/ 252 h 367"/>
                  <a:gd name="T26" fmla="*/ 73 w 465"/>
                  <a:gd name="T27" fmla="*/ 227 h 367"/>
                  <a:gd name="T28" fmla="*/ 75 w 465"/>
                  <a:gd name="T29" fmla="*/ 188 h 367"/>
                  <a:gd name="T30" fmla="*/ 83 w 465"/>
                  <a:gd name="T31" fmla="*/ 150 h 367"/>
                  <a:gd name="T32" fmla="*/ 100 w 465"/>
                  <a:gd name="T33" fmla="*/ 121 h 367"/>
                  <a:gd name="T34" fmla="*/ 89 w 465"/>
                  <a:gd name="T35" fmla="*/ 98 h 367"/>
                  <a:gd name="T36" fmla="*/ 127 w 465"/>
                  <a:gd name="T37" fmla="*/ 82 h 367"/>
                  <a:gd name="T38" fmla="*/ 158 w 465"/>
                  <a:gd name="T39" fmla="*/ 81 h 367"/>
                  <a:gd name="T40" fmla="*/ 171 w 465"/>
                  <a:gd name="T41" fmla="*/ 82 h 367"/>
                  <a:gd name="T42" fmla="*/ 187 w 465"/>
                  <a:gd name="T43" fmla="*/ 88 h 367"/>
                  <a:gd name="T44" fmla="*/ 196 w 465"/>
                  <a:gd name="T45" fmla="*/ 96 h 367"/>
                  <a:gd name="T46" fmla="*/ 204 w 465"/>
                  <a:gd name="T47" fmla="*/ 106 h 367"/>
                  <a:gd name="T48" fmla="*/ 217 w 465"/>
                  <a:gd name="T49" fmla="*/ 127 h 367"/>
                  <a:gd name="T50" fmla="*/ 254 w 465"/>
                  <a:gd name="T51" fmla="*/ 163 h 367"/>
                  <a:gd name="T52" fmla="*/ 279 w 465"/>
                  <a:gd name="T53" fmla="*/ 179 h 367"/>
                  <a:gd name="T54" fmla="*/ 287 w 465"/>
                  <a:gd name="T55" fmla="*/ 177 h 367"/>
                  <a:gd name="T56" fmla="*/ 288 w 465"/>
                  <a:gd name="T57" fmla="*/ 167 h 367"/>
                  <a:gd name="T58" fmla="*/ 315 w 465"/>
                  <a:gd name="T59" fmla="*/ 163 h 367"/>
                  <a:gd name="T60" fmla="*/ 342 w 465"/>
                  <a:gd name="T61" fmla="*/ 173 h 367"/>
                  <a:gd name="T62" fmla="*/ 379 w 465"/>
                  <a:gd name="T63" fmla="*/ 188 h 367"/>
                  <a:gd name="T64" fmla="*/ 413 w 465"/>
                  <a:gd name="T65" fmla="*/ 196 h 367"/>
                  <a:gd name="T66" fmla="*/ 436 w 465"/>
                  <a:gd name="T67" fmla="*/ 202 h 367"/>
                  <a:gd name="T68" fmla="*/ 456 w 465"/>
                  <a:gd name="T69" fmla="*/ 182 h 367"/>
                  <a:gd name="T70" fmla="*/ 442 w 465"/>
                  <a:gd name="T71" fmla="*/ 184 h 367"/>
                  <a:gd name="T72" fmla="*/ 340 w 465"/>
                  <a:gd name="T73" fmla="*/ 161 h 367"/>
                  <a:gd name="T74" fmla="*/ 365 w 465"/>
                  <a:gd name="T75" fmla="*/ 71 h 367"/>
                  <a:gd name="T76" fmla="*/ 465 w 465"/>
                  <a:gd name="T77" fmla="*/ 142 h 367"/>
                  <a:gd name="T78" fmla="*/ 454 w 465"/>
                  <a:gd name="T79" fmla="*/ 180 h 367"/>
                  <a:gd name="T80" fmla="*/ 302 w 465"/>
                  <a:gd name="T81" fmla="*/ 154 h 367"/>
                  <a:gd name="T82" fmla="*/ 273 w 465"/>
                  <a:gd name="T83" fmla="*/ 150 h 367"/>
                  <a:gd name="T84" fmla="*/ 242 w 465"/>
                  <a:gd name="T85" fmla="*/ 132 h 367"/>
                  <a:gd name="T86" fmla="*/ 177 w 465"/>
                  <a:gd name="T87" fmla="*/ 75 h 367"/>
                  <a:gd name="T88" fmla="*/ 154 w 465"/>
                  <a:gd name="T89" fmla="*/ 46 h 367"/>
                  <a:gd name="T90" fmla="*/ 225 w 465"/>
                  <a:gd name="T91" fmla="*/ 0 h 367"/>
                  <a:gd name="T92" fmla="*/ 285 w 465"/>
                  <a:gd name="T93" fmla="*/ 17 h 367"/>
                  <a:gd name="T94" fmla="*/ 304 w 465"/>
                  <a:gd name="T95" fmla="*/ 15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5" h="367">
                    <a:moveTo>
                      <a:pt x="450" y="215"/>
                    </a:moveTo>
                    <a:lnTo>
                      <a:pt x="446" y="227"/>
                    </a:lnTo>
                    <a:lnTo>
                      <a:pt x="438" y="238"/>
                    </a:lnTo>
                    <a:lnTo>
                      <a:pt x="423" y="250"/>
                    </a:lnTo>
                    <a:lnTo>
                      <a:pt x="413" y="263"/>
                    </a:lnTo>
                    <a:lnTo>
                      <a:pt x="402" y="275"/>
                    </a:lnTo>
                    <a:lnTo>
                      <a:pt x="388" y="284"/>
                    </a:lnTo>
                    <a:lnTo>
                      <a:pt x="381" y="286"/>
                    </a:lnTo>
                    <a:lnTo>
                      <a:pt x="369" y="290"/>
                    </a:lnTo>
                    <a:lnTo>
                      <a:pt x="361" y="294"/>
                    </a:lnTo>
                    <a:lnTo>
                      <a:pt x="352" y="301"/>
                    </a:lnTo>
                    <a:lnTo>
                      <a:pt x="350" y="307"/>
                    </a:lnTo>
                    <a:lnTo>
                      <a:pt x="350" y="317"/>
                    </a:lnTo>
                    <a:lnTo>
                      <a:pt x="348" y="334"/>
                    </a:lnTo>
                    <a:lnTo>
                      <a:pt x="323" y="330"/>
                    </a:lnTo>
                    <a:lnTo>
                      <a:pt x="306" y="330"/>
                    </a:lnTo>
                    <a:lnTo>
                      <a:pt x="229" y="332"/>
                    </a:lnTo>
                    <a:lnTo>
                      <a:pt x="191" y="332"/>
                    </a:lnTo>
                    <a:lnTo>
                      <a:pt x="171" y="332"/>
                    </a:lnTo>
                    <a:lnTo>
                      <a:pt x="154" y="332"/>
                    </a:lnTo>
                    <a:lnTo>
                      <a:pt x="87" y="334"/>
                    </a:lnTo>
                    <a:lnTo>
                      <a:pt x="58" y="336"/>
                    </a:lnTo>
                    <a:lnTo>
                      <a:pt x="41" y="340"/>
                    </a:lnTo>
                    <a:lnTo>
                      <a:pt x="4" y="367"/>
                    </a:lnTo>
                    <a:lnTo>
                      <a:pt x="8" y="361"/>
                    </a:lnTo>
                    <a:lnTo>
                      <a:pt x="10" y="353"/>
                    </a:lnTo>
                    <a:lnTo>
                      <a:pt x="12" y="344"/>
                    </a:lnTo>
                    <a:lnTo>
                      <a:pt x="10" y="338"/>
                    </a:lnTo>
                    <a:lnTo>
                      <a:pt x="4" y="326"/>
                    </a:lnTo>
                    <a:lnTo>
                      <a:pt x="0" y="319"/>
                    </a:lnTo>
                    <a:lnTo>
                      <a:pt x="0" y="311"/>
                    </a:lnTo>
                    <a:lnTo>
                      <a:pt x="4" y="307"/>
                    </a:lnTo>
                    <a:lnTo>
                      <a:pt x="6" y="300"/>
                    </a:lnTo>
                    <a:lnTo>
                      <a:pt x="6" y="294"/>
                    </a:lnTo>
                    <a:lnTo>
                      <a:pt x="10" y="288"/>
                    </a:lnTo>
                    <a:lnTo>
                      <a:pt x="16" y="278"/>
                    </a:lnTo>
                    <a:lnTo>
                      <a:pt x="33" y="269"/>
                    </a:lnTo>
                    <a:lnTo>
                      <a:pt x="45" y="259"/>
                    </a:lnTo>
                    <a:lnTo>
                      <a:pt x="54" y="252"/>
                    </a:lnTo>
                    <a:lnTo>
                      <a:pt x="62" y="244"/>
                    </a:lnTo>
                    <a:lnTo>
                      <a:pt x="70" y="234"/>
                    </a:lnTo>
                    <a:lnTo>
                      <a:pt x="73" y="227"/>
                    </a:lnTo>
                    <a:lnTo>
                      <a:pt x="73" y="217"/>
                    </a:lnTo>
                    <a:lnTo>
                      <a:pt x="75" y="196"/>
                    </a:lnTo>
                    <a:lnTo>
                      <a:pt x="75" y="188"/>
                    </a:lnTo>
                    <a:lnTo>
                      <a:pt x="77" y="177"/>
                    </a:lnTo>
                    <a:lnTo>
                      <a:pt x="79" y="169"/>
                    </a:lnTo>
                    <a:lnTo>
                      <a:pt x="83" y="150"/>
                    </a:lnTo>
                    <a:lnTo>
                      <a:pt x="89" y="140"/>
                    </a:lnTo>
                    <a:lnTo>
                      <a:pt x="95" y="129"/>
                    </a:lnTo>
                    <a:lnTo>
                      <a:pt x="100" y="121"/>
                    </a:lnTo>
                    <a:lnTo>
                      <a:pt x="102" y="111"/>
                    </a:lnTo>
                    <a:lnTo>
                      <a:pt x="100" y="107"/>
                    </a:lnTo>
                    <a:lnTo>
                      <a:pt x="89" y="98"/>
                    </a:lnTo>
                    <a:lnTo>
                      <a:pt x="98" y="88"/>
                    </a:lnTo>
                    <a:lnTo>
                      <a:pt x="108" y="84"/>
                    </a:lnTo>
                    <a:lnTo>
                      <a:pt x="127" y="82"/>
                    </a:lnTo>
                    <a:lnTo>
                      <a:pt x="148" y="81"/>
                    </a:lnTo>
                    <a:lnTo>
                      <a:pt x="152" y="77"/>
                    </a:lnTo>
                    <a:lnTo>
                      <a:pt x="158" y="81"/>
                    </a:lnTo>
                    <a:lnTo>
                      <a:pt x="160" y="81"/>
                    </a:lnTo>
                    <a:lnTo>
                      <a:pt x="166" y="81"/>
                    </a:lnTo>
                    <a:lnTo>
                      <a:pt x="171" y="82"/>
                    </a:lnTo>
                    <a:lnTo>
                      <a:pt x="173" y="82"/>
                    </a:lnTo>
                    <a:lnTo>
                      <a:pt x="181" y="84"/>
                    </a:lnTo>
                    <a:lnTo>
                      <a:pt x="187" y="88"/>
                    </a:lnTo>
                    <a:lnTo>
                      <a:pt x="189" y="90"/>
                    </a:lnTo>
                    <a:lnTo>
                      <a:pt x="192" y="92"/>
                    </a:lnTo>
                    <a:lnTo>
                      <a:pt x="196" y="96"/>
                    </a:lnTo>
                    <a:lnTo>
                      <a:pt x="200" y="102"/>
                    </a:lnTo>
                    <a:lnTo>
                      <a:pt x="202" y="107"/>
                    </a:lnTo>
                    <a:lnTo>
                      <a:pt x="204" y="106"/>
                    </a:lnTo>
                    <a:lnTo>
                      <a:pt x="208" y="107"/>
                    </a:lnTo>
                    <a:lnTo>
                      <a:pt x="214" y="117"/>
                    </a:lnTo>
                    <a:lnTo>
                      <a:pt x="217" y="127"/>
                    </a:lnTo>
                    <a:lnTo>
                      <a:pt x="217" y="134"/>
                    </a:lnTo>
                    <a:lnTo>
                      <a:pt x="242" y="155"/>
                    </a:lnTo>
                    <a:lnTo>
                      <a:pt x="254" y="163"/>
                    </a:lnTo>
                    <a:lnTo>
                      <a:pt x="277" y="177"/>
                    </a:lnTo>
                    <a:lnTo>
                      <a:pt x="277" y="179"/>
                    </a:lnTo>
                    <a:lnTo>
                      <a:pt x="279" y="179"/>
                    </a:lnTo>
                    <a:lnTo>
                      <a:pt x="281" y="180"/>
                    </a:lnTo>
                    <a:lnTo>
                      <a:pt x="283" y="179"/>
                    </a:lnTo>
                    <a:lnTo>
                      <a:pt x="287" y="177"/>
                    </a:lnTo>
                    <a:lnTo>
                      <a:pt x="287" y="173"/>
                    </a:lnTo>
                    <a:lnTo>
                      <a:pt x="287" y="169"/>
                    </a:lnTo>
                    <a:lnTo>
                      <a:pt x="288" y="167"/>
                    </a:lnTo>
                    <a:lnTo>
                      <a:pt x="298" y="163"/>
                    </a:lnTo>
                    <a:lnTo>
                      <a:pt x="310" y="163"/>
                    </a:lnTo>
                    <a:lnTo>
                      <a:pt x="315" y="163"/>
                    </a:lnTo>
                    <a:lnTo>
                      <a:pt x="323" y="163"/>
                    </a:lnTo>
                    <a:lnTo>
                      <a:pt x="333" y="167"/>
                    </a:lnTo>
                    <a:lnTo>
                      <a:pt x="342" y="173"/>
                    </a:lnTo>
                    <a:lnTo>
                      <a:pt x="358" y="182"/>
                    </a:lnTo>
                    <a:lnTo>
                      <a:pt x="365" y="184"/>
                    </a:lnTo>
                    <a:lnTo>
                      <a:pt x="379" y="188"/>
                    </a:lnTo>
                    <a:lnTo>
                      <a:pt x="392" y="192"/>
                    </a:lnTo>
                    <a:lnTo>
                      <a:pt x="406" y="192"/>
                    </a:lnTo>
                    <a:lnTo>
                      <a:pt x="413" y="196"/>
                    </a:lnTo>
                    <a:lnTo>
                      <a:pt x="417" y="200"/>
                    </a:lnTo>
                    <a:lnTo>
                      <a:pt x="429" y="202"/>
                    </a:lnTo>
                    <a:lnTo>
                      <a:pt x="436" y="202"/>
                    </a:lnTo>
                    <a:lnTo>
                      <a:pt x="446" y="205"/>
                    </a:lnTo>
                    <a:lnTo>
                      <a:pt x="450" y="215"/>
                    </a:lnTo>
                    <a:close/>
                    <a:moveTo>
                      <a:pt x="456" y="182"/>
                    </a:moveTo>
                    <a:lnTo>
                      <a:pt x="454" y="188"/>
                    </a:lnTo>
                    <a:lnTo>
                      <a:pt x="446" y="188"/>
                    </a:lnTo>
                    <a:lnTo>
                      <a:pt x="442" y="184"/>
                    </a:lnTo>
                    <a:lnTo>
                      <a:pt x="436" y="186"/>
                    </a:lnTo>
                    <a:lnTo>
                      <a:pt x="361" y="175"/>
                    </a:lnTo>
                    <a:lnTo>
                      <a:pt x="340" y="161"/>
                    </a:lnTo>
                    <a:lnTo>
                      <a:pt x="325" y="157"/>
                    </a:lnTo>
                    <a:lnTo>
                      <a:pt x="310" y="155"/>
                    </a:lnTo>
                    <a:lnTo>
                      <a:pt x="365" y="71"/>
                    </a:lnTo>
                    <a:lnTo>
                      <a:pt x="454" y="123"/>
                    </a:lnTo>
                    <a:lnTo>
                      <a:pt x="463" y="132"/>
                    </a:lnTo>
                    <a:lnTo>
                      <a:pt x="465" y="142"/>
                    </a:lnTo>
                    <a:lnTo>
                      <a:pt x="465" y="154"/>
                    </a:lnTo>
                    <a:lnTo>
                      <a:pt x="454" y="177"/>
                    </a:lnTo>
                    <a:lnTo>
                      <a:pt x="454" y="180"/>
                    </a:lnTo>
                    <a:lnTo>
                      <a:pt x="456" y="182"/>
                    </a:lnTo>
                    <a:close/>
                    <a:moveTo>
                      <a:pt x="304" y="152"/>
                    </a:moveTo>
                    <a:lnTo>
                      <a:pt x="302" y="154"/>
                    </a:lnTo>
                    <a:lnTo>
                      <a:pt x="292" y="154"/>
                    </a:lnTo>
                    <a:lnTo>
                      <a:pt x="281" y="150"/>
                    </a:lnTo>
                    <a:lnTo>
                      <a:pt x="273" y="150"/>
                    </a:lnTo>
                    <a:lnTo>
                      <a:pt x="264" y="146"/>
                    </a:lnTo>
                    <a:lnTo>
                      <a:pt x="252" y="140"/>
                    </a:lnTo>
                    <a:lnTo>
                      <a:pt x="242" y="132"/>
                    </a:lnTo>
                    <a:lnTo>
                      <a:pt x="214" y="104"/>
                    </a:lnTo>
                    <a:lnTo>
                      <a:pt x="200" y="92"/>
                    </a:lnTo>
                    <a:lnTo>
                      <a:pt x="177" y="75"/>
                    </a:lnTo>
                    <a:lnTo>
                      <a:pt x="168" y="67"/>
                    </a:lnTo>
                    <a:lnTo>
                      <a:pt x="156" y="59"/>
                    </a:lnTo>
                    <a:lnTo>
                      <a:pt x="154" y="46"/>
                    </a:lnTo>
                    <a:lnTo>
                      <a:pt x="166" y="33"/>
                    </a:lnTo>
                    <a:lnTo>
                      <a:pt x="204" y="8"/>
                    </a:lnTo>
                    <a:lnTo>
                      <a:pt x="225" y="0"/>
                    </a:lnTo>
                    <a:lnTo>
                      <a:pt x="242" y="0"/>
                    </a:lnTo>
                    <a:lnTo>
                      <a:pt x="262" y="4"/>
                    </a:lnTo>
                    <a:lnTo>
                      <a:pt x="285" y="17"/>
                    </a:lnTo>
                    <a:lnTo>
                      <a:pt x="312" y="38"/>
                    </a:lnTo>
                    <a:lnTo>
                      <a:pt x="360" y="67"/>
                    </a:lnTo>
                    <a:lnTo>
                      <a:pt x="304" y="1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8" name="Freeform 58">
                <a:extLst>
                  <a:ext uri="{FF2B5EF4-FFF2-40B4-BE49-F238E27FC236}">
                    <a16:creationId xmlns:a16="http://schemas.microsoft.com/office/drawing/2014/main" id="{74E30381-059D-DEC6-DC21-14D20129A34A}"/>
                  </a:ext>
                </a:extLst>
              </p:cNvPr>
              <p:cNvSpPr>
                <a:spLocks/>
              </p:cNvSpPr>
              <p:nvPr/>
            </p:nvSpPr>
            <p:spPr bwMode="gray">
              <a:xfrm>
                <a:off x="4084230" y="2242435"/>
                <a:ext cx="711638" cy="637203"/>
              </a:xfrm>
              <a:custGeom>
                <a:avLst/>
                <a:gdLst>
                  <a:gd name="T0" fmla="*/ 624 w 631"/>
                  <a:gd name="T1" fmla="*/ 273 h 565"/>
                  <a:gd name="T2" fmla="*/ 604 w 631"/>
                  <a:gd name="T3" fmla="*/ 332 h 565"/>
                  <a:gd name="T4" fmla="*/ 591 w 631"/>
                  <a:gd name="T5" fmla="*/ 388 h 565"/>
                  <a:gd name="T6" fmla="*/ 539 w 631"/>
                  <a:gd name="T7" fmla="*/ 432 h 565"/>
                  <a:gd name="T8" fmla="*/ 529 w 631"/>
                  <a:gd name="T9" fmla="*/ 463 h 565"/>
                  <a:gd name="T10" fmla="*/ 537 w 631"/>
                  <a:gd name="T11" fmla="*/ 505 h 565"/>
                  <a:gd name="T12" fmla="*/ 393 w 631"/>
                  <a:gd name="T13" fmla="*/ 528 h 565"/>
                  <a:gd name="T14" fmla="*/ 153 w 631"/>
                  <a:gd name="T15" fmla="*/ 553 h 565"/>
                  <a:gd name="T16" fmla="*/ 84 w 631"/>
                  <a:gd name="T17" fmla="*/ 493 h 565"/>
                  <a:gd name="T18" fmla="*/ 15 w 631"/>
                  <a:gd name="T19" fmla="*/ 361 h 565"/>
                  <a:gd name="T20" fmla="*/ 97 w 631"/>
                  <a:gd name="T21" fmla="*/ 340 h 565"/>
                  <a:gd name="T22" fmla="*/ 192 w 631"/>
                  <a:gd name="T23" fmla="*/ 344 h 565"/>
                  <a:gd name="T24" fmla="*/ 211 w 631"/>
                  <a:gd name="T25" fmla="*/ 250 h 565"/>
                  <a:gd name="T26" fmla="*/ 230 w 631"/>
                  <a:gd name="T27" fmla="*/ 177 h 565"/>
                  <a:gd name="T28" fmla="*/ 247 w 631"/>
                  <a:gd name="T29" fmla="*/ 88 h 565"/>
                  <a:gd name="T30" fmla="*/ 336 w 631"/>
                  <a:gd name="T31" fmla="*/ 0 h 565"/>
                  <a:gd name="T32" fmla="*/ 370 w 631"/>
                  <a:gd name="T33" fmla="*/ 21 h 565"/>
                  <a:gd name="T34" fmla="*/ 439 w 631"/>
                  <a:gd name="T35" fmla="*/ 80 h 565"/>
                  <a:gd name="T36" fmla="*/ 478 w 631"/>
                  <a:gd name="T37" fmla="*/ 102 h 565"/>
                  <a:gd name="T38" fmla="*/ 508 w 631"/>
                  <a:gd name="T39" fmla="*/ 134 h 565"/>
                  <a:gd name="T40" fmla="*/ 564 w 631"/>
                  <a:gd name="T41" fmla="*/ 201 h 565"/>
                  <a:gd name="T42" fmla="*/ 541 w 631"/>
                  <a:gd name="T43" fmla="*/ 267 h 565"/>
                  <a:gd name="T44" fmla="*/ 506 w 631"/>
                  <a:gd name="T45" fmla="*/ 309 h 565"/>
                  <a:gd name="T46" fmla="*/ 472 w 631"/>
                  <a:gd name="T47" fmla="*/ 353 h 565"/>
                  <a:gd name="T48" fmla="*/ 466 w 631"/>
                  <a:gd name="T49" fmla="*/ 378 h 565"/>
                  <a:gd name="T50" fmla="*/ 451 w 631"/>
                  <a:gd name="T51" fmla="*/ 388 h 565"/>
                  <a:gd name="T52" fmla="*/ 424 w 631"/>
                  <a:gd name="T53" fmla="*/ 403 h 565"/>
                  <a:gd name="T54" fmla="*/ 389 w 631"/>
                  <a:gd name="T55" fmla="*/ 403 h 565"/>
                  <a:gd name="T56" fmla="*/ 351 w 631"/>
                  <a:gd name="T57" fmla="*/ 388 h 565"/>
                  <a:gd name="T58" fmla="*/ 322 w 631"/>
                  <a:gd name="T59" fmla="*/ 380 h 565"/>
                  <a:gd name="T60" fmla="*/ 295 w 631"/>
                  <a:gd name="T61" fmla="*/ 386 h 565"/>
                  <a:gd name="T62" fmla="*/ 263 w 631"/>
                  <a:gd name="T63" fmla="*/ 397 h 565"/>
                  <a:gd name="T64" fmla="*/ 247 w 631"/>
                  <a:gd name="T65" fmla="*/ 440 h 565"/>
                  <a:gd name="T66" fmla="*/ 247 w 631"/>
                  <a:gd name="T67" fmla="*/ 463 h 565"/>
                  <a:gd name="T68" fmla="*/ 259 w 631"/>
                  <a:gd name="T69" fmla="*/ 461 h 565"/>
                  <a:gd name="T70" fmla="*/ 280 w 631"/>
                  <a:gd name="T71" fmla="*/ 428 h 565"/>
                  <a:gd name="T72" fmla="*/ 322 w 631"/>
                  <a:gd name="T73" fmla="*/ 419 h 565"/>
                  <a:gd name="T74" fmla="*/ 324 w 631"/>
                  <a:gd name="T75" fmla="*/ 436 h 565"/>
                  <a:gd name="T76" fmla="*/ 309 w 631"/>
                  <a:gd name="T77" fmla="*/ 447 h 565"/>
                  <a:gd name="T78" fmla="*/ 314 w 631"/>
                  <a:gd name="T79" fmla="*/ 469 h 565"/>
                  <a:gd name="T80" fmla="*/ 320 w 631"/>
                  <a:gd name="T81" fmla="*/ 486 h 565"/>
                  <a:gd name="T82" fmla="*/ 313 w 631"/>
                  <a:gd name="T83" fmla="*/ 503 h 565"/>
                  <a:gd name="T84" fmla="*/ 351 w 631"/>
                  <a:gd name="T85" fmla="*/ 515 h 565"/>
                  <a:gd name="T86" fmla="*/ 384 w 631"/>
                  <a:gd name="T87" fmla="*/ 501 h 565"/>
                  <a:gd name="T88" fmla="*/ 391 w 631"/>
                  <a:gd name="T89" fmla="*/ 469 h 565"/>
                  <a:gd name="T90" fmla="*/ 407 w 631"/>
                  <a:gd name="T91" fmla="*/ 480 h 565"/>
                  <a:gd name="T92" fmla="*/ 424 w 631"/>
                  <a:gd name="T93" fmla="*/ 490 h 565"/>
                  <a:gd name="T94" fmla="*/ 428 w 631"/>
                  <a:gd name="T95" fmla="*/ 472 h 565"/>
                  <a:gd name="T96" fmla="*/ 428 w 631"/>
                  <a:gd name="T97" fmla="*/ 451 h 565"/>
                  <a:gd name="T98" fmla="*/ 445 w 631"/>
                  <a:gd name="T99" fmla="*/ 438 h 565"/>
                  <a:gd name="T100" fmla="*/ 481 w 631"/>
                  <a:gd name="T101" fmla="*/ 419 h 565"/>
                  <a:gd name="T102" fmla="*/ 506 w 631"/>
                  <a:gd name="T103" fmla="*/ 390 h 565"/>
                  <a:gd name="T104" fmla="*/ 549 w 631"/>
                  <a:gd name="T105" fmla="*/ 355 h 565"/>
                  <a:gd name="T106" fmla="*/ 579 w 631"/>
                  <a:gd name="T107" fmla="*/ 328 h 565"/>
                  <a:gd name="T108" fmla="*/ 601 w 631"/>
                  <a:gd name="T109" fmla="*/ 278 h 565"/>
                  <a:gd name="T110" fmla="*/ 618 w 631"/>
                  <a:gd name="T111" fmla="*/ 24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65">
                    <a:moveTo>
                      <a:pt x="618" y="242"/>
                    </a:moveTo>
                    <a:lnTo>
                      <a:pt x="629" y="251"/>
                    </a:lnTo>
                    <a:lnTo>
                      <a:pt x="631" y="255"/>
                    </a:lnTo>
                    <a:lnTo>
                      <a:pt x="629" y="265"/>
                    </a:lnTo>
                    <a:lnTo>
                      <a:pt x="624" y="273"/>
                    </a:lnTo>
                    <a:lnTo>
                      <a:pt x="618" y="284"/>
                    </a:lnTo>
                    <a:lnTo>
                      <a:pt x="612" y="294"/>
                    </a:lnTo>
                    <a:lnTo>
                      <a:pt x="608" y="313"/>
                    </a:lnTo>
                    <a:lnTo>
                      <a:pt x="606" y="321"/>
                    </a:lnTo>
                    <a:lnTo>
                      <a:pt x="604" y="332"/>
                    </a:lnTo>
                    <a:lnTo>
                      <a:pt x="604" y="340"/>
                    </a:lnTo>
                    <a:lnTo>
                      <a:pt x="602" y="361"/>
                    </a:lnTo>
                    <a:lnTo>
                      <a:pt x="602" y="371"/>
                    </a:lnTo>
                    <a:lnTo>
                      <a:pt x="599" y="378"/>
                    </a:lnTo>
                    <a:lnTo>
                      <a:pt x="591" y="388"/>
                    </a:lnTo>
                    <a:lnTo>
                      <a:pt x="583" y="396"/>
                    </a:lnTo>
                    <a:lnTo>
                      <a:pt x="574" y="403"/>
                    </a:lnTo>
                    <a:lnTo>
                      <a:pt x="562" y="413"/>
                    </a:lnTo>
                    <a:lnTo>
                      <a:pt x="545" y="422"/>
                    </a:lnTo>
                    <a:lnTo>
                      <a:pt x="539" y="432"/>
                    </a:lnTo>
                    <a:lnTo>
                      <a:pt x="535" y="438"/>
                    </a:lnTo>
                    <a:lnTo>
                      <a:pt x="535" y="444"/>
                    </a:lnTo>
                    <a:lnTo>
                      <a:pt x="533" y="451"/>
                    </a:lnTo>
                    <a:lnTo>
                      <a:pt x="529" y="455"/>
                    </a:lnTo>
                    <a:lnTo>
                      <a:pt x="529" y="463"/>
                    </a:lnTo>
                    <a:lnTo>
                      <a:pt x="533" y="470"/>
                    </a:lnTo>
                    <a:lnTo>
                      <a:pt x="539" y="482"/>
                    </a:lnTo>
                    <a:lnTo>
                      <a:pt x="541" y="488"/>
                    </a:lnTo>
                    <a:lnTo>
                      <a:pt x="539" y="497"/>
                    </a:lnTo>
                    <a:lnTo>
                      <a:pt x="537" y="505"/>
                    </a:lnTo>
                    <a:lnTo>
                      <a:pt x="533" y="511"/>
                    </a:lnTo>
                    <a:lnTo>
                      <a:pt x="506" y="518"/>
                    </a:lnTo>
                    <a:lnTo>
                      <a:pt x="491" y="524"/>
                    </a:lnTo>
                    <a:lnTo>
                      <a:pt x="414" y="526"/>
                    </a:lnTo>
                    <a:lnTo>
                      <a:pt x="393" y="528"/>
                    </a:lnTo>
                    <a:lnTo>
                      <a:pt x="309" y="549"/>
                    </a:lnTo>
                    <a:lnTo>
                      <a:pt x="259" y="563"/>
                    </a:lnTo>
                    <a:lnTo>
                      <a:pt x="234" y="565"/>
                    </a:lnTo>
                    <a:lnTo>
                      <a:pt x="197" y="563"/>
                    </a:lnTo>
                    <a:lnTo>
                      <a:pt x="153" y="553"/>
                    </a:lnTo>
                    <a:lnTo>
                      <a:pt x="145" y="551"/>
                    </a:lnTo>
                    <a:lnTo>
                      <a:pt x="136" y="549"/>
                    </a:lnTo>
                    <a:lnTo>
                      <a:pt x="109" y="536"/>
                    </a:lnTo>
                    <a:lnTo>
                      <a:pt x="94" y="522"/>
                    </a:lnTo>
                    <a:lnTo>
                      <a:pt x="84" y="493"/>
                    </a:lnTo>
                    <a:lnTo>
                      <a:pt x="71" y="467"/>
                    </a:lnTo>
                    <a:lnTo>
                      <a:pt x="61" y="455"/>
                    </a:lnTo>
                    <a:lnTo>
                      <a:pt x="49" y="436"/>
                    </a:lnTo>
                    <a:lnTo>
                      <a:pt x="36" y="415"/>
                    </a:lnTo>
                    <a:lnTo>
                      <a:pt x="15" y="361"/>
                    </a:lnTo>
                    <a:lnTo>
                      <a:pt x="0" y="330"/>
                    </a:lnTo>
                    <a:lnTo>
                      <a:pt x="15" y="332"/>
                    </a:lnTo>
                    <a:lnTo>
                      <a:pt x="42" y="323"/>
                    </a:lnTo>
                    <a:lnTo>
                      <a:pt x="71" y="328"/>
                    </a:lnTo>
                    <a:lnTo>
                      <a:pt x="97" y="340"/>
                    </a:lnTo>
                    <a:lnTo>
                      <a:pt x="115" y="346"/>
                    </a:lnTo>
                    <a:lnTo>
                      <a:pt x="128" y="344"/>
                    </a:lnTo>
                    <a:lnTo>
                      <a:pt x="147" y="344"/>
                    </a:lnTo>
                    <a:lnTo>
                      <a:pt x="169" y="340"/>
                    </a:lnTo>
                    <a:lnTo>
                      <a:pt x="192" y="344"/>
                    </a:lnTo>
                    <a:lnTo>
                      <a:pt x="193" y="336"/>
                    </a:lnTo>
                    <a:lnTo>
                      <a:pt x="199" y="313"/>
                    </a:lnTo>
                    <a:lnTo>
                      <a:pt x="205" y="284"/>
                    </a:lnTo>
                    <a:lnTo>
                      <a:pt x="209" y="257"/>
                    </a:lnTo>
                    <a:lnTo>
                      <a:pt x="211" y="250"/>
                    </a:lnTo>
                    <a:lnTo>
                      <a:pt x="213" y="234"/>
                    </a:lnTo>
                    <a:lnTo>
                      <a:pt x="222" y="205"/>
                    </a:lnTo>
                    <a:lnTo>
                      <a:pt x="228" y="198"/>
                    </a:lnTo>
                    <a:lnTo>
                      <a:pt x="230" y="190"/>
                    </a:lnTo>
                    <a:lnTo>
                      <a:pt x="230" y="177"/>
                    </a:lnTo>
                    <a:lnTo>
                      <a:pt x="230" y="153"/>
                    </a:lnTo>
                    <a:lnTo>
                      <a:pt x="228" y="132"/>
                    </a:lnTo>
                    <a:lnTo>
                      <a:pt x="220" y="109"/>
                    </a:lnTo>
                    <a:lnTo>
                      <a:pt x="245" y="98"/>
                    </a:lnTo>
                    <a:lnTo>
                      <a:pt x="247" y="88"/>
                    </a:lnTo>
                    <a:lnTo>
                      <a:pt x="255" y="79"/>
                    </a:lnTo>
                    <a:lnTo>
                      <a:pt x="265" y="42"/>
                    </a:lnTo>
                    <a:lnTo>
                      <a:pt x="272" y="40"/>
                    </a:lnTo>
                    <a:lnTo>
                      <a:pt x="324" y="7"/>
                    </a:lnTo>
                    <a:lnTo>
                      <a:pt x="336" y="0"/>
                    </a:lnTo>
                    <a:lnTo>
                      <a:pt x="337" y="2"/>
                    </a:lnTo>
                    <a:lnTo>
                      <a:pt x="347" y="9"/>
                    </a:lnTo>
                    <a:lnTo>
                      <a:pt x="353" y="15"/>
                    </a:lnTo>
                    <a:lnTo>
                      <a:pt x="362" y="19"/>
                    </a:lnTo>
                    <a:lnTo>
                      <a:pt x="370" y="21"/>
                    </a:lnTo>
                    <a:lnTo>
                      <a:pt x="382" y="31"/>
                    </a:lnTo>
                    <a:lnTo>
                      <a:pt x="397" y="42"/>
                    </a:lnTo>
                    <a:lnTo>
                      <a:pt x="420" y="63"/>
                    </a:lnTo>
                    <a:lnTo>
                      <a:pt x="432" y="73"/>
                    </a:lnTo>
                    <a:lnTo>
                      <a:pt x="439" y="80"/>
                    </a:lnTo>
                    <a:lnTo>
                      <a:pt x="447" y="82"/>
                    </a:lnTo>
                    <a:lnTo>
                      <a:pt x="449" y="90"/>
                    </a:lnTo>
                    <a:lnTo>
                      <a:pt x="455" y="94"/>
                    </a:lnTo>
                    <a:lnTo>
                      <a:pt x="458" y="98"/>
                    </a:lnTo>
                    <a:lnTo>
                      <a:pt x="478" y="102"/>
                    </a:lnTo>
                    <a:lnTo>
                      <a:pt x="480" y="104"/>
                    </a:lnTo>
                    <a:lnTo>
                      <a:pt x="481" y="113"/>
                    </a:lnTo>
                    <a:lnTo>
                      <a:pt x="483" y="119"/>
                    </a:lnTo>
                    <a:lnTo>
                      <a:pt x="499" y="127"/>
                    </a:lnTo>
                    <a:lnTo>
                      <a:pt x="508" y="134"/>
                    </a:lnTo>
                    <a:lnTo>
                      <a:pt x="551" y="161"/>
                    </a:lnTo>
                    <a:lnTo>
                      <a:pt x="554" y="163"/>
                    </a:lnTo>
                    <a:lnTo>
                      <a:pt x="585" y="180"/>
                    </a:lnTo>
                    <a:lnTo>
                      <a:pt x="576" y="192"/>
                    </a:lnTo>
                    <a:lnTo>
                      <a:pt x="564" y="201"/>
                    </a:lnTo>
                    <a:lnTo>
                      <a:pt x="558" y="215"/>
                    </a:lnTo>
                    <a:lnTo>
                      <a:pt x="553" y="232"/>
                    </a:lnTo>
                    <a:lnTo>
                      <a:pt x="551" y="248"/>
                    </a:lnTo>
                    <a:lnTo>
                      <a:pt x="549" y="255"/>
                    </a:lnTo>
                    <a:lnTo>
                      <a:pt x="541" y="267"/>
                    </a:lnTo>
                    <a:lnTo>
                      <a:pt x="533" y="276"/>
                    </a:lnTo>
                    <a:lnTo>
                      <a:pt x="524" y="284"/>
                    </a:lnTo>
                    <a:lnTo>
                      <a:pt x="514" y="294"/>
                    </a:lnTo>
                    <a:lnTo>
                      <a:pt x="508" y="301"/>
                    </a:lnTo>
                    <a:lnTo>
                      <a:pt x="506" y="309"/>
                    </a:lnTo>
                    <a:lnTo>
                      <a:pt x="506" y="319"/>
                    </a:lnTo>
                    <a:lnTo>
                      <a:pt x="501" y="328"/>
                    </a:lnTo>
                    <a:lnTo>
                      <a:pt x="491" y="338"/>
                    </a:lnTo>
                    <a:lnTo>
                      <a:pt x="480" y="347"/>
                    </a:lnTo>
                    <a:lnTo>
                      <a:pt x="472" y="353"/>
                    </a:lnTo>
                    <a:lnTo>
                      <a:pt x="472" y="357"/>
                    </a:lnTo>
                    <a:lnTo>
                      <a:pt x="476" y="361"/>
                    </a:lnTo>
                    <a:lnTo>
                      <a:pt x="476" y="372"/>
                    </a:lnTo>
                    <a:lnTo>
                      <a:pt x="466" y="372"/>
                    </a:lnTo>
                    <a:lnTo>
                      <a:pt x="466" y="378"/>
                    </a:lnTo>
                    <a:lnTo>
                      <a:pt x="464" y="380"/>
                    </a:lnTo>
                    <a:lnTo>
                      <a:pt x="462" y="380"/>
                    </a:lnTo>
                    <a:lnTo>
                      <a:pt x="458" y="380"/>
                    </a:lnTo>
                    <a:lnTo>
                      <a:pt x="453" y="384"/>
                    </a:lnTo>
                    <a:lnTo>
                      <a:pt x="451" y="388"/>
                    </a:lnTo>
                    <a:lnTo>
                      <a:pt x="447" y="392"/>
                    </a:lnTo>
                    <a:lnTo>
                      <a:pt x="445" y="396"/>
                    </a:lnTo>
                    <a:lnTo>
                      <a:pt x="441" y="399"/>
                    </a:lnTo>
                    <a:lnTo>
                      <a:pt x="433" y="403"/>
                    </a:lnTo>
                    <a:lnTo>
                      <a:pt x="424" y="403"/>
                    </a:lnTo>
                    <a:lnTo>
                      <a:pt x="418" y="403"/>
                    </a:lnTo>
                    <a:lnTo>
                      <a:pt x="410" y="409"/>
                    </a:lnTo>
                    <a:lnTo>
                      <a:pt x="399" y="409"/>
                    </a:lnTo>
                    <a:lnTo>
                      <a:pt x="395" y="407"/>
                    </a:lnTo>
                    <a:lnTo>
                      <a:pt x="389" y="403"/>
                    </a:lnTo>
                    <a:lnTo>
                      <a:pt x="376" y="397"/>
                    </a:lnTo>
                    <a:lnTo>
                      <a:pt x="368" y="394"/>
                    </a:lnTo>
                    <a:lnTo>
                      <a:pt x="362" y="390"/>
                    </a:lnTo>
                    <a:lnTo>
                      <a:pt x="359" y="388"/>
                    </a:lnTo>
                    <a:lnTo>
                      <a:pt x="351" y="388"/>
                    </a:lnTo>
                    <a:lnTo>
                      <a:pt x="339" y="388"/>
                    </a:lnTo>
                    <a:lnTo>
                      <a:pt x="334" y="388"/>
                    </a:lnTo>
                    <a:lnTo>
                      <a:pt x="326" y="386"/>
                    </a:lnTo>
                    <a:lnTo>
                      <a:pt x="322" y="384"/>
                    </a:lnTo>
                    <a:lnTo>
                      <a:pt x="322" y="380"/>
                    </a:lnTo>
                    <a:lnTo>
                      <a:pt x="320" y="374"/>
                    </a:lnTo>
                    <a:lnTo>
                      <a:pt x="316" y="372"/>
                    </a:lnTo>
                    <a:lnTo>
                      <a:pt x="313" y="372"/>
                    </a:lnTo>
                    <a:lnTo>
                      <a:pt x="309" y="376"/>
                    </a:lnTo>
                    <a:lnTo>
                      <a:pt x="295" y="386"/>
                    </a:lnTo>
                    <a:lnTo>
                      <a:pt x="288" y="390"/>
                    </a:lnTo>
                    <a:lnTo>
                      <a:pt x="278" y="390"/>
                    </a:lnTo>
                    <a:lnTo>
                      <a:pt x="274" y="390"/>
                    </a:lnTo>
                    <a:lnTo>
                      <a:pt x="270" y="394"/>
                    </a:lnTo>
                    <a:lnTo>
                      <a:pt x="263" y="397"/>
                    </a:lnTo>
                    <a:lnTo>
                      <a:pt x="259" y="401"/>
                    </a:lnTo>
                    <a:lnTo>
                      <a:pt x="259" y="411"/>
                    </a:lnTo>
                    <a:lnTo>
                      <a:pt x="253" y="422"/>
                    </a:lnTo>
                    <a:lnTo>
                      <a:pt x="249" y="430"/>
                    </a:lnTo>
                    <a:lnTo>
                      <a:pt x="247" y="440"/>
                    </a:lnTo>
                    <a:lnTo>
                      <a:pt x="245" y="451"/>
                    </a:lnTo>
                    <a:lnTo>
                      <a:pt x="245" y="457"/>
                    </a:lnTo>
                    <a:lnTo>
                      <a:pt x="245" y="459"/>
                    </a:lnTo>
                    <a:lnTo>
                      <a:pt x="245" y="463"/>
                    </a:lnTo>
                    <a:lnTo>
                      <a:pt x="247" y="463"/>
                    </a:lnTo>
                    <a:lnTo>
                      <a:pt x="249" y="465"/>
                    </a:lnTo>
                    <a:lnTo>
                      <a:pt x="253" y="463"/>
                    </a:lnTo>
                    <a:lnTo>
                      <a:pt x="253" y="461"/>
                    </a:lnTo>
                    <a:lnTo>
                      <a:pt x="257" y="461"/>
                    </a:lnTo>
                    <a:lnTo>
                      <a:pt x="259" y="461"/>
                    </a:lnTo>
                    <a:lnTo>
                      <a:pt x="261" y="455"/>
                    </a:lnTo>
                    <a:lnTo>
                      <a:pt x="261" y="449"/>
                    </a:lnTo>
                    <a:lnTo>
                      <a:pt x="265" y="440"/>
                    </a:lnTo>
                    <a:lnTo>
                      <a:pt x="270" y="436"/>
                    </a:lnTo>
                    <a:lnTo>
                      <a:pt x="280" y="428"/>
                    </a:lnTo>
                    <a:lnTo>
                      <a:pt x="289" y="426"/>
                    </a:lnTo>
                    <a:lnTo>
                      <a:pt x="297" y="422"/>
                    </a:lnTo>
                    <a:lnTo>
                      <a:pt x="305" y="420"/>
                    </a:lnTo>
                    <a:lnTo>
                      <a:pt x="316" y="419"/>
                    </a:lnTo>
                    <a:lnTo>
                      <a:pt x="322" y="419"/>
                    </a:lnTo>
                    <a:lnTo>
                      <a:pt x="330" y="420"/>
                    </a:lnTo>
                    <a:lnTo>
                      <a:pt x="336" y="424"/>
                    </a:lnTo>
                    <a:lnTo>
                      <a:pt x="336" y="428"/>
                    </a:lnTo>
                    <a:lnTo>
                      <a:pt x="330" y="432"/>
                    </a:lnTo>
                    <a:lnTo>
                      <a:pt x="324" y="436"/>
                    </a:lnTo>
                    <a:lnTo>
                      <a:pt x="318" y="438"/>
                    </a:lnTo>
                    <a:lnTo>
                      <a:pt x="316" y="442"/>
                    </a:lnTo>
                    <a:lnTo>
                      <a:pt x="316" y="444"/>
                    </a:lnTo>
                    <a:lnTo>
                      <a:pt x="311" y="445"/>
                    </a:lnTo>
                    <a:lnTo>
                      <a:pt x="309" y="447"/>
                    </a:lnTo>
                    <a:lnTo>
                      <a:pt x="307" y="457"/>
                    </a:lnTo>
                    <a:lnTo>
                      <a:pt x="309" y="467"/>
                    </a:lnTo>
                    <a:lnTo>
                      <a:pt x="309" y="470"/>
                    </a:lnTo>
                    <a:lnTo>
                      <a:pt x="313" y="469"/>
                    </a:lnTo>
                    <a:lnTo>
                      <a:pt x="314" y="469"/>
                    </a:lnTo>
                    <a:lnTo>
                      <a:pt x="320" y="470"/>
                    </a:lnTo>
                    <a:lnTo>
                      <a:pt x="324" y="474"/>
                    </a:lnTo>
                    <a:lnTo>
                      <a:pt x="326" y="480"/>
                    </a:lnTo>
                    <a:lnTo>
                      <a:pt x="326" y="486"/>
                    </a:lnTo>
                    <a:lnTo>
                      <a:pt x="320" y="486"/>
                    </a:lnTo>
                    <a:lnTo>
                      <a:pt x="316" y="486"/>
                    </a:lnTo>
                    <a:lnTo>
                      <a:pt x="314" y="492"/>
                    </a:lnTo>
                    <a:lnTo>
                      <a:pt x="313" y="495"/>
                    </a:lnTo>
                    <a:lnTo>
                      <a:pt x="311" y="497"/>
                    </a:lnTo>
                    <a:lnTo>
                      <a:pt x="313" y="503"/>
                    </a:lnTo>
                    <a:lnTo>
                      <a:pt x="318" y="507"/>
                    </a:lnTo>
                    <a:lnTo>
                      <a:pt x="328" y="513"/>
                    </a:lnTo>
                    <a:lnTo>
                      <a:pt x="337" y="515"/>
                    </a:lnTo>
                    <a:lnTo>
                      <a:pt x="347" y="513"/>
                    </a:lnTo>
                    <a:lnTo>
                      <a:pt x="351" y="515"/>
                    </a:lnTo>
                    <a:lnTo>
                      <a:pt x="357" y="517"/>
                    </a:lnTo>
                    <a:lnTo>
                      <a:pt x="362" y="517"/>
                    </a:lnTo>
                    <a:lnTo>
                      <a:pt x="370" y="515"/>
                    </a:lnTo>
                    <a:lnTo>
                      <a:pt x="378" y="509"/>
                    </a:lnTo>
                    <a:lnTo>
                      <a:pt x="384" y="501"/>
                    </a:lnTo>
                    <a:lnTo>
                      <a:pt x="384" y="495"/>
                    </a:lnTo>
                    <a:lnTo>
                      <a:pt x="385" y="486"/>
                    </a:lnTo>
                    <a:lnTo>
                      <a:pt x="389" y="478"/>
                    </a:lnTo>
                    <a:lnTo>
                      <a:pt x="391" y="472"/>
                    </a:lnTo>
                    <a:lnTo>
                      <a:pt x="391" y="469"/>
                    </a:lnTo>
                    <a:lnTo>
                      <a:pt x="393" y="467"/>
                    </a:lnTo>
                    <a:lnTo>
                      <a:pt x="397" y="465"/>
                    </a:lnTo>
                    <a:lnTo>
                      <a:pt x="403" y="469"/>
                    </a:lnTo>
                    <a:lnTo>
                      <a:pt x="407" y="476"/>
                    </a:lnTo>
                    <a:lnTo>
                      <a:pt x="407" y="480"/>
                    </a:lnTo>
                    <a:lnTo>
                      <a:pt x="412" y="482"/>
                    </a:lnTo>
                    <a:lnTo>
                      <a:pt x="418" y="488"/>
                    </a:lnTo>
                    <a:lnTo>
                      <a:pt x="420" y="493"/>
                    </a:lnTo>
                    <a:lnTo>
                      <a:pt x="422" y="493"/>
                    </a:lnTo>
                    <a:lnTo>
                      <a:pt x="424" y="490"/>
                    </a:lnTo>
                    <a:lnTo>
                      <a:pt x="426" y="488"/>
                    </a:lnTo>
                    <a:lnTo>
                      <a:pt x="430" y="482"/>
                    </a:lnTo>
                    <a:lnTo>
                      <a:pt x="428" y="478"/>
                    </a:lnTo>
                    <a:lnTo>
                      <a:pt x="426" y="476"/>
                    </a:lnTo>
                    <a:lnTo>
                      <a:pt x="428" y="472"/>
                    </a:lnTo>
                    <a:lnTo>
                      <a:pt x="428" y="469"/>
                    </a:lnTo>
                    <a:lnTo>
                      <a:pt x="428" y="463"/>
                    </a:lnTo>
                    <a:lnTo>
                      <a:pt x="426" y="459"/>
                    </a:lnTo>
                    <a:lnTo>
                      <a:pt x="426" y="453"/>
                    </a:lnTo>
                    <a:lnTo>
                      <a:pt x="428" y="451"/>
                    </a:lnTo>
                    <a:lnTo>
                      <a:pt x="435" y="451"/>
                    </a:lnTo>
                    <a:lnTo>
                      <a:pt x="441" y="447"/>
                    </a:lnTo>
                    <a:lnTo>
                      <a:pt x="443" y="444"/>
                    </a:lnTo>
                    <a:lnTo>
                      <a:pt x="443" y="440"/>
                    </a:lnTo>
                    <a:lnTo>
                      <a:pt x="445" y="438"/>
                    </a:lnTo>
                    <a:lnTo>
                      <a:pt x="449" y="440"/>
                    </a:lnTo>
                    <a:lnTo>
                      <a:pt x="453" y="442"/>
                    </a:lnTo>
                    <a:lnTo>
                      <a:pt x="458" y="438"/>
                    </a:lnTo>
                    <a:lnTo>
                      <a:pt x="466" y="428"/>
                    </a:lnTo>
                    <a:lnTo>
                      <a:pt x="481" y="419"/>
                    </a:lnTo>
                    <a:lnTo>
                      <a:pt x="487" y="413"/>
                    </a:lnTo>
                    <a:lnTo>
                      <a:pt x="497" y="407"/>
                    </a:lnTo>
                    <a:lnTo>
                      <a:pt x="499" y="403"/>
                    </a:lnTo>
                    <a:lnTo>
                      <a:pt x="503" y="399"/>
                    </a:lnTo>
                    <a:lnTo>
                      <a:pt x="506" y="390"/>
                    </a:lnTo>
                    <a:lnTo>
                      <a:pt x="512" y="382"/>
                    </a:lnTo>
                    <a:lnTo>
                      <a:pt x="518" y="378"/>
                    </a:lnTo>
                    <a:lnTo>
                      <a:pt x="526" y="372"/>
                    </a:lnTo>
                    <a:lnTo>
                      <a:pt x="541" y="363"/>
                    </a:lnTo>
                    <a:lnTo>
                      <a:pt x="549" y="355"/>
                    </a:lnTo>
                    <a:lnTo>
                      <a:pt x="558" y="351"/>
                    </a:lnTo>
                    <a:lnTo>
                      <a:pt x="564" y="346"/>
                    </a:lnTo>
                    <a:lnTo>
                      <a:pt x="568" y="342"/>
                    </a:lnTo>
                    <a:lnTo>
                      <a:pt x="574" y="334"/>
                    </a:lnTo>
                    <a:lnTo>
                      <a:pt x="579" y="328"/>
                    </a:lnTo>
                    <a:lnTo>
                      <a:pt x="583" y="319"/>
                    </a:lnTo>
                    <a:lnTo>
                      <a:pt x="583" y="315"/>
                    </a:lnTo>
                    <a:lnTo>
                      <a:pt x="585" y="307"/>
                    </a:lnTo>
                    <a:lnTo>
                      <a:pt x="593" y="292"/>
                    </a:lnTo>
                    <a:lnTo>
                      <a:pt x="601" y="278"/>
                    </a:lnTo>
                    <a:lnTo>
                      <a:pt x="604" y="273"/>
                    </a:lnTo>
                    <a:lnTo>
                      <a:pt x="606" y="267"/>
                    </a:lnTo>
                    <a:lnTo>
                      <a:pt x="612" y="259"/>
                    </a:lnTo>
                    <a:lnTo>
                      <a:pt x="614" y="250"/>
                    </a:lnTo>
                    <a:lnTo>
                      <a:pt x="618" y="2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9" name="Freeform 59">
                <a:extLst>
                  <a:ext uri="{FF2B5EF4-FFF2-40B4-BE49-F238E27FC236}">
                    <a16:creationId xmlns:a16="http://schemas.microsoft.com/office/drawing/2014/main" id="{17A80D12-A8F6-16DE-58A2-E153739145E2}"/>
                  </a:ext>
                </a:extLst>
              </p:cNvPr>
              <p:cNvSpPr>
                <a:spLocks/>
              </p:cNvSpPr>
              <p:nvPr/>
            </p:nvSpPr>
            <p:spPr bwMode="gray">
              <a:xfrm>
                <a:off x="3670330" y="2257096"/>
                <a:ext cx="673293" cy="416156"/>
              </a:xfrm>
              <a:custGeom>
                <a:avLst/>
                <a:gdLst>
                  <a:gd name="T0" fmla="*/ 595 w 597"/>
                  <a:gd name="T1" fmla="*/ 119 h 369"/>
                  <a:gd name="T2" fmla="*/ 597 w 597"/>
                  <a:gd name="T3" fmla="*/ 164 h 369"/>
                  <a:gd name="T4" fmla="*/ 595 w 597"/>
                  <a:gd name="T5" fmla="*/ 185 h 369"/>
                  <a:gd name="T6" fmla="*/ 580 w 597"/>
                  <a:gd name="T7" fmla="*/ 221 h 369"/>
                  <a:gd name="T8" fmla="*/ 576 w 597"/>
                  <a:gd name="T9" fmla="*/ 244 h 369"/>
                  <a:gd name="T10" fmla="*/ 566 w 597"/>
                  <a:gd name="T11" fmla="*/ 300 h 369"/>
                  <a:gd name="T12" fmla="*/ 559 w 597"/>
                  <a:gd name="T13" fmla="*/ 331 h 369"/>
                  <a:gd name="T14" fmla="*/ 514 w 597"/>
                  <a:gd name="T15" fmla="*/ 331 h 369"/>
                  <a:gd name="T16" fmla="*/ 482 w 597"/>
                  <a:gd name="T17" fmla="*/ 333 h 369"/>
                  <a:gd name="T18" fmla="*/ 438 w 597"/>
                  <a:gd name="T19" fmla="*/ 315 h 369"/>
                  <a:gd name="T20" fmla="*/ 382 w 597"/>
                  <a:gd name="T21" fmla="*/ 319 h 369"/>
                  <a:gd name="T22" fmla="*/ 344 w 597"/>
                  <a:gd name="T23" fmla="*/ 290 h 369"/>
                  <a:gd name="T24" fmla="*/ 192 w 597"/>
                  <a:gd name="T25" fmla="*/ 340 h 369"/>
                  <a:gd name="T26" fmla="*/ 138 w 597"/>
                  <a:gd name="T27" fmla="*/ 356 h 369"/>
                  <a:gd name="T28" fmla="*/ 44 w 597"/>
                  <a:gd name="T29" fmla="*/ 363 h 369"/>
                  <a:gd name="T30" fmla="*/ 2 w 597"/>
                  <a:gd name="T31" fmla="*/ 365 h 369"/>
                  <a:gd name="T32" fmla="*/ 17 w 597"/>
                  <a:gd name="T33" fmla="*/ 229 h 369"/>
                  <a:gd name="T34" fmla="*/ 59 w 597"/>
                  <a:gd name="T35" fmla="*/ 204 h 369"/>
                  <a:gd name="T36" fmla="*/ 105 w 597"/>
                  <a:gd name="T37" fmla="*/ 190 h 369"/>
                  <a:gd name="T38" fmla="*/ 151 w 597"/>
                  <a:gd name="T39" fmla="*/ 190 h 369"/>
                  <a:gd name="T40" fmla="*/ 190 w 597"/>
                  <a:gd name="T41" fmla="*/ 200 h 369"/>
                  <a:gd name="T42" fmla="*/ 207 w 597"/>
                  <a:gd name="T43" fmla="*/ 210 h 369"/>
                  <a:gd name="T44" fmla="*/ 257 w 597"/>
                  <a:gd name="T45" fmla="*/ 235 h 369"/>
                  <a:gd name="T46" fmla="*/ 330 w 597"/>
                  <a:gd name="T47" fmla="*/ 150 h 369"/>
                  <a:gd name="T48" fmla="*/ 374 w 597"/>
                  <a:gd name="T49" fmla="*/ 94 h 369"/>
                  <a:gd name="T50" fmla="*/ 424 w 597"/>
                  <a:gd name="T51" fmla="*/ 39 h 369"/>
                  <a:gd name="T52" fmla="*/ 432 w 597"/>
                  <a:gd name="T53" fmla="*/ 18 h 369"/>
                  <a:gd name="T54" fmla="*/ 459 w 597"/>
                  <a:gd name="T55" fmla="*/ 10 h 369"/>
                  <a:gd name="T56" fmla="*/ 488 w 597"/>
                  <a:gd name="T57" fmla="*/ 25 h 369"/>
                  <a:gd name="T58" fmla="*/ 509 w 597"/>
                  <a:gd name="T59" fmla="*/ 42 h 369"/>
                  <a:gd name="T60" fmla="*/ 537 w 597"/>
                  <a:gd name="T61" fmla="*/ 67 h 369"/>
                  <a:gd name="T62" fmla="*/ 559 w 597"/>
                  <a:gd name="T63" fmla="*/ 94 h 369"/>
                  <a:gd name="T64" fmla="*/ 574 w 597"/>
                  <a:gd name="T65" fmla="*/ 10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7" h="369">
                    <a:moveTo>
                      <a:pt x="587" y="96"/>
                    </a:moveTo>
                    <a:lnTo>
                      <a:pt x="595" y="119"/>
                    </a:lnTo>
                    <a:lnTo>
                      <a:pt x="597" y="140"/>
                    </a:lnTo>
                    <a:lnTo>
                      <a:pt x="597" y="164"/>
                    </a:lnTo>
                    <a:lnTo>
                      <a:pt x="597" y="177"/>
                    </a:lnTo>
                    <a:lnTo>
                      <a:pt x="595" y="185"/>
                    </a:lnTo>
                    <a:lnTo>
                      <a:pt x="589" y="192"/>
                    </a:lnTo>
                    <a:lnTo>
                      <a:pt x="580" y="221"/>
                    </a:lnTo>
                    <a:lnTo>
                      <a:pt x="578" y="237"/>
                    </a:lnTo>
                    <a:lnTo>
                      <a:pt x="576" y="244"/>
                    </a:lnTo>
                    <a:lnTo>
                      <a:pt x="572" y="271"/>
                    </a:lnTo>
                    <a:lnTo>
                      <a:pt x="566" y="300"/>
                    </a:lnTo>
                    <a:lnTo>
                      <a:pt x="560" y="323"/>
                    </a:lnTo>
                    <a:lnTo>
                      <a:pt x="559" y="331"/>
                    </a:lnTo>
                    <a:lnTo>
                      <a:pt x="536" y="327"/>
                    </a:lnTo>
                    <a:lnTo>
                      <a:pt x="514" y="331"/>
                    </a:lnTo>
                    <a:lnTo>
                      <a:pt x="495" y="331"/>
                    </a:lnTo>
                    <a:lnTo>
                      <a:pt x="482" y="333"/>
                    </a:lnTo>
                    <a:lnTo>
                      <a:pt x="464" y="327"/>
                    </a:lnTo>
                    <a:lnTo>
                      <a:pt x="438" y="315"/>
                    </a:lnTo>
                    <a:lnTo>
                      <a:pt x="409" y="310"/>
                    </a:lnTo>
                    <a:lnTo>
                      <a:pt x="382" y="319"/>
                    </a:lnTo>
                    <a:lnTo>
                      <a:pt x="367" y="317"/>
                    </a:lnTo>
                    <a:lnTo>
                      <a:pt x="344" y="290"/>
                    </a:lnTo>
                    <a:lnTo>
                      <a:pt x="320" y="302"/>
                    </a:lnTo>
                    <a:lnTo>
                      <a:pt x="192" y="340"/>
                    </a:lnTo>
                    <a:lnTo>
                      <a:pt x="159" y="350"/>
                    </a:lnTo>
                    <a:lnTo>
                      <a:pt x="138" y="356"/>
                    </a:lnTo>
                    <a:lnTo>
                      <a:pt x="55" y="359"/>
                    </a:lnTo>
                    <a:lnTo>
                      <a:pt x="44" y="363"/>
                    </a:lnTo>
                    <a:lnTo>
                      <a:pt x="25" y="369"/>
                    </a:lnTo>
                    <a:lnTo>
                      <a:pt x="2" y="365"/>
                    </a:lnTo>
                    <a:lnTo>
                      <a:pt x="0" y="246"/>
                    </a:lnTo>
                    <a:lnTo>
                      <a:pt x="17" y="229"/>
                    </a:lnTo>
                    <a:lnTo>
                      <a:pt x="38" y="213"/>
                    </a:lnTo>
                    <a:lnTo>
                      <a:pt x="59" y="204"/>
                    </a:lnTo>
                    <a:lnTo>
                      <a:pt x="80" y="196"/>
                    </a:lnTo>
                    <a:lnTo>
                      <a:pt x="105" y="190"/>
                    </a:lnTo>
                    <a:lnTo>
                      <a:pt x="130" y="188"/>
                    </a:lnTo>
                    <a:lnTo>
                      <a:pt x="151" y="190"/>
                    </a:lnTo>
                    <a:lnTo>
                      <a:pt x="161" y="194"/>
                    </a:lnTo>
                    <a:lnTo>
                      <a:pt x="190" y="200"/>
                    </a:lnTo>
                    <a:lnTo>
                      <a:pt x="205" y="208"/>
                    </a:lnTo>
                    <a:lnTo>
                      <a:pt x="207" y="210"/>
                    </a:lnTo>
                    <a:lnTo>
                      <a:pt x="223" y="215"/>
                    </a:lnTo>
                    <a:lnTo>
                      <a:pt x="257" y="235"/>
                    </a:lnTo>
                    <a:lnTo>
                      <a:pt x="307" y="173"/>
                    </a:lnTo>
                    <a:lnTo>
                      <a:pt x="330" y="150"/>
                    </a:lnTo>
                    <a:lnTo>
                      <a:pt x="347" y="129"/>
                    </a:lnTo>
                    <a:lnTo>
                      <a:pt x="374" y="94"/>
                    </a:lnTo>
                    <a:lnTo>
                      <a:pt x="409" y="56"/>
                    </a:lnTo>
                    <a:lnTo>
                      <a:pt x="424" y="39"/>
                    </a:lnTo>
                    <a:lnTo>
                      <a:pt x="432" y="25"/>
                    </a:lnTo>
                    <a:lnTo>
                      <a:pt x="432" y="18"/>
                    </a:lnTo>
                    <a:lnTo>
                      <a:pt x="432" y="0"/>
                    </a:lnTo>
                    <a:lnTo>
                      <a:pt x="459" y="10"/>
                    </a:lnTo>
                    <a:lnTo>
                      <a:pt x="474" y="18"/>
                    </a:lnTo>
                    <a:lnTo>
                      <a:pt x="488" y="25"/>
                    </a:lnTo>
                    <a:lnTo>
                      <a:pt x="501" y="35"/>
                    </a:lnTo>
                    <a:lnTo>
                      <a:pt x="509" y="42"/>
                    </a:lnTo>
                    <a:lnTo>
                      <a:pt x="526" y="54"/>
                    </a:lnTo>
                    <a:lnTo>
                      <a:pt x="537" y="67"/>
                    </a:lnTo>
                    <a:lnTo>
                      <a:pt x="547" y="85"/>
                    </a:lnTo>
                    <a:lnTo>
                      <a:pt x="559" y="94"/>
                    </a:lnTo>
                    <a:lnTo>
                      <a:pt x="566" y="100"/>
                    </a:lnTo>
                    <a:lnTo>
                      <a:pt x="574" y="100"/>
                    </a:lnTo>
                    <a:lnTo>
                      <a:pt x="587" y="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0" name="Freeform 60">
                <a:extLst>
                  <a:ext uri="{FF2B5EF4-FFF2-40B4-BE49-F238E27FC236}">
                    <a16:creationId xmlns:a16="http://schemas.microsoft.com/office/drawing/2014/main" id="{3BD898CF-20F7-FFE8-05C2-D51979A2C4D1}"/>
                  </a:ext>
                </a:extLst>
              </p:cNvPr>
              <p:cNvSpPr>
                <a:spLocks/>
              </p:cNvSpPr>
              <p:nvPr/>
            </p:nvSpPr>
            <p:spPr bwMode="gray">
              <a:xfrm>
                <a:off x="3594768" y="2036048"/>
                <a:ext cx="562769" cy="498485"/>
              </a:xfrm>
              <a:custGeom>
                <a:avLst/>
                <a:gdLst>
                  <a:gd name="T0" fmla="*/ 499 w 499"/>
                  <a:gd name="T1" fmla="*/ 196 h 442"/>
                  <a:gd name="T2" fmla="*/ 499 w 499"/>
                  <a:gd name="T3" fmla="*/ 214 h 442"/>
                  <a:gd name="T4" fmla="*/ 499 w 499"/>
                  <a:gd name="T5" fmla="*/ 221 h 442"/>
                  <a:gd name="T6" fmla="*/ 491 w 499"/>
                  <a:gd name="T7" fmla="*/ 235 h 442"/>
                  <a:gd name="T8" fmla="*/ 476 w 499"/>
                  <a:gd name="T9" fmla="*/ 252 h 442"/>
                  <a:gd name="T10" fmla="*/ 441 w 499"/>
                  <a:gd name="T11" fmla="*/ 290 h 442"/>
                  <a:gd name="T12" fmla="*/ 414 w 499"/>
                  <a:gd name="T13" fmla="*/ 325 h 442"/>
                  <a:gd name="T14" fmla="*/ 397 w 499"/>
                  <a:gd name="T15" fmla="*/ 346 h 442"/>
                  <a:gd name="T16" fmla="*/ 374 w 499"/>
                  <a:gd name="T17" fmla="*/ 369 h 442"/>
                  <a:gd name="T18" fmla="*/ 324 w 499"/>
                  <a:gd name="T19" fmla="*/ 431 h 442"/>
                  <a:gd name="T20" fmla="*/ 290 w 499"/>
                  <a:gd name="T21" fmla="*/ 411 h 442"/>
                  <a:gd name="T22" fmla="*/ 274 w 499"/>
                  <a:gd name="T23" fmla="*/ 406 h 442"/>
                  <a:gd name="T24" fmla="*/ 272 w 499"/>
                  <a:gd name="T25" fmla="*/ 404 h 442"/>
                  <a:gd name="T26" fmla="*/ 257 w 499"/>
                  <a:gd name="T27" fmla="*/ 396 h 442"/>
                  <a:gd name="T28" fmla="*/ 228 w 499"/>
                  <a:gd name="T29" fmla="*/ 390 h 442"/>
                  <a:gd name="T30" fmla="*/ 218 w 499"/>
                  <a:gd name="T31" fmla="*/ 386 h 442"/>
                  <a:gd name="T32" fmla="*/ 197 w 499"/>
                  <a:gd name="T33" fmla="*/ 384 h 442"/>
                  <a:gd name="T34" fmla="*/ 172 w 499"/>
                  <a:gd name="T35" fmla="*/ 386 h 442"/>
                  <a:gd name="T36" fmla="*/ 147 w 499"/>
                  <a:gd name="T37" fmla="*/ 392 h 442"/>
                  <a:gd name="T38" fmla="*/ 126 w 499"/>
                  <a:gd name="T39" fmla="*/ 400 h 442"/>
                  <a:gd name="T40" fmla="*/ 105 w 499"/>
                  <a:gd name="T41" fmla="*/ 409 h 442"/>
                  <a:gd name="T42" fmla="*/ 84 w 499"/>
                  <a:gd name="T43" fmla="*/ 425 h 442"/>
                  <a:gd name="T44" fmla="*/ 67 w 499"/>
                  <a:gd name="T45" fmla="*/ 442 h 442"/>
                  <a:gd name="T46" fmla="*/ 61 w 499"/>
                  <a:gd name="T47" fmla="*/ 398 h 442"/>
                  <a:gd name="T48" fmla="*/ 44 w 499"/>
                  <a:gd name="T49" fmla="*/ 342 h 442"/>
                  <a:gd name="T50" fmla="*/ 40 w 499"/>
                  <a:gd name="T51" fmla="*/ 331 h 442"/>
                  <a:gd name="T52" fmla="*/ 38 w 499"/>
                  <a:gd name="T53" fmla="*/ 317 h 442"/>
                  <a:gd name="T54" fmla="*/ 34 w 499"/>
                  <a:gd name="T55" fmla="*/ 244 h 442"/>
                  <a:gd name="T56" fmla="*/ 0 w 499"/>
                  <a:gd name="T57" fmla="*/ 208 h 442"/>
                  <a:gd name="T58" fmla="*/ 3 w 499"/>
                  <a:gd name="T59" fmla="*/ 202 h 442"/>
                  <a:gd name="T60" fmla="*/ 17 w 499"/>
                  <a:gd name="T61" fmla="*/ 198 h 442"/>
                  <a:gd name="T62" fmla="*/ 19 w 499"/>
                  <a:gd name="T63" fmla="*/ 189 h 442"/>
                  <a:gd name="T64" fmla="*/ 26 w 499"/>
                  <a:gd name="T65" fmla="*/ 169 h 442"/>
                  <a:gd name="T66" fmla="*/ 42 w 499"/>
                  <a:gd name="T67" fmla="*/ 160 h 442"/>
                  <a:gd name="T68" fmla="*/ 51 w 499"/>
                  <a:gd name="T69" fmla="*/ 144 h 442"/>
                  <a:gd name="T70" fmla="*/ 51 w 499"/>
                  <a:gd name="T71" fmla="*/ 137 h 442"/>
                  <a:gd name="T72" fmla="*/ 55 w 499"/>
                  <a:gd name="T73" fmla="*/ 135 h 442"/>
                  <a:gd name="T74" fmla="*/ 61 w 499"/>
                  <a:gd name="T75" fmla="*/ 150 h 442"/>
                  <a:gd name="T76" fmla="*/ 82 w 499"/>
                  <a:gd name="T77" fmla="*/ 133 h 442"/>
                  <a:gd name="T78" fmla="*/ 103 w 499"/>
                  <a:gd name="T79" fmla="*/ 125 h 442"/>
                  <a:gd name="T80" fmla="*/ 128 w 499"/>
                  <a:gd name="T81" fmla="*/ 119 h 442"/>
                  <a:gd name="T82" fmla="*/ 144 w 499"/>
                  <a:gd name="T83" fmla="*/ 104 h 442"/>
                  <a:gd name="T84" fmla="*/ 217 w 499"/>
                  <a:gd name="T85" fmla="*/ 52 h 442"/>
                  <a:gd name="T86" fmla="*/ 276 w 499"/>
                  <a:gd name="T87" fmla="*/ 12 h 442"/>
                  <a:gd name="T88" fmla="*/ 295 w 499"/>
                  <a:gd name="T89" fmla="*/ 0 h 442"/>
                  <a:gd name="T90" fmla="*/ 305 w 499"/>
                  <a:gd name="T91" fmla="*/ 12 h 442"/>
                  <a:gd name="T92" fmla="*/ 320 w 499"/>
                  <a:gd name="T93" fmla="*/ 16 h 442"/>
                  <a:gd name="T94" fmla="*/ 324 w 499"/>
                  <a:gd name="T95" fmla="*/ 43 h 442"/>
                  <a:gd name="T96" fmla="*/ 336 w 499"/>
                  <a:gd name="T97" fmla="*/ 60 h 442"/>
                  <a:gd name="T98" fmla="*/ 349 w 499"/>
                  <a:gd name="T99" fmla="*/ 73 h 442"/>
                  <a:gd name="T100" fmla="*/ 351 w 499"/>
                  <a:gd name="T101" fmla="*/ 73 h 442"/>
                  <a:gd name="T102" fmla="*/ 361 w 499"/>
                  <a:gd name="T103" fmla="*/ 68 h 442"/>
                  <a:gd name="T104" fmla="*/ 366 w 499"/>
                  <a:gd name="T105" fmla="*/ 66 h 442"/>
                  <a:gd name="T106" fmla="*/ 380 w 499"/>
                  <a:gd name="T107" fmla="*/ 62 h 442"/>
                  <a:gd name="T108" fmla="*/ 395 w 499"/>
                  <a:gd name="T109" fmla="*/ 104 h 442"/>
                  <a:gd name="T110" fmla="*/ 399 w 499"/>
                  <a:gd name="T111" fmla="*/ 116 h 442"/>
                  <a:gd name="T112" fmla="*/ 407 w 499"/>
                  <a:gd name="T113" fmla="*/ 129 h 442"/>
                  <a:gd name="T114" fmla="*/ 416 w 499"/>
                  <a:gd name="T115" fmla="*/ 146 h 442"/>
                  <a:gd name="T116" fmla="*/ 441 w 499"/>
                  <a:gd name="T117" fmla="*/ 169 h 442"/>
                  <a:gd name="T118" fmla="*/ 472 w 499"/>
                  <a:gd name="T119" fmla="*/ 185 h 442"/>
                  <a:gd name="T120" fmla="*/ 499 w 499"/>
                  <a:gd name="T121" fmla="*/ 196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9" h="442">
                    <a:moveTo>
                      <a:pt x="499" y="196"/>
                    </a:moveTo>
                    <a:lnTo>
                      <a:pt x="499" y="214"/>
                    </a:lnTo>
                    <a:lnTo>
                      <a:pt x="499" y="221"/>
                    </a:lnTo>
                    <a:lnTo>
                      <a:pt x="491" y="235"/>
                    </a:lnTo>
                    <a:lnTo>
                      <a:pt x="476" y="252"/>
                    </a:lnTo>
                    <a:lnTo>
                      <a:pt x="441" y="290"/>
                    </a:lnTo>
                    <a:lnTo>
                      <a:pt x="414" y="325"/>
                    </a:lnTo>
                    <a:lnTo>
                      <a:pt x="397" y="346"/>
                    </a:lnTo>
                    <a:lnTo>
                      <a:pt x="374" y="369"/>
                    </a:lnTo>
                    <a:lnTo>
                      <a:pt x="324" y="431"/>
                    </a:lnTo>
                    <a:lnTo>
                      <a:pt x="290" y="411"/>
                    </a:lnTo>
                    <a:lnTo>
                      <a:pt x="274" y="406"/>
                    </a:lnTo>
                    <a:lnTo>
                      <a:pt x="272" y="404"/>
                    </a:lnTo>
                    <a:lnTo>
                      <a:pt x="257" y="396"/>
                    </a:lnTo>
                    <a:lnTo>
                      <a:pt x="228" y="390"/>
                    </a:lnTo>
                    <a:lnTo>
                      <a:pt x="218" y="386"/>
                    </a:lnTo>
                    <a:lnTo>
                      <a:pt x="197" y="384"/>
                    </a:lnTo>
                    <a:lnTo>
                      <a:pt x="172" y="386"/>
                    </a:lnTo>
                    <a:lnTo>
                      <a:pt x="147" y="392"/>
                    </a:lnTo>
                    <a:lnTo>
                      <a:pt x="126" y="400"/>
                    </a:lnTo>
                    <a:lnTo>
                      <a:pt x="105" y="409"/>
                    </a:lnTo>
                    <a:lnTo>
                      <a:pt x="84" y="425"/>
                    </a:lnTo>
                    <a:lnTo>
                      <a:pt x="67" y="442"/>
                    </a:lnTo>
                    <a:lnTo>
                      <a:pt x="61" y="398"/>
                    </a:lnTo>
                    <a:lnTo>
                      <a:pt x="44" y="342"/>
                    </a:lnTo>
                    <a:lnTo>
                      <a:pt x="40" y="331"/>
                    </a:lnTo>
                    <a:lnTo>
                      <a:pt x="38" y="317"/>
                    </a:lnTo>
                    <a:lnTo>
                      <a:pt x="34" y="244"/>
                    </a:lnTo>
                    <a:lnTo>
                      <a:pt x="0" y="208"/>
                    </a:lnTo>
                    <a:lnTo>
                      <a:pt x="3" y="202"/>
                    </a:lnTo>
                    <a:lnTo>
                      <a:pt x="17" y="198"/>
                    </a:lnTo>
                    <a:lnTo>
                      <a:pt x="19" y="189"/>
                    </a:lnTo>
                    <a:lnTo>
                      <a:pt x="26" y="169"/>
                    </a:lnTo>
                    <a:lnTo>
                      <a:pt x="42" y="160"/>
                    </a:lnTo>
                    <a:lnTo>
                      <a:pt x="51" y="144"/>
                    </a:lnTo>
                    <a:lnTo>
                      <a:pt x="51" y="137"/>
                    </a:lnTo>
                    <a:lnTo>
                      <a:pt x="55" y="135"/>
                    </a:lnTo>
                    <a:lnTo>
                      <a:pt x="61" y="150"/>
                    </a:lnTo>
                    <a:lnTo>
                      <a:pt x="82" y="133"/>
                    </a:lnTo>
                    <a:lnTo>
                      <a:pt x="103" y="125"/>
                    </a:lnTo>
                    <a:lnTo>
                      <a:pt x="128" y="119"/>
                    </a:lnTo>
                    <a:lnTo>
                      <a:pt x="144" y="104"/>
                    </a:lnTo>
                    <a:lnTo>
                      <a:pt x="217" y="52"/>
                    </a:lnTo>
                    <a:lnTo>
                      <a:pt x="276" y="12"/>
                    </a:lnTo>
                    <a:lnTo>
                      <a:pt x="295" y="0"/>
                    </a:lnTo>
                    <a:lnTo>
                      <a:pt x="305" y="12"/>
                    </a:lnTo>
                    <a:lnTo>
                      <a:pt x="320" y="16"/>
                    </a:lnTo>
                    <a:lnTo>
                      <a:pt x="324" y="43"/>
                    </a:lnTo>
                    <a:lnTo>
                      <a:pt x="336" y="60"/>
                    </a:lnTo>
                    <a:lnTo>
                      <a:pt x="349" y="73"/>
                    </a:lnTo>
                    <a:lnTo>
                      <a:pt x="351" y="73"/>
                    </a:lnTo>
                    <a:lnTo>
                      <a:pt x="361" y="68"/>
                    </a:lnTo>
                    <a:lnTo>
                      <a:pt x="366" y="66"/>
                    </a:lnTo>
                    <a:lnTo>
                      <a:pt x="380" y="62"/>
                    </a:lnTo>
                    <a:lnTo>
                      <a:pt x="395" y="104"/>
                    </a:lnTo>
                    <a:lnTo>
                      <a:pt x="399" y="116"/>
                    </a:lnTo>
                    <a:lnTo>
                      <a:pt x="407" y="129"/>
                    </a:lnTo>
                    <a:lnTo>
                      <a:pt x="416" y="146"/>
                    </a:lnTo>
                    <a:lnTo>
                      <a:pt x="441" y="169"/>
                    </a:lnTo>
                    <a:lnTo>
                      <a:pt x="472" y="185"/>
                    </a:lnTo>
                    <a:lnTo>
                      <a:pt x="499" y="196"/>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1" name="Freeform 61">
                <a:extLst>
                  <a:ext uri="{FF2B5EF4-FFF2-40B4-BE49-F238E27FC236}">
                    <a16:creationId xmlns:a16="http://schemas.microsoft.com/office/drawing/2014/main" id="{ED80D001-3DC6-D61B-5462-970E3701B283}"/>
                  </a:ext>
                </a:extLst>
              </p:cNvPr>
              <p:cNvSpPr>
                <a:spLocks/>
              </p:cNvSpPr>
              <p:nvPr/>
            </p:nvSpPr>
            <p:spPr bwMode="gray">
              <a:xfrm>
                <a:off x="3289136" y="2270629"/>
                <a:ext cx="417284" cy="658631"/>
              </a:xfrm>
              <a:custGeom>
                <a:avLst/>
                <a:gdLst>
                  <a:gd name="T0" fmla="*/ 340 w 370"/>
                  <a:gd name="T1" fmla="*/ 353 h 584"/>
                  <a:gd name="T2" fmla="*/ 357 w 370"/>
                  <a:gd name="T3" fmla="*/ 420 h 584"/>
                  <a:gd name="T4" fmla="*/ 367 w 370"/>
                  <a:gd name="T5" fmla="*/ 528 h 584"/>
                  <a:gd name="T6" fmla="*/ 332 w 370"/>
                  <a:gd name="T7" fmla="*/ 566 h 584"/>
                  <a:gd name="T8" fmla="*/ 271 w 370"/>
                  <a:gd name="T9" fmla="*/ 565 h 584"/>
                  <a:gd name="T10" fmla="*/ 251 w 370"/>
                  <a:gd name="T11" fmla="*/ 568 h 584"/>
                  <a:gd name="T12" fmla="*/ 211 w 370"/>
                  <a:gd name="T13" fmla="*/ 578 h 584"/>
                  <a:gd name="T14" fmla="*/ 167 w 370"/>
                  <a:gd name="T15" fmla="*/ 584 h 584"/>
                  <a:gd name="T16" fmla="*/ 152 w 370"/>
                  <a:gd name="T17" fmla="*/ 584 h 584"/>
                  <a:gd name="T18" fmla="*/ 144 w 370"/>
                  <a:gd name="T19" fmla="*/ 568 h 584"/>
                  <a:gd name="T20" fmla="*/ 134 w 370"/>
                  <a:gd name="T21" fmla="*/ 501 h 584"/>
                  <a:gd name="T22" fmla="*/ 130 w 370"/>
                  <a:gd name="T23" fmla="*/ 472 h 584"/>
                  <a:gd name="T24" fmla="*/ 134 w 370"/>
                  <a:gd name="T25" fmla="*/ 451 h 584"/>
                  <a:gd name="T26" fmla="*/ 140 w 370"/>
                  <a:gd name="T27" fmla="*/ 426 h 584"/>
                  <a:gd name="T28" fmla="*/ 119 w 370"/>
                  <a:gd name="T29" fmla="*/ 411 h 584"/>
                  <a:gd name="T30" fmla="*/ 79 w 370"/>
                  <a:gd name="T31" fmla="*/ 405 h 584"/>
                  <a:gd name="T32" fmla="*/ 54 w 370"/>
                  <a:gd name="T33" fmla="*/ 401 h 584"/>
                  <a:gd name="T34" fmla="*/ 31 w 370"/>
                  <a:gd name="T35" fmla="*/ 386 h 584"/>
                  <a:gd name="T36" fmla="*/ 17 w 370"/>
                  <a:gd name="T37" fmla="*/ 351 h 584"/>
                  <a:gd name="T38" fmla="*/ 25 w 370"/>
                  <a:gd name="T39" fmla="*/ 319 h 584"/>
                  <a:gd name="T40" fmla="*/ 11 w 370"/>
                  <a:gd name="T41" fmla="*/ 273 h 584"/>
                  <a:gd name="T42" fmla="*/ 2 w 370"/>
                  <a:gd name="T43" fmla="*/ 255 h 584"/>
                  <a:gd name="T44" fmla="*/ 17 w 370"/>
                  <a:gd name="T45" fmla="*/ 226 h 584"/>
                  <a:gd name="T46" fmla="*/ 42 w 370"/>
                  <a:gd name="T47" fmla="*/ 200 h 584"/>
                  <a:gd name="T48" fmla="*/ 54 w 370"/>
                  <a:gd name="T49" fmla="*/ 175 h 584"/>
                  <a:gd name="T50" fmla="*/ 73 w 370"/>
                  <a:gd name="T51" fmla="*/ 153 h 584"/>
                  <a:gd name="T52" fmla="*/ 69 w 370"/>
                  <a:gd name="T53" fmla="*/ 138 h 584"/>
                  <a:gd name="T54" fmla="*/ 65 w 370"/>
                  <a:gd name="T55" fmla="*/ 117 h 584"/>
                  <a:gd name="T56" fmla="*/ 46 w 370"/>
                  <a:gd name="T57" fmla="*/ 84 h 584"/>
                  <a:gd name="T58" fmla="*/ 31 w 370"/>
                  <a:gd name="T59" fmla="*/ 54 h 584"/>
                  <a:gd name="T60" fmla="*/ 33 w 370"/>
                  <a:gd name="T61" fmla="*/ 36 h 584"/>
                  <a:gd name="T62" fmla="*/ 46 w 370"/>
                  <a:gd name="T63" fmla="*/ 32 h 584"/>
                  <a:gd name="T64" fmla="*/ 75 w 370"/>
                  <a:gd name="T65" fmla="*/ 48 h 584"/>
                  <a:gd name="T66" fmla="*/ 115 w 370"/>
                  <a:gd name="T67" fmla="*/ 61 h 584"/>
                  <a:gd name="T68" fmla="*/ 134 w 370"/>
                  <a:gd name="T69" fmla="*/ 59 h 584"/>
                  <a:gd name="T70" fmla="*/ 152 w 370"/>
                  <a:gd name="T71" fmla="*/ 50 h 584"/>
                  <a:gd name="T72" fmla="*/ 171 w 370"/>
                  <a:gd name="T73" fmla="*/ 50 h 584"/>
                  <a:gd name="T74" fmla="*/ 190 w 370"/>
                  <a:gd name="T75" fmla="*/ 54 h 584"/>
                  <a:gd name="T76" fmla="*/ 213 w 370"/>
                  <a:gd name="T77" fmla="*/ 54 h 584"/>
                  <a:gd name="T78" fmla="*/ 251 w 370"/>
                  <a:gd name="T79" fmla="*/ 40 h 584"/>
                  <a:gd name="T80" fmla="*/ 257 w 370"/>
                  <a:gd name="T81" fmla="*/ 21 h 584"/>
                  <a:gd name="T82" fmla="*/ 271 w 370"/>
                  <a:gd name="T83" fmla="*/ 0 h 584"/>
                  <a:gd name="T84" fmla="*/ 309 w 370"/>
                  <a:gd name="T85" fmla="*/ 109 h 584"/>
                  <a:gd name="T86" fmla="*/ 315 w 370"/>
                  <a:gd name="T87" fmla="*/ 134 h 584"/>
                  <a:gd name="T88" fmla="*/ 338 w 370"/>
                  <a:gd name="T89" fmla="*/ 23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0" h="584">
                    <a:moveTo>
                      <a:pt x="338" y="234"/>
                    </a:moveTo>
                    <a:lnTo>
                      <a:pt x="340" y="353"/>
                    </a:lnTo>
                    <a:lnTo>
                      <a:pt x="347" y="384"/>
                    </a:lnTo>
                    <a:lnTo>
                      <a:pt x="357" y="420"/>
                    </a:lnTo>
                    <a:lnTo>
                      <a:pt x="367" y="476"/>
                    </a:lnTo>
                    <a:lnTo>
                      <a:pt x="367" y="528"/>
                    </a:lnTo>
                    <a:lnTo>
                      <a:pt x="370" y="568"/>
                    </a:lnTo>
                    <a:lnTo>
                      <a:pt x="332" y="566"/>
                    </a:lnTo>
                    <a:lnTo>
                      <a:pt x="292" y="566"/>
                    </a:lnTo>
                    <a:lnTo>
                      <a:pt x="271" y="565"/>
                    </a:lnTo>
                    <a:lnTo>
                      <a:pt x="263" y="566"/>
                    </a:lnTo>
                    <a:lnTo>
                      <a:pt x="251" y="568"/>
                    </a:lnTo>
                    <a:lnTo>
                      <a:pt x="232" y="574"/>
                    </a:lnTo>
                    <a:lnTo>
                      <a:pt x="211" y="578"/>
                    </a:lnTo>
                    <a:lnTo>
                      <a:pt x="192" y="582"/>
                    </a:lnTo>
                    <a:lnTo>
                      <a:pt x="167" y="584"/>
                    </a:lnTo>
                    <a:lnTo>
                      <a:pt x="155" y="584"/>
                    </a:lnTo>
                    <a:lnTo>
                      <a:pt x="152" y="584"/>
                    </a:lnTo>
                    <a:lnTo>
                      <a:pt x="146" y="584"/>
                    </a:lnTo>
                    <a:lnTo>
                      <a:pt x="144" y="568"/>
                    </a:lnTo>
                    <a:lnTo>
                      <a:pt x="138" y="526"/>
                    </a:lnTo>
                    <a:lnTo>
                      <a:pt x="134" y="501"/>
                    </a:lnTo>
                    <a:lnTo>
                      <a:pt x="130" y="484"/>
                    </a:lnTo>
                    <a:lnTo>
                      <a:pt x="130" y="472"/>
                    </a:lnTo>
                    <a:lnTo>
                      <a:pt x="132" y="463"/>
                    </a:lnTo>
                    <a:lnTo>
                      <a:pt x="134" y="451"/>
                    </a:lnTo>
                    <a:lnTo>
                      <a:pt x="138" y="438"/>
                    </a:lnTo>
                    <a:lnTo>
                      <a:pt x="140" y="426"/>
                    </a:lnTo>
                    <a:lnTo>
                      <a:pt x="132" y="417"/>
                    </a:lnTo>
                    <a:lnTo>
                      <a:pt x="119" y="411"/>
                    </a:lnTo>
                    <a:lnTo>
                      <a:pt x="104" y="407"/>
                    </a:lnTo>
                    <a:lnTo>
                      <a:pt x="79" y="405"/>
                    </a:lnTo>
                    <a:lnTo>
                      <a:pt x="67" y="405"/>
                    </a:lnTo>
                    <a:lnTo>
                      <a:pt x="54" y="401"/>
                    </a:lnTo>
                    <a:lnTo>
                      <a:pt x="44" y="397"/>
                    </a:lnTo>
                    <a:lnTo>
                      <a:pt x="31" y="386"/>
                    </a:lnTo>
                    <a:lnTo>
                      <a:pt x="21" y="369"/>
                    </a:lnTo>
                    <a:lnTo>
                      <a:pt x="17" y="351"/>
                    </a:lnTo>
                    <a:lnTo>
                      <a:pt x="19" y="338"/>
                    </a:lnTo>
                    <a:lnTo>
                      <a:pt x="25" y="319"/>
                    </a:lnTo>
                    <a:lnTo>
                      <a:pt x="19" y="294"/>
                    </a:lnTo>
                    <a:lnTo>
                      <a:pt x="11" y="273"/>
                    </a:lnTo>
                    <a:lnTo>
                      <a:pt x="6" y="261"/>
                    </a:lnTo>
                    <a:lnTo>
                      <a:pt x="2" y="255"/>
                    </a:lnTo>
                    <a:lnTo>
                      <a:pt x="0" y="242"/>
                    </a:lnTo>
                    <a:lnTo>
                      <a:pt x="17" y="226"/>
                    </a:lnTo>
                    <a:lnTo>
                      <a:pt x="34" y="211"/>
                    </a:lnTo>
                    <a:lnTo>
                      <a:pt x="42" y="200"/>
                    </a:lnTo>
                    <a:lnTo>
                      <a:pt x="46" y="190"/>
                    </a:lnTo>
                    <a:lnTo>
                      <a:pt x="54" y="175"/>
                    </a:lnTo>
                    <a:lnTo>
                      <a:pt x="69" y="163"/>
                    </a:lnTo>
                    <a:lnTo>
                      <a:pt x="73" y="153"/>
                    </a:lnTo>
                    <a:lnTo>
                      <a:pt x="69" y="142"/>
                    </a:lnTo>
                    <a:lnTo>
                      <a:pt x="69" y="138"/>
                    </a:lnTo>
                    <a:lnTo>
                      <a:pt x="73" y="130"/>
                    </a:lnTo>
                    <a:lnTo>
                      <a:pt x="65" y="117"/>
                    </a:lnTo>
                    <a:lnTo>
                      <a:pt x="56" y="100"/>
                    </a:lnTo>
                    <a:lnTo>
                      <a:pt x="46" y="84"/>
                    </a:lnTo>
                    <a:lnTo>
                      <a:pt x="40" y="69"/>
                    </a:lnTo>
                    <a:lnTo>
                      <a:pt x="31" y="54"/>
                    </a:lnTo>
                    <a:lnTo>
                      <a:pt x="29" y="44"/>
                    </a:lnTo>
                    <a:lnTo>
                      <a:pt x="33" y="36"/>
                    </a:lnTo>
                    <a:lnTo>
                      <a:pt x="38" y="30"/>
                    </a:lnTo>
                    <a:lnTo>
                      <a:pt x="46" y="32"/>
                    </a:lnTo>
                    <a:lnTo>
                      <a:pt x="59" y="36"/>
                    </a:lnTo>
                    <a:lnTo>
                      <a:pt x="75" y="48"/>
                    </a:lnTo>
                    <a:lnTo>
                      <a:pt x="105" y="67"/>
                    </a:lnTo>
                    <a:lnTo>
                      <a:pt x="115" y="61"/>
                    </a:lnTo>
                    <a:lnTo>
                      <a:pt x="130" y="61"/>
                    </a:lnTo>
                    <a:lnTo>
                      <a:pt x="134" y="59"/>
                    </a:lnTo>
                    <a:lnTo>
                      <a:pt x="144" y="55"/>
                    </a:lnTo>
                    <a:lnTo>
                      <a:pt x="152" y="50"/>
                    </a:lnTo>
                    <a:lnTo>
                      <a:pt x="163" y="50"/>
                    </a:lnTo>
                    <a:lnTo>
                      <a:pt x="171" y="50"/>
                    </a:lnTo>
                    <a:lnTo>
                      <a:pt x="182" y="54"/>
                    </a:lnTo>
                    <a:lnTo>
                      <a:pt x="190" y="54"/>
                    </a:lnTo>
                    <a:lnTo>
                      <a:pt x="201" y="54"/>
                    </a:lnTo>
                    <a:lnTo>
                      <a:pt x="213" y="54"/>
                    </a:lnTo>
                    <a:lnTo>
                      <a:pt x="228" y="52"/>
                    </a:lnTo>
                    <a:lnTo>
                      <a:pt x="251" y="40"/>
                    </a:lnTo>
                    <a:lnTo>
                      <a:pt x="253" y="27"/>
                    </a:lnTo>
                    <a:lnTo>
                      <a:pt x="257" y="21"/>
                    </a:lnTo>
                    <a:lnTo>
                      <a:pt x="265" y="6"/>
                    </a:lnTo>
                    <a:lnTo>
                      <a:pt x="271" y="0"/>
                    </a:lnTo>
                    <a:lnTo>
                      <a:pt x="305" y="36"/>
                    </a:lnTo>
                    <a:lnTo>
                      <a:pt x="309" y="109"/>
                    </a:lnTo>
                    <a:lnTo>
                      <a:pt x="311" y="123"/>
                    </a:lnTo>
                    <a:lnTo>
                      <a:pt x="315" y="134"/>
                    </a:lnTo>
                    <a:lnTo>
                      <a:pt x="332" y="190"/>
                    </a:lnTo>
                    <a:lnTo>
                      <a:pt x="338" y="2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62">
                <a:extLst>
                  <a:ext uri="{FF2B5EF4-FFF2-40B4-BE49-F238E27FC236}">
                    <a16:creationId xmlns:a16="http://schemas.microsoft.com/office/drawing/2014/main" id="{59AC8BF1-9A68-9C91-0918-CF7ACA851FC5}"/>
                  </a:ext>
                </a:extLst>
              </p:cNvPr>
              <p:cNvSpPr>
                <a:spLocks/>
              </p:cNvSpPr>
              <p:nvPr/>
            </p:nvSpPr>
            <p:spPr bwMode="gray">
              <a:xfrm>
                <a:off x="2724111" y="2170256"/>
                <a:ext cx="548108" cy="479312"/>
              </a:xfrm>
              <a:custGeom>
                <a:avLst/>
                <a:gdLst>
                  <a:gd name="T0" fmla="*/ 100 w 486"/>
                  <a:gd name="T1" fmla="*/ 390 h 425"/>
                  <a:gd name="T2" fmla="*/ 94 w 486"/>
                  <a:gd name="T3" fmla="*/ 379 h 425"/>
                  <a:gd name="T4" fmla="*/ 88 w 486"/>
                  <a:gd name="T5" fmla="*/ 363 h 425"/>
                  <a:gd name="T6" fmla="*/ 78 w 486"/>
                  <a:gd name="T7" fmla="*/ 354 h 425"/>
                  <a:gd name="T8" fmla="*/ 59 w 486"/>
                  <a:gd name="T9" fmla="*/ 352 h 425"/>
                  <a:gd name="T10" fmla="*/ 67 w 486"/>
                  <a:gd name="T11" fmla="*/ 327 h 425"/>
                  <a:gd name="T12" fmla="*/ 75 w 486"/>
                  <a:gd name="T13" fmla="*/ 304 h 425"/>
                  <a:gd name="T14" fmla="*/ 42 w 486"/>
                  <a:gd name="T15" fmla="*/ 292 h 425"/>
                  <a:gd name="T16" fmla="*/ 42 w 486"/>
                  <a:gd name="T17" fmla="*/ 277 h 425"/>
                  <a:gd name="T18" fmla="*/ 29 w 486"/>
                  <a:gd name="T19" fmla="*/ 254 h 425"/>
                  <a:gd name="T20" fmla="*/ 11 w 486"/>
                  <a:gd name="T21" fmla="*/ 204 h 425"/>
                  <a:gd name="T22" fmla="*/ 13 w 486"/>
                  <a:gd name="T23" fmla="*/ 183 h 425"/>
                  <a:gd name="T24" fmla="*/ 50 w 486"/>
                  <a:gd name="T25" fmla="*/ 154 h 425"/>
                  <a:gd name="T26" fmla="*/ 80 w 486"/>
                  <a:gd name="T27" fmla="*/ 121 h 425"/>
                  <a:gd name="T28" fmla="*/ 126 w 486"/>
                  <a:gd name="T29" fmla="*/ 81 h 425"/>
                  <a:gd name="T30" fmla="*/ 173 w 486"/>
                  <a:gd name="T31" fmla="*/ 48 h 425"/>
                  <a:gd name="T32" fmla="*/ 207 w 486"/>
                  <a:gd name="T33" fmla="*/ 25 h 425"/>
                  <a:gd name="T34" fmla="*/ 261 w 486"/>
                  <a:gd name="T35" fmla="*/ 10 h 425"/>
                  <a:gd name="T36" fmla="*/ 301 w 486"/>
                  <a:gd name="T37" fmla="*/ 2 h 425"/>
                  <a:gd name="T38" fmla="*/ 401 w 486"/>
                  <a:gd name="T39" fmla="*/ 18 h 425"/>
                  <a:gd name="T40" fmla="*/ 445 w 486"/>
                  <a:gd name="T41" fmla="*/ 70 h 425"/>
                  <a:gd name="T42" fmla="*/ 482 w 486"/>
                  <a:gd name="T43" fmla="*/ 116 h 425"/>
                  <a:gd name="T44" fmla="*/ 486 w 486"/>
                  <a:gd name="T45" fmla="*/ 139 h 425"/>
                  <a:gd name="T46" fmla="*/ 474 w 486"/>
                  <a:gd name="T47" fmla="*/ 148 h 425"/>
                  <a:gd name="T48" fmla="*/ 464 w 486"/>
                  <a:gd name="T49" fmla="*/ 156 h 425"/>
                  <a:gd name="T50" fmla="*/ 478 w 486"/>
                  <a:gd name="T51" fmla="*/ 168 h 425"/>
                  <a:gd name="T52" fmla="*/ 486 w 486"/>
                  <a:gd name="T53" fmla="*/ 194 h 425"/>
                  <a:gd name="T54" fmla="*/ 464 w 486"/>
                  <a:gd name="T55" fmla="*/ 210 h 425"/>
                  <a:gd name="T56" fmla="*/ 459 w 486"/>
                  <a:gd name="T57" fmla="*/ 221 h 425"/>
                  <a:gd name="T58" fmla="*/ 482 w 486"/>
                  <a:gd name="T59" fmla="*/ 231 h 425"/>
                  <a:gd name="T60" fmla="*/ 468 w 486"/>
                  <a:gd name="T61" fmla="*/ 264 h 425"/>
                  <a:gd name="T62" fmla="*/ 457 w 486"/>
                  <a:gd name="T63" fmla="*/ 289 h 425"/>
                  <a:gd name="T64" fmla="*/ 457 w 486"/>
                  <a:gd name="T65" fmla="*/ 321 h 425"/>
                  <a:gd name="T66" fmla="*/ 390 w 486"/>
                  <a:gd name="T67" fmla="*/ 394 h 425"/>
                  <a:gd name="T68" fmla="*/ 378 w 486"/>
                  <a:gd name="T69" fmla="*/ 392 h 425"/>
                  <a:gd name="T70" fmla="*/ 370 w 486"/>
                  <a:gd name="T71" fmla="*/ 400 h 425"/>
                  <a:gd name="T72" fmla="*/ 363 w 486"/>
                  <a:gd name="T73" fmla="*/ 392 h 425"/>
                  <a:gd name="T74" fmla="*/ 351 w 486"/>
                  <a:gd name="T75" fmla="*/ 392 h 425"/>
                  <a:gd name="T76" fmla="*/ 340 w 486"/>
                  <a:gd name="T77" fmla="*/ 398 h 425"/>
                  <a:gd name="T78" fmla="*/ 340 w 486"/>
                  <a:gd name="T79" fmla="*/ 419 h 425"/>
                  <a:gd name="T80" fmla="*/ 318 w 486"/>
                  <a:gd name="T81" fmla="*/ 421 h 425"/>
                  <a:gd name="T82" fmla="*/ 280 w 486"/>
                  <a:gd name="T83" fmla="*/ 423 h 425"/>
                  <a:gd name="T84" fmla="*/ 246 w 486"/>
                  <a:gd name="T85" fmla="*/ 392 h 425"/>
                  <a:gd name="T86" fmla="*/ 221 w 486"/>
                  <a:gd name="T87" fmla="*/ 408 h 425"/>
                  <a:gd name="T88" fmla="*/ 186 w 486"/>
                  <a:gd name="T89" fmla="*/ 415 h 425"/>
                  <a:gd name="T90" fmla="*/ 128 w 486"/>
                  <a:gd name="T91" fmla="*/ 417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425">
                    <a:moveTo>
                      <a:pt x="119" y="410"/>
                    </a:moveTo>
                    <a:lnTo>
                      <a:pt x="115" y="406"/>
                    </a:lnTo>
                    <a:lnTo>
                      <a:pt x="100" y="390"/>
                    </a:lnTo>
                    <a:lnTo>
                      <a:pt x="98" y="388"/>
                    </a:lnTo>
                    <a:lnTo>
                      <a:pt x="96" y="387"/>
                    </a:lnTo>
                    <a:lnTo>
                      <a:pt x="94" y="379"/>
                    </a:lnTo>
                    <a:lnTo>
                      <a:pt x="92" y="377"/>
                    </a:lnTo>
                    <a:lnTo>
                      <a:pt x="84" y="373"/>
                    </a:lnTo>
                    <a:lnTo>
                      <a:pt x="88" y="363"/>
                    </a:lnTo>
                    <a:lnTo>
                      <a:pt x="90" y="358"/>
                    </a:lnTo>
                    <a:lnTo>
                      <a:pt x="84" y="356"/>
                    </a:lnTo>
                    <a:lnTo>
                      <a:pt x="78" y="354"/>
                    </a:lnTo>
                    <a:lnTo>
                      <a:pt x="71" y="352"/>
                    </a:lnTo>
                    <a:lnTo>
                      <a:pt x="65" y="350"/>
                    </a:lnTo>
                    <a:lnTo>
                      <a:pt x="59" y="352"/>
                    </a:lnTo>
                    <a:lnTo>
                      <a:pt x="61" y="344"/>
                    </a:lnTo>
                    <a:lnTo>
                      <a:pt x="63" y="335"/>
                    </a:lnTo>
                    <a:lnTo>
                      <a:pt x="67" y="327"/>
                    </a:lnTo>
                    <a:lnTo>
                      <a:pt x="69" y="317"/>
                    </a:lnTo>
                    <a:lnTo>
                      <a:pt x="71" y="312"/>
                    </a:lnTo>
                    <a:lnTo>
                      <a:pt x="75" y="304"/>
                    </a:lnTo>
                    <a:lnTo>
                      <a:pt x="73" y="302"/>
                    </a:lnTo>
                    <a:lnTo>
                      <a:pt x="52" y="296"/>
                    </a:lnTo>
                    <a:lnTo>
                      <a:pt x="42" y="292"/>
                    </a:lnTo>
                    <a:lnTo>
                      <a:pt x="40" y="292"/>
                    </a:lnTo>
                    <a:lnTo>
                      <a:pt x="40" y="290"/>
                    </a:lnTo>
                    <a:lnTo>
                      <a:pt x="42" y="277"/>
                    </a:lnTo>
                    <a:lnTo>
                      <a:pt x="42" y="275"/>
                    </a:lnTo>
                    <a:lnTo>
                      <a:pt x="42" y="271"/>
                    </a:lnTo>
                    <a:lnTo>
                      <a:pt x="29" y="254"/>
                    </a:lnTo>
                    <a:lnTo>
                      <a:pt x="25" y="237"/>
                    </a:lnTo>
                    <a:lnTo>
                      <a:pt x="19" y="214"/>
                    </a:lnTo>
                    <a:lnTo>
                      <a:pt x="11" y="204"/>
                    </a:lnTo>
                    <a:lnTo>
                      <a:pt x="2" y="202"/>
                    </a:lnTo>
                    <a:lnTo>
                      <a:pt x="0" y="191"/>
                    </a:lnTo>
                    <a:lnTo>
                      <a:pt x="13" y="183"/>
                    </a:lnTo>
                    <a:lnTo>
                      <a:pt x="27" y="175"/>
                    </a:lnTo>
                    <a:lnTo>
                      <a:pt x="38" y="166"/>
                    </a:lnTo>
                    <a:lnTo>
                      <a:pt x="50" y="154"/>
                    </a:lnTo>
                    <a:lnTo>
                      <a:pt x="67" y="135"/>
                    </a:lnTo>
                    <a:lnTo>
                      <a:pt x="78" y="123"/>
                    </a:lnTo>
                    <a:lnTo>
                      <a:pt x="80" y="121"/>
                    </a:lnTo>
                    <a:lnTo>
                      <a:pt x="102" y="112"/>
                    </a:lnTo>
                    <a:lnTo>
                      <a:pt x="111" y="96"/>
                    </a:lnTo>
                    <a:lnTo>
                      <a:pt x="126" y="81"/>
                    </a:lnTo>
                    <a:lnTo>
                      <a:pt x="140" y="70"/>
                    </a:lnTo>
                    <a:lnTo>
                      <a:pt x="157" y="60"/>
                    </a:lnTo>
                    <a:lnTo>
                      <a:pt x="173" y="48"/>
                    </a:lnTo>
                    <a:lnTo>
                      <a:pt x="186" y="39"/>
                    </a:lnTo>
                    <a:lnTo>
                      <a:pt x="190" y="35"/>
                    </a:lnTo>
                    <a:lnTo>
                      <a:pt x="207" y="25"/>
                    </a:lnTo>
                    <a:lnTo>
                      <a:pt x="219" y="20"/>
                    </a:lnTo>
                    <a:lnTo>
                      <a:pt x="230" y="18"/>
                    </a:lnTo>
                    <a:lnTo>
                      <a:pt x="261" y="10"/>
                    </a:lnTo>
                    <a:lnTo>
                      <a:pt x="276" y="6"/>
                    </a:lnTo>
                    <a:lnTo>
                      <a:pt x="292" y="2"/>
                    </a:lnTo>
                    <a:lnTo>
                      <a:pt x="301" y="2"/>
                    </a:lnTo>
                    <a:lnTo>
                      <a:pt x="330" y="0"/>
                    </a:lnTo>
                    <a:lnTo>
                      <a:pt x="378" y="8"/>
                    </a:lnTo>
                    <a:lnTo>
                      <a:pt x="401" y="18"/>
                    </a:lnTo>
                    <a:lnTo>
                      <a:pt x="414" y="39"/>
                    </a:lnTo>
                    <a:lnTo>
                      <a:pt x="436" y="58"/>
                    </a:lnTo>
                    <a:lnTo>
                      <a:pt x="445" y="70"/>
                    </a:lnTo>
                    <a:lnTo>
                      <a:pt x="468" y="85"/>
                    </a:lnTo>
                    <a:lnTo>
                      <a:pt x="476" y="98"/>
                    </a:lnTo>
                    <a:lnTo>
                      <a:pt x="482" y="116"/>
                    </a:lnTo>
                    <a:lnTo>
                      <a:pt x="486" y="131"/>
                    </a:lnTo>
                    <a:lnTo>
                      <a:pt x="486" y="135"/>
                    </a:lnTo>
                    <a:lnTo>
                      <a:pt x="486" y="139"/>
                    </a:lnTo>
                    <a:lnTo>
                      <a:pt x="480" y="143"/>
                    </a:lnTo>
                    <a:lnTo>
                      <a:pt x="478" y="146"/>
                    </a:lnTo>
                    <a:lnTo>
                      <a:pt x="474" y="148"/>
                    </a:lnTo>
                    <a:lnTo>
                      <a:pt x="466" y="148"/>
                    </a:lnTo>
                    <a:lnTo>
                      <a:pt x="464" y="150"/>
                    </a:lnTo>
                    <a:lnTo>
                      <a:pt x="464" y="156"/>
                    </a:lnTo>
                    <a:lnTo>
                      <a:pt x="464" y="160"/>
                    </a:lnTo>
                    <a:lnTo>
                      <a:pt x="470" y="162"/>
                    </a:lnTo>
                    <a:lnTo>
                      <a:pt x="478" y="168"/>
                    </a:lnTo>
                    <a:lnTo>
                      <a:pt x="480" y="171"/>
                    </a:lnTo>
                    <a:lnTo>
                      <a:pt x="486" y="183"/>
                    </a:lnTo>
                    <a:lnTo>
                      <a:pt x="486" y="194"/>
                    </a:lnTo>
                    <a:lnTo>
                      <a:pt x="480" y="200"/>
                    </a:lnTo>
                    <a:lnTo>
                      <a:pt x="468" y="206"/>
                    </a:lnTo>
                    <a:lnTo>
                      <a:pt x="464" y="210"/>
                    </a:lnTo>
                    <a:lnTo>
                      <a:pt x="459" y="214"/>
                    </a:lnTo>
                    <a:lnTo>
                      <a:pt x="459" y="217"/>
                    </a:lnTo>
                    <a:lnTo>
                      <a:pt x="459" y="221"/>
                    </a:lnTo>
                    <a:lnTo>
                      <a:pt x="464" y="225"/>
                    </a:lnTo>
                    <a:lnTo>
                      <a:pt x="474" y="227"/>
                    </a:lnTo>
                    <a:lnTo>
                      <a:pt x="482" y="231"/>
                    </a:lnTo>
                    <a:lnTo>
                      <a:pt x="476" y="244"/>
                    </a:lnTo>
                    <a:lnTo>
                      <a:pt x="472" y="258"/>
                    </a:lnTo>
                    <a:lnTo>
                      <a:pt x="468" y="264"/>
                    </a:lnTo>
                    <a:lnTo>
                      <a:pt x="464" y="277"/>
                    </a:lnTo>
                    <a:lnTo>
                      <a:pt x="462" y="283"/>
                    </a:lnTo>
                    <a:lnTo>
                      <a:pt x="457" y="289"/>
                    </a:lnTo>
                    <a:lnTo>
                      <a:pt x="457" y="292"/>
                    </a:lnTo>
                    <a:lnTo>
                      <a:pt x="457" y="294"/>
                    </a:lnTo>
                    <a:lnTo>
                      <a:pt x="457" y="321"/>
                    </a:lnTo>
                    <a:lnTo>
                      <a:pt x="455" y="327"/>
                    </a:lnTo>
                    <a:lnTo>
                      <a:pt x="451" y="331"/>
                    </a:lnTo>
                    <a:lnTo>
                      <a:pt x="390" y="394"/>
                    </a:lnTo>
                    <a:lnTo>
                      <a:pt x="386" y="394"/>
                    </a:lnTo>
                    <a:lnTo>
                      <a:pt x="382" y="394"/>
                    </a:lnTo>
                    <a:lnTo>
                      <a:pt x="378" y="392"/>
                    </a:lnTo>
                    <a:lnTo>
                      <a:pt x="376" y="394"/>
                    </a:lnTo>
                    <a:lnTo>
                      <a:pt x="372" y="400"/>
                    </a:lnTo>
                    <a:lnTo>
                      <a:pt x="370" y="400"/>
                    </a:lnTo>
                    <a:lnTo>
                      <a:pt x="368" y="398"/>
                    </a:lnTo>
                    <a:lnTo>
                      <a:pt x="365" y="394"/>
                    </a:lnTo>
                    <a:lnTo>
                      <a:pt x="363" y="392"/>
                    </a:lnTo>
                    <a:lnTo>
                      <a:pt x="359" y="394"/>
                    </a:lnTo>
                    <a:lnTo>
                      <a:pt x="357" y="394"/>
                    </a:lnTo>
                    <a:lnTo>
                      <a:pt x="351" y="392"/>
                    </a:lnTo>
                    <a:lnTo>
                      <a:pt x="343" y="388"/>
                    </a:lnTo>
                    <a:lnTo>
                      <a:pt x="338" y="392"/>
                    </a:lnTo>
                    <a:lnTo>
                      <a:pt x="340" y="398"/>
                    </a:lnTo>
                    <a:lnTo>
                      <a:pt x="340" y="408"/>
                    </a:lnTo>
                    <a:lnTo>
                      <a:pt x="342" y="413"/>
                    </a:lnTo>
                    <a:lnTo>
                      <a:pt x="340" y="419"/>
                    </a:lnTo>
                    <a:lnTo>
                      <a:pt x="334" y="419"/>
                    </a:lnTo>
                    <a:lnTo>
                      <a:pt x="324" y="419"/>
                    </a:lnTo>
                    <a:lnTo>
                      <a:pt x="318" y="421"/>
                    </a:lnTo>
                    <a:lnTo>
                      <a:pt x="313" y="425"/>
                    </a:lnTo>
                    <a:lnTo>
                      <a:pt x="303" y="425"/>
                    </a:lnTo>
                    <a:lnTo>
                      <a:pt x="280" y="423"/>
                    </a:lnTo>
                    <a:lnTo>
                      <a:pt x="267" y="411"/>
                    </a:lnTo>
                    <a:lnTo>
                      <a:pt x="257" y="400"/>
                    </a:lnTo>
                    <a:lnTo>
                      <a:pt x="246" y="392"/>
                    </a:lnTo>
                    <a:lnTo>
                      <a:pt x="234" y="392"/>
                    </a:lnTo>
                    <a:lnTo>
                      <a:pt x="226" y="398"/>
                    </a:lnTo>
                    <a:lnTo>
                      <a:pt x="221" y="408"/>
                    </a:lnTo>
                    <a:lnTo>
                      <a:pt x="207" y="413"/>
                    </a:lnTo>
                    <a:lnTo>
                      <a:pt x="199" y="413"/>
                    </a:lnTo>
                    <a:lnTo>
                      <a:pt x="186" y="415"/>
                    </a:lnTo>
                    <a:lnTo>
                      <a:pt x="165" y="417"/>
                    </a:lnTo>
                    <a:lnTo>
                      <a:pt x="142" y="419"/>
                    </a:lnTo>
                    <a:lnTo>
                      <a:pt x="128" y="417"/>
                    </a:lnTo>
                    <a:lnTo>
                      <a:pt x="119" y="4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a:extLst>
                <a:ext uri="{FF2B5EF4-FFF2-40B4-BE49-F238E27FC236}">
                  <a16:creationId xmlns:a16="http://schemas.microsoft.com/office/drawing/2014/main" id="{C918C43D-BC0D-5D3A-56A6-9944944D1807}"/>
                </a:ext>
              </a:extLst>
            </p:cNvPr>
            <p:cNvGrpSpPr/>
            <p:nvPr/>
          </p:nvGrpSpPr>
          <p:grpSpPr>
            <a:xfrm>
              <a:off x="1890015" y="2047012"/>
              <a:ext cx="5550038" cy="2899521"/>
              <a:chOff x="1890015" y="2047012"/>
              <a:chExt cx="5550038" cy="2899521"/>
            </a:xfrm>
          </p:grpSpPr>
          <p:grpSp>
            <p:nvGrpSpPr>
              <p:cNvPr id="27" name="Group 26">
                <a:extLst>
                  <a:ext uri="{FF2B5EF4-FFF2-40B4-BE49-F238E27FC236}">
                    <a16:creationId xmlns:a16="http://schemas.microsoft.com/office/drawing/2014/main" id="{E6DA2466-D34D-A9F9-C10D-0982F65927B1}"/>
                  </a:ext>
                </a:extLst>
              </p:cNvPr>
              <p:cNvGrpSpPr/>
              <p:nvPr/>
            </p:nvGrpSpPr>
            <p:grpSpPr>
              <a:xfrm>
                <a:off x="1890015" y="2047012"/>
                <a:ext cx="5511483" cy="2354889"/>
                <a:chOff x="1890015" y="2047012"/>
                <a:chExt cx="5511483" cy="2354889"/>
              </a:xfrm>
            </p:grpSpPr>
            <p:sp>
              <p:nvSpPr>
                <p:cNvPr id="76" name="Rectangle 75">
                  <a:extLst>
                    <a:ext uri="{FF2B5EF4-FFF2-40B4-BE49-F238E27FC236}">
                      <a16:creationId xmlns:a16="http://schemas.microsoft.com/office/drawing/2014/main" id="{1C9189AA-30C1-3025-9DA6-A264DCDBDA0D}"/>
                    </a:ext>
                  </a:extLst>
                </p:cNvPr>
                <p:cNvSpPr>
                  <a:spLocks noChangeArrowheads="1"/>
                </p:cNvSpPr>
                <p:nvPr/>
              </p:nvSpPr>
              <p:spPr bwMode="gray">
                <a:xfrm>
                  <a:off x="2275249" y="2970917"/>
                  <a:ext cx="910716"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Water Catchment</a:t>
                  </a:r>
                  <a:endParaRPr kumimoji="0" lang="en-US" altLang="en-US" sz="600" b="0" i="0" u="none" strike="noStrike" cap="none" normalizeH="0" baseline="0" dirty="0">
                    <a:ln>
                      <a:noFill/>
                    </a:ln>
                    <a:solidFill>
                      <a:srgbClr val="000000"/>
                    </a:solidFill>
                    <a:effectLst/>
                  </a:endParaRPr>
                </a:p>
              </p:txBody>
            </p:sp>
            <p:sp>
              <p:nvSpPr>
                <p:cNvPr id="77" name="Rectangle 76">
                  <a:extLst>
                    <a:ext uri="{FF2B5EF4-FFF2-40B4-BE49-F238E27FC236}">
                      <a16:creationId xmlns:a16="http://schemas.microsoft.com/office/drawing/2014/main" id="{687F2C18-5FDA-BB86-0C1D-D4D5F8EFF491}"/>
                    </a:ext>
                  </a:extLst>
                </p:cNvPr>
                <p:cNvSpPr>
                  <a:spLocks noChangeArrowheads="1"/>
                </p:cNvSpPr>
                <p:nvPr/>
              </p:nvSpPr>
              <p:spPr bwMode="gray">
                <a:xfrm>
                  <a:off x="2606511" y="3510653"/>
                  <a:ext cx="4333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 West</a:t>
                  </a:r>
                  <a:endParaRPr kumimoji="0" lang="en-US" altLang="en-US" sz="600" b="0" i="0" u="none" strike="noStrike" cap="none" normalizeH="0" baseline="0" dirty="0">
                    <a:ln>
                      <a:noFill/>
                    </a:ln>
                    <a:solidFill>
                      <a:srgbClr val="000000"/>
                    </a:solidFill>
                    <a:effectLst/>
                  </a:endParaRPr>
                </a:p>
              </p:txBody>
            </p:sp>
            <p:sp>
              <p:nvSpPr>
                <p:cNvPr id="78" name="Rectangle 77">
                  <a:extLst>
                    <a:ext uri="{FF2B5EF4-FFF2-40B4-BE49-F238E27FC236}">
                      <a16:creationId xmlns:a16="http://schemas.microsoft.com/office/drawing/2014/main" id="{4AD87561-394A-5D48-E173-42D961F822E3}"/>
                    </a:ext>
                  </a:extLst>
                </p:cNvPr>
                <p:cNvSpPr>
                  <a:spLocks noChangeArrowheads="1"/>
                </p:cNvSpPr>
                <p:nvPr/>
              </p:nvSpPr>
              <p:spPr bwMode="gray">
                <a:xfrm>
                  <a:off x="2772607" y="3685823"/>
                  <a:ext cx="1811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oo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ay</a:t>
                  </a:r>
                  <a:endParaRPr kumimoji="0" lang="en-US" altLang="en-US" sz="600" b="0" i="0" u="none" strike="noStrike" cap="none" normalizeH="0" baseline="0" dirty="0">
                    <a:ln>
                      <a:noFill/>
                    </a:ln>
                    <a:solidFill>
                      <a:srgbClr val="000000"/>
                    </a:solidFill>
                    <a:effectLst/>
                  </a:endParaRPr>
                </a:p>
              </p:txBody>
            </p:sp>
            <p:sp>
              <p:nvSpPr>
                <p:cNvPr id="79" name="Rectangle 78">
                  <a:extLst>
                    <a:ext uri="{FF2B5EF4-FFF2-40B4-BE49-F238E27FC236}">
                      <a16:creationId xmlns:a16="http://schemas.microsoft.com/office/drawing/2014/main" id="{7C82E95D-CB2C-0733-AC41-56FF170B6F1C}"/>
                    </a:ext>
                  </a:extLst>
                </p:cNvPr>
                <p:cNvSpPr>
                  <a:spLocks noChangeArrowheads="1"/>
                </p:cNvSpPr>
                <p:nvPr/>
              </p:nvSpPr>
              <p:spPr bwMode="gray">
                <a:xfrm>
                  <a:off x="2382985" y="373075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ioneer</a:t>
                  </a:r>
                  <a:endParaRPr kumimoji="0" lang="en-US" altLang="en-US" sz="600" b="0" i="0" u="none" strike="noStrike" cap="none" normalizeH="0" baseline="0" dirty="0">
                    <a:ln>
                      <a:noFill/>
                    </a:ln>
                    <a:solidFill>
                      <a:srgbClr val="000000"/>
                    </a:solidFill>
                    <a:effectLst/>
                  </a:endParaRPr>
                </a:p>
              </p:txBody>
            </p:sp>
            <p:sp>
              <p:nvSpPr>
                <p:cNvPr id="80" name="Rectangle 79">
                  <a:extLst>
                    <a:ext uri="{FF2B5EF4-FFF2-40B4-BE49-F238E27FC236}">
                      <a16:creationId xmlns:a16="http://schemas.microsoft.com/office/drawing/2014/main" id="{DABE113E-D037-E83A-1B49-79C15733E5B1}"/>
                    </a:ext>
                  </a:extLst>
                </p:cNvPr>
                <p:cNvSpPr>
                  <a:spLocks noChangeArrowheads="1"/>
                </p:cNvSpPr>
                <p:nvPr/>
              </p:nvSpPr>
              <p:spPr bwMode="gray">
                <a:xfrm>
                  <a:off x="1890015" y="4002449"/>
                  <a:ext cx="17058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uas</a:t>
                  </a:r>
                  <a:endParaRPr kumimoji="0" lang="en-US" altLang="en-US" sz="600" b="0" i="0" u="none" strike="noStrike" cap="none" normalizeH="0" baseline="0" dirty="0">
                    <a:ln>
                      <a:noFill/>
                    </a:ln>
                    <a:solidFill>
                      <a:srgbClr val="000000"/>
                    </a:solidFill>
                    <a:effectLst/>
                  </a:endParaRPr>
                </a:p>
              </p:txBody>
            </p:sp>
            <p:sp>
              <p:nvSpPr>
                <p:cNvPr id="81" name="Rectangle 80">
                  <a:extLst>
                    <a:ext uri="{FF2B5EF4-FFF2-40B4-BE49-F238E27FC236}">
                      <a16:creationId xmlns:a16="http://schemas.microsoft.com/office/drawing/2014/main" id="{728C574D-B101-5D0F-F97D-EAC10FA13167}"/>
                    </a:ext>
                  </a:extLst>
                </p:cNvPr>
                <p:cNvSpPr>
                  <a:spLocks noChangeArrowheads="1"/>
                </p:cNvSpPr>
                <p:nvPr/>
              </p:nvSpPr>
              <p:spPr bwMode="gray">
                <a:xfrm>
                  <a:off x="4066004" y="4163901"/>
                  <a:ext cx="218737"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erah</a:t>
                  </a:r>
                  <a:endParaRPr kumimoji="0" lang="en-US" altLang="en-US" sz="600" b="0" i="0" u="none" strike="noStrike" cap="none" normalizeH="0" baseline="0" dirty="0">
                    <a:ln>
                      <a:noFill/>
                    </a:ln>
                    <a:solidFill>
                      <a:srgbClr val="000000"/>
                    </a:solidFill>
                    <a:effectLst/>
                  </a:endParaRPr>
                </a:p>
              </p:txBody>
            </p:sp>
            <p:sp>
              <p:nvSpPr>
                <p:cNvPr id="82" name="Rectangle 81">
                  <a:extLst>
                    <a:ext uri="{FF2B5EF4-FFF2-40B4-BE49-F238E27FC236}">
                      <a16:creationId xmlns:a16="http://schemas.microsoft.com/office/drawing/2014/main" id="{2FA3C764-2CB2-2A24-49B8-12DE623DF8A8}"/>
                    </a:ext>
                  </a:extLst>
                </p:cNvPr>
                <p:cNvSpPr>
                  <a:spLocks noChangeArrowheads="1"/>
                </p:cNvSpPr>
                <p:nvPr/>
              </p:nvSpPr>
              <p:spPr bwMode="gray">
                <a:xfrm>
                  <a:off x="4458862" y="4009213"/>
                  <a:ext cx="29577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useum</a:t>
                  </a:r>
                  <a:endParaRPr kumimoji="0" lang="en-US" altLang="en-US" sz="600" b="0" i="0" u="none" strike="noStrike" cap="none" normalizeH="0" baseline="0" dirty="0">
                    <a:ln>
                      <a:noFill/>
                    </a:ln>
                    <a:solidFill>
                      <a:srgbClr val="000000"/>
                    </a:solidFill>
                    <a:effectLst/>
                  </a:endParaRPr>
                </a:p>
              </p:txBody>
            </p:sp>
            <p:sp>
              <p:nvSpPr>
                <p:cNvPr id="83" name="Rectangle 82">
                  <a:extLst>
                    <a:ext uri="{FF2B5EF4-FFF2-40B4-BE49-F238E27FC236}">
                      <a16:creationId xmlns:a16="http://schemas.microsoft.com/office/drawing/2014/main" id="{362283F2-7FBC-FCDD-ECD2-25F90B3661E0}"/>
                    </a:ext>
                  </a:extLst>
                </p:cNvPr>
                <p:cNvSpPr>
                  <a:spLocks noChangeArrowheads="1"/>
                </p:cNvSpPr>
                <p:nvPr/>
              </p:nvSpPr>
              <p:spPr bwMode="gray">
                <a:xfrm>
                  <a:off x="4548957" y="3906624"/>
                  <a:ext cx="25006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ochor</a:t>
                  </a:r>
                  <a:endParaRPr kumimoji="0" lang="en-US" altLang="en-US" sz="600" b="0" i="0" u="none" strike="noStrike" cap="none" normalizeH="0" baseline="0" dirty="0">
                    <a:ln>
                      <a:noFill/>
                    </a:ln>
                    <a:solidFill>
                      <a:srgbClr val="000000"/>
                    </a:solidFill>
                    <a:effectLst/>
                  </a:endParaRPr>
                </a:p>
              </p:txBody>
            </p:sp>
            <p:sp>
              <p:nvSpPr>
                <p:cNvPr id="84" name="Rectangle 83">
                  <a:extLst>
                    <a:ext uri="{FF2B5EF4-FFF2-40B4-BE49-F238E27FC236}">
                      <a16:creationId xmlns:a16="http://schemas.microsoft.com/office/drawing/2014/main" id="{1E412AD2-E2C3-EC84-35B4-78FBC6928F90}"/>
                    </a:ext>
                  </a:extLst>
                </p:cNvPr>
                <p:cNvSpPr>
                  <a:spLocks noChangeArrowheads="1"/>
                </p:cNvSpPr>
                <p:nvPr/>
              </p:nvSpPr>
              <p:spPr bwMode="gray">
                <a:xfrm>
                  <a:off x="4690403" y="3759102"/>
                  <a:ext cx="2596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llang</a:t>
                  </a:r>
                  <a:endParaRPr kumimoji="0" lang="en-US" altLang="en-US" sz="600" b="0" i="0" u="none" strike="noStrike" cap="none" normalizeH="0" baseline="0" dirty="0">
                    <a:ln>
                      <a:noFill/>
                    </a:ln>
                    <a:solidFill>
                      <a:srgbClr val="000000"/>
                    </a:solidFill>
                    <a:effectLst/>
                  </a:endParaRPr>
                </a:p>
              </p:txBody>
            </p:sp>
            <p:sp>
              <p:nvSpPr>
                <p:cNvPr id="85" name="Rectangle 84">
                  <a:extLst>
                    <a:ext uri="{FF2B5EF4-FFF2-40B4-BE49-F238E27FC236}">
                      <a16:creationId xmlns:a16="http://schemas.microsoft.com/office/drawing/2014/main" id="{A22A9B41-6221-B5A8-07FA-DE49410E12E8}"/>
                    </a:ext>
                  </a:extLst>
                </p:cNvPr>
                <p:cNvSpPr>
                  <a:spLocks noChangeArrowheads="1"/>
                </p:cNvSpPr>
                <p:nvPr/>
              </p:nvSpPr>
              <p:spPr bwMode="gray">
                <a:xfrm>
                  <a:off x="4118751" y="3859274"/>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nglin</a:t>
                  </a:r>
                  <a:endParaRPr kumimoji="0" lang="en-US" altLang="en-US" sz="600" b="0" i="0" u="none" strike="noStrike" cap="none" normalizeH="0" baseline="0" dirty="0">
                    <a:ln>
                      <a:noFill/>
                    </a:ln>
                    <a:solidFill>
                      <a:srgbClr val="000000"/>
                    </a:solidFill>
                    <a:effectLst/>
                  </a:endParaRPr>
                </a:p>
              </p:txBody>
            </p:sp>
            <p:sp>
              <p:nvSpPr>
                <p:cNvPr id="86" name="Rectangle 85">
                  <a:extLst>
                    <a:ext uri="{FF2B5EF4-FFF2-40B4-BE49-F238E27FC236}">
                      <a16:creationId xmlns:a16="http://schemas.microsoft.com/office/drawing/2014/main" id="{F474855E-E23B-D7E5-2589-95DA8E144591}"/>
                    </a:ext>
                  </a:extLst>
                </p:cNvPr>
                <p:cNvSpPr>
                  <a:spLocks noChangeArrowheads="1"/>
                </p:cNvSpPr>
                <p:nvPr/>
              </p:nvSpPr>
              <p:spPr bwMode="gray">
                <a:xfrm>
                  <a:off x="3408123" y="3742029"/>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lementi</a:t>
                  </a:r>
                  <a:endParaRPr kumimoji="0" lang="en-US" altLang="en-US" sz="600" b="0" i="0" u="none" strike="noStrike" cap="none" normalizeH="0" baseline="0" dirty="0">
                    <a:ln>
                      <a:noFill/>
                    </a:ln>
                    <a:solidFill>
                      <a:srgbClr val="000000"/>
                    </a:solidFill>
                    <a:effectLst/>
                  </a:endParaRPr>
                </a:p>
              </p:txBody>
            </p:sp>
            <p:sp>
              <p:nvSpPr>
                <p:cNvPr id="87" name="Rectangle 86">
                  <a:extLst>
                    <a:ext uri="{FF2B5EF4-FFF2-40B4-BE49-F238E27FC236}">
                      <a16:creationId xmlns:a16="http://schemas.microsoft.com/office/drawing/2014/main" id="{2D0FBFB1-467A-6870-854C-C871A1A2882A}"/>
                    </a:ext>
                  </a:extLst>
                </p:cNvPr>
                <p:cNvSpPr>
                  <a:spLocks noChangeArrowheads="1"/>
                </p:cNvSpPr>
                <p:nvPr/>
              </p:nvSpPr>
              <p:spPr bwMode="gray">
                <a:xfrm>
                  <a:off x="3684628" y="4030355"/>
                  <a:ext cx="431971"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Queenstown</a:t>
                  </a:r>
                  <a:endParaRPr kumimoji="0" lang="en-US" altLang="en-US" sz="600" b="0" i="0" u="none" strike="noStrike" cap="none" normalizeH="0" baseline="0" dirty="0">
                    <a:ln>
                      <a:noFill/>
                    </a:ln>
                    <a:solidFill>
                      <a:srgbClr val="000000"/>
                    </a:solidFill>
                    <a:effectLst/>
                  </a:endParaRPr>
                </a:p>
              </p:txBody>
            </p:sp>
            <p:sp>
              <p:nvSpPr>
                <p:cNvPr id="88" name="Rectangle 87">
                  <a:extLst>
                    <a:ext uri="{FF2B5EF4-FFF2-40B4-BE49-F238E27FC236}">
                      <a16:creationId xmlns:a16="http://schemas.microsoft.com/office/drawing/2014/main" id="{27197AFE-DFBE-96B9-2974-3512A4E85D0F}"/>
                    </a:ext>
                  </a:extLst>
                </p:cNvPr>
                <p:cNvSpPr>
                  <a:spLocks noChangeArrowheads="1"/>
                </p:cNvSpPr>
                <p:nvPr/>
              </p:nvSpPr>
              <p:spPr bwMode="gray">
                <a:xfrm>
                  <a:off x="3148224" y="3518974"/>
                  <a:ext cx="235246"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East</a:t>
                  </a:r>
                  <a:endParaRPr kumimoji="0" lang="en-US" altLang="en-US" sz="600" b="0" i="0" u="none" strike="noStrike" cap="none" normalizeH="0" baseline="0" dirty="0">
                    <a:ln>
                      <a:noFill/>
                    </a:ln>
                    <a:solidFill>
                      <a:srgbClr val="000000"/>
                    </a:solidFill>
                    <a:effectLst/>
                  </a:endParaRPr>
                </a:p>
              </p:txBody>
            </p:sp>
            <p:sp>
              <p:nvSpPr>
                <p:cNvPr id="89" name="Rectangle 88">
                  <a:extLst>
                    <a:ext uri="{FF2B5EF4-FFF2-40B4-BE49-F238E27FC236}">
                      <a16:creationId xmlns:a16="http://schemas.microsoft.com/office/drawing/2014/main" id="{E1B13D15-D948-C0D8-B39C-2FEAE2826D6F}"/>
                    </a:ext>
                  </a:extLst>
                </p:cNvPr>
                <p:cNvSpPr>
                  <a:spLocks noChangeArrowheads="1"/>
                </p:cNvSpPr>
                <p:nvPr/>
              </p:nvSpPr>
              <p:spPr bwMode="gray">
                <a:xfrm>
                  <a:off x="3744889" y="3588330"/>
                  <a:ext cx="4058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Timah</a:t>
                  </a:r>
                  <a:endParaRPr kumimoji="0" lang="en-US" altLang="en-US" sz="600" b="0" i="0" u="none" strike="noStrike" cap="none" normalizeH="0" baseline="0" dirty="0">
                    <a:ln>
                      <a:noFill/>
                    </a:ln>
                    <a:solidFill>
                      <a:srgbClr val="000000"/>
                    </a:solidFill>
                    <a:effectLst/>
                  </a:endParaRPr>
                </a:p>
              </p:txBody>
            </p:sp>
            <p:sp>
              <p:nvSpPr>
                <p:cNvPr id="90" name="Rectangle 89">
                  <a:extLst>
                    <a:ext uri="{FF2B5EF4-FFF2-40B4-BE49-F238E27FC236}">
                      <a16:creationId xmlns:a16="http://schemas.microsoft.com/office/drawing/2014/main" id="{E77355E4-3E8C-A0C6-15EE-2E20C508A865}"/>
                    </a:ext>
                  </a:extLst>
                </p:cNvPr>
                <p:cNvSpPr>
                  <a:spLocks noChangeArrowheads="1"/>
                </p:cNvSpPr>
                <p:nvPr/>
              </p:nvSpPr>
              <p:spPr bwMode="gray">
                <a:xfrm>
                  <a:off x="3262000" y="3311592"/>
                  <a:ext cx="389324"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Batok</a:t>
                  </a:r>
                  <a:endParaRPr kumimoji="0" lang="en-US" altLang="en-US" sz="600" b="0" i="0" u="none" strike="noStrike" cap="none" normalizeH="0" baseline="0" dirty="0">
                    <a:ln>
                      <a:noFill/>
                    </a:ln>
                    <a:solidFill>
                      <a:srgbClr val="000000"/>
                    </a:solidFill>
                    <a:effectLst/>
                  </a:endParaRPr>
                </a:p>
              </p:txBody>
            </p:sp>
            <p:sp>
              <p:nvSpPr>
                <p:cNvPr id="91" name="Rectangle 90">
                  <a:extLst>
                    <a:ext uri="{FF2B5EF4-FFF2-40B4-BE49-F238E27FC236}">
                      <a16:creationId xmlns:a16="http://schemas.microsoft.com/office/drawing/2014/main" id="{6D201930-3DD3-5ADC-8B07-ED35F43F21AC}"/>
                    </a:ext>
                  </a:extLst>
                </p:cNvPr>
                <p:cNvSpPr>
                  <a:spLocks noChangeArrowheads="1"/>
                </p:cNvSpPr>
                <p:nvPr/>
              </p:nvSpPr>
              <p:spPr bwMode="gray">
                <a:xfrm>
                  <a:off x="3039858" y="3186243"/>
                  <a:ext cx="2628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engah</a:t>
                  </a:r>
                  <a:endParaRPr kumimoji="0" lang="en-US" altLang="en-US" sz="600" b="0" i="0" u="none" strike="noStrike" cap="none" normalizeH="0" baseline="0" dirty="0">
                    <a:ln>
                      <a:noFill/>
                    </a:ln>
                    <a:solidFill>
                      <a:srgbClr val="000000"/>
                    </a:solidFill>
                    <a:effectLst/>
                  </a:endParaRPr>
                </a:p>
              </p:txBody>
            </p:sp>
            <p:sp>
              <p:nvSpPr>
                <p:cNvPr id="92" name="Rectangle 91">
                  <a:extLst>
                    <a:ext uri="{FF2B5EF4-FFF2-40B4-BE49-F238E27FC236}">
                      <a16:creationId xmlns:a16="http://schemas.microsoft.com/office/drawing/2014/main" id="{73B328DC-16FE-8B56-232C-854F4778BD9F}"/>
                    </a:ext>
                  </a:extLst>
                </p:cNvPr>
                <p:cNvSpPr>
                  <a:spLocks noChangeArrowheads="1"/>
                </p:cNvSpPr>
                <p:nvPr/>
              </p:nvSpPr>
              <p:spPr bwMode="gray">
                <a:xfrm>
                  <a:off x="3239503" y="2921314"/>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oa Chu</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ng</a:t>
                  </a:r>
                  <a:endParaRPr kumimoji="0" lang="en-US" altLang="en-US" sz="600" b="0" i="0" u="none" strike="noStrike" cap="none" normalizeH="0" baseline="0" dirty="0">
                    <a:ln>
                      <a:noFill/>
                    </a:ln>
                    <a:solidFill>
                      <a:srgbClr val="000000"/>
                    </a:solidFill>
                    <a:effectLst/>
                  </a:endParaRPr>
                </a:p>
              </p:txBody>
            </p:sp>
            <p:sp>
              <p:nvSpPr>
                <p:cNvPr id="93" name="Rectangle 92">
                  <a:extLst>
                    <a:ext uri="{FF2B5EF4-FFF2-40B4-BE49-F238E27FC236}">
                      <a16:creationId xmlns:a16="http://schemas.microsoft.com/office/drawing/2014/main" id="{458E109F-88EF-8365-72C0-3203C6D8D030}"/>
                    </a:ext>
                  </a:extLst>
                </p:cNvPr>
                <p:cNvSpPr>
                  <a:spLocks noChangeArrowheads="1"/>
                </p:cNvSpPr>
                <p:nvPr/>
              </p:nvSpPr>
              <p:spPr bwMode="gray">
                <a:xfrm>
                  <a:off x="3528985" y="3101529"/>
                  <a:ext cx="2853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njang</a:t>
                  </a:r>
                  <a:endParaRPr kumimoji="0" lang="en-US" altLang="en-US" sz="600" b="0" i="0" u="none" strike="noStrike" cap="none" normalizeH="0" baseline="0" dirty="0">
                    <a:ln>
                      <a:noFill/>
                    </a:ln>
                    <a:solidFill>
                      <a:srgbClr val="000000"/>
                    </a:solidFill>
                    <a:effectLst/>
                  </a:endParaRPr>
                </a:p>
              </p:txBody>
            </p:sp>
            <p:sp>
              <p:nvSpPr>
                <p:cNvPr id="94" name="Rectangle 93">
                  <a:extLst>
                    <a:ext uri="{FF2B5EF4-FFF2-40B4-BE49-F238E27FC236}">
                      <a16:creationId xmlns:a16="http://schemas.microsoft.com/office/drawing/2014/main" id="{860BA695-7D95-758C-A8E8-D17592FF2C67}"/>
                    </a:ext>
                  </a:extLst>
                </p:cNvPr>
                <p:cNvSpPr>
                  <a:spLocks noChangeArrowheads="1"/>
                </p:cNvSpPr>
                <p:nvPr/>
              </p:nvSpPr>
              <p:spPr bwMode="gray">
                <a:xfrm>
                  <a:off x="4341737" y="2945714"/>
                  <a:ext cx="39757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Ang Mo Kio</a:t>
                  </a:r>
                  <a:endParaRPr kumimoji="0" lang="en-US" altLang="en-US" sz="600" b="0" i="0" u="none" strike="noStrike" cap="none" normalizeH="0" baseline="0" dirty="0">
                    <a:ln>
                      <a:noFill/>
                    </a:ln>
                    <a:solidFill>
                      <a:srgbClr val="000000"/>
                    </a:solidFill>
                    <a:effectLst/>
                  </a:endParaRPr>
                </a:p>
              </p:txBody>
            </p:sp>
            <p:sp>
              <p:nvSpPr>
                <p:cNvPr id="95" name="Rectangle 94">
                  <a:extLst>
                    <a:ext uri="{FF2B5EF4-FFF2-40B4-BE49-F238E27FC236}">
                      <a16:creationId xmlns:a16="http://schemas.microsoft.com/office/drawing/2014/main" id="{DB7E0D56-14B8-12EB-419F-7309CB6965FC}"/>
                    </a:ext>
                  </a:extLst>
                </p:cNvPr>
                <p:cNvSpPr>
                  <a:spLocks noChangeArrowheads="1"/>
                </p:cNvSpPr>
                <p:nvPr/>
              </p:nvSpPr>
              <p:spPr bwMode="gray">
                <a:xfrm>
                  <a:off x="3750339" y="2931459"/>
                  <a:ext cx="475994"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entral Water</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atchment</a:t>
                  </a:r>
                  <a:endParaRPr kumimoji="0" lang="en-US" altLang="en-US" sz="600" b="0" i="0" u="none" strike="noStrike" cap="none" normalizeH="0" baseline="0" dirty="0">
                    <a:ln>
                      <a:noFill/>
                    </a:ln>
                    <a:solidFill>
                      <a:srgbClr val="000000"/>
                    </a:solidFill>
                    <a:effectLst/>
                  </a:endParaRPr>
                </a:p>
              </p:txBody>
            </p:sp>
            <p:sp>
              <p:nvSpPr>
                <p:cNvPr id="96" name="Rectangle 95">
                  <a:extLst>
                    <a:ext uri="{FF2B5EF4-FFF2-40B4-BE49-F238E27FC236}">
                      <a16:creationId xmlns:a16="http://schemas.microsoft.com/office/drawing/2014/main" id="{6F6F044E-CDBA-AE37-4D5D-BF263BBC0F9C}"/>
                    </a:ext>
                  </a:extLst>
                </p:cNvPr>
                <p:cNvSpPr>
                  <a:spLocks noChangeArrowheads="1"/>
                </p:cNvSpPr>
                <p:nvPr/>
              </p:nvSpPr>
              <p:spPr bwMode="gray">
                <a:xfrm>
                  <a:off x="4919473" y="2832415"/>
                  <a:ext cx="34945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ngkang</a:t>
                  </a:r>
                  <a:endParaRPr kumimoji="0" lang="en-US" altLang="en-US" sz="600" b="0" i="0" u="none" strike="noStrike" cap="none" normalizeH="0" baseline="0" dirty="0">
                    <a:ln>
                      <a:noFill/>
                    </a:ln>
                    <a:solidFill>
                      <a:srgbClr val="000000"/>
                    </a:solidFill>
                    <a:effectLst/>
                  </a:endParaRPr>
                </a:p>
              </p:txBody>
            </p:sp>
            <p:sp>
              <p:nvSpPr>
                <p:cNvPr id="97" name="Rectangle 96">
                  <a:extLst>
                    <a:ext uri="{FF2B5EF4-FFF2-40B4-BE49-F238E27FC236}">
                      <a16:creationId xmlns:a16="http://schemas.microsoft.com/office/drawing/2014/main" id="{26B98E64-CA9E-B88C-A2A4-79F88829BE5B}"/>
                    </a:ext>
                  </a:extLst>
                </p:cNvPr>
                <p:cNvSpPr>
                  <a:spLocks noChangeArrowheads="1"/>
                </p:cNvSpPr>
                <p:nvPr/>
              </p:nvSpPr>
              <p:spPr bwMode="gray">
                <a:xfrm>
                  <a:off x="4641708" y="3194285"/>
                  <a:ext cx="3799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rangoon</a:t>
                  </a:r>
                  <a:endParaRPr kumimoji="0" lang="en-US" altLang="en-US" sz="600" b="0" i="0" u="none" strike="noStrike" cap="none" normalizeH="0" baseline="0" dirty="0">
                    <a:ln>
                      <a:noFill/>
                    </a:ln>
                    <a:solidFill>
                      <a:srgbClr val="000000"/>
                    </a:solidFill>
                    <a:effectLst/>
                  </a:endParaRPr>
                </a:p>
              </p:txBody>
            </p:sp>
            <p:sp>
              <p:nvSpPr>
                <p:cNvPr id="98" name="Rectangle 97">
                  <a:extLst>
                    <a:ext uri="{FF2B5EF4-FFF2-40B4-BE49-F238E27FC236}">
                      <a16:creationId xmlns:a16="http://schemas.microsoft.com/office/drawing/2014/main" id="{942A5CAF-D20F-9152-C745-FF5D18874704}"/>
                    </a:ext>
                  </a:extLst>
                </p:cNvPr>
                <p:cNvSpPr>
                  <a:spLocks noChangeArrowheads="1"/>
                </p:cNvSpPr>
                <p:nvPr/>
              </p:nvSpPr>
              <p:spPr bwMode="gray">
                <a:xfrm>
                  <a:off x="4400299" y="3294469"/>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ishan</a:t>
                  </a:r>
                  <a:endParaRPr kumimoji="0" lang="en-US" altLang="en-US" sz="600" b="0" i="0" u="none" strike="noStrike" cap="none" normalizeH="0" baseline="0" dirty="0">
                    <a:ln>
                      <a:noFill/>
                    </a:ln>
                    <a:solidFill>
                      <a:srgbClr val="000000"/>
                    </a:solidFill>
                    <a:effectLst/>
                  </a:endParaRPr>
                </a:p>
              </p:txBody>
            </p:sp>
            <p:sp>
              <p:nvSpPr>
                <p:cNvPr id="99" name="Rectangle 98">
                  <a:extLst>
                    <a:ext uri="{FF2B5EF4-FFF2-40B4-BE49-F238E27FC236}">
                      <a16:creationId xmlns:a16="http://schemas.microsoft.com/office/drawing/2014/main" id="{71E6B430-0264-1CD7-C97D-89186ACECA15}"/>
                    </a:ext>
                  </a:extLst>
                </p:cNvPr>
                <p:cNvSpPr>
                  <a:spLocks noChangeArrowheads="1"/>
                </p:cNvSpPr>
                <p:nvPr/>
              </p:nvSpPr>
              <p:spPr bwMode="gray">
                <a:xfrm>
                  <a:off x="4372284" y="368582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vena</a:t>
                  </a:r>
                  <a:endParaRPr kumimoji="0" lang="en-US" altLang="en-US" sz="600" b="0" i="0" u="none" strike="noStrike" cap="none" normalizeH="0" baseline="0" dirty="0">
                    <a:ln>
                      <a:noFill/>
                    </a:ln>
                    <a:solidFill>
                      <a:srgbClr val="000000"/>
                    </a:solidFill>
                    <a:effectLst/>
                  </a:endParaRPr>
                </a:p>
              </p:txBody>
            </p:sp>
            <p:sp>
              <p:nvSpPr>
                <p:cNvPr id="100" name="Rectangle 99">
                  <a:extLst>
                    <a:ext uri="{FF2B5EF4-FFF2-40B4-BE49-F238E27FC236}">
                      <a16:creationId xmlns:a16="http://schemas.microsoft.com/office/drawing/2014/main" id="{959A7120-9FFC-66C4-3A40-90571A4E1DDC}"/>
                    </a:ext>
                  </a:extLst>
                </p:cNvPr>
                <p:cNvSpPr>
                  <a:spLocks noChangeArrowheads="1"/>
                </p:cNvSpPr>
                <p:nvPr/>
              </p:nvSpPr>
              <p:spPr bwMode="gray">
                <a:xfrm>
                  <a:off x="4590625" y="3515431"/>
                  <a:ext cx="37144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oa Payoh</a:t>
                  </a:r>
                  <a:endParaRPr kumimoji="0" lang="en-US" altLang="en-US" sz="600" b="0" i="0" u="none" strike="noStrike" cap="none" normalizeH="0" baseline="0" dirty="0">
                    <a:ln>
                      <a:noFill/>
                    </a:ln>
                    <a:solidFill>
                      <a:srgbClr val="000000"/>
                    </a:solidFill>
                    <a:effectLst/>
                  </a:endParaRPr>
                </a:p>
              </p:txBody>
            </p:sp>
            <p:sp>
              <p:nvSpPr>
                <p:cNvPr id="101" name="Rectangle 100">
                  <a:extLst>
                    <a:ext uri="{FF2B5EF4-FFF2-40B4-BE49-F238E27FC236}">
                      <a16:creationId xmlns:a16="http://schemas.microsoft.com/office/drawing/2014/main" id="{133E2BFA-9570-351B-D985-86F625FDB5EB}"/>
                    </a:ext>
                  </a:extLst>
                </p:cNvPr>
                <p:cNvSpPr>
                  <a:spLocks noChangeArrowheads="1"/>
                </p:cNvSpPr>
                <p:nvPr/>
              </p:nvSpPr>
              <p:spPr bwMode="gray">
                <a:xfrm>
                  <a:off x="4973531" y="3705953"/>
                  <a:ext cx="2861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Geylang</a:t>
                  </a:r>
                  <a:endParaRPr kumimoji="0" lang="en-US" altLang="en-US" sz="600" b="0" i="0" u="none" strike="noStrike" cap="none" normalizeH="0" baseline="0" dirty="0">
                    <a:ln>
                      <a:noFill/>
                    </a:ln>
                    <a:solidFill>
                      <a:srgbClr val="000000"/>
                    </a:solidFill>
                    <a:effectLst/>
                  </a:endParaRPr>
                </a:p>
              </p:txBody>
            </p:sp>
            <p:sp>
              <p:nvSpPr>
                <p:cNvPr id="102" name="Rectangle 101">
                  <a:extLst>
                    <a:ext uri="{FF2B5EF4-FFF2-40B4-BE49-F238E27FC236}">
                      <a16:creationId xmlns:a16="http://schemas.microsoft.com/office/drawing/2014/main" id="{55F83451-A66C-53C3-05B6-12B5A6863788}"/>
                    </a:ext>
                  </a:extLst>
                </p:cNvPr>
                <p:cNvSpPr>
                  <a:spLocks noChangeArrowheads="1"/>
                </p:cNvSpPr>
                <p:nvPr/>
              </p:nvSpPr>
              <p:spPr bwMode="gray">
                <a:xfrm>
                  <a:off x="5474686" y="3666497"/>
                  <a:ext cx="2196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edok</a:t>
                  </a:r>
                  <a:endParaRPr kumimoji="0" lang="en-US" altLang="en-US" sz="600" b="0" i="0" u="none" strike="noStrike" cap="none" normalizeH="0" baseline="0" dirty="0">
                    <a:ln>
                      <a:noFill/>
                    </a:ln>
                    <a:solidFill>
                      <a:srgbClr val="000000"/>
                    </a:solidFill>
                    <a:effectLst/>
                  </a:endParaRPr>
                </a:p>
              </p:txBody>
            </p:sp>
            <p:sp>
              <p:nvSpPr>
                <p:cNvPr id="103" name="Rectangle 102">
                  <a:extLst>
                    <a:ext uri="{FF2B5EF4-FFF2-40B4-BE49-F238E27FC236}">
                      <a16:creationId xmlns:a16="http://schemas.microsoft.com/office/drawing/2014/main" id="{3E8A58D3-B1A7-0317-8DB9-1107AECED5A4}"/>
                    </a:ext>
                  </a:extLst>
                </p:cNvPr>
                <p:cNvSpPr>
                  <a:spLocks noChangeArrowheads="1"/>
                </p:cNvSpPr>
                <p:nvPr/>
              </p:nvSpPr>
              <p:spPr bwMode="gray">
                <a:xfrm>
                  <a:off x="5692047" y="3449166"/>
                  <a:ext cx="33704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mpines</a:t>
                  </a:r>
                  <a:endParaRPr kumimoji="0" lang="en-US" altLang="en-US" sz="600" b="0" i="0" u="none" strike="noStrike" cap="none" normalizeH="0" baseline="0" dirty="0">
                    <a:ln>
                      <a:noFill/>
                    </a:ln>
                    <a:solidFill>
                      <a:srgbClr val="000000"/>
                    </a:solidFill>
                    <a:effectLst/>
                  </a:endParaRPr>
                </a:p>
              </p:txBody>
            </p:sp>
            <p:sp>
              <p:nvSpPr>
                <p:cNvPr id="104" name="Rectangle 103">
                  <a:extLst>
                    <a:ext uri="{FF2B5EF4-FFF2-40B4-BE49-F238E27FC236}">
                      <a16:creationId xmlns:a16="http://schemas.microsoft.com/office/drawing/2014/main" id="{C9D6AFA1-0006-A0C6-15C7-44541CA986AC}"/>
                    </a:ext>
                  </a:extLst>
                </p:cNvPr>
                <p:cNvSpPr>
                  <a:spLocks noChangeArrowheads="1"/>
                </p:cNvSpPr>
                <p:nvPr/>
              </p:nvSpPr>
              <p:spPr bwMode="gray">
                <a:xfrm>
                  <a:off x="5336824" y="3202022"/>
                  <a:ext cx="1987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ya</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ebar</a:t>
                  </a:r>
                  <a:endParaRPr kumimoji="0" lang="en-US" altLang="en-US" sz="600" b="0" i="0" u="none" strike="noStrike" cap="none" normalizeH="0" baseline="0" dirty="0">
                    <a:ln>
                      <a:noFill/>
                    </a:ln>
                    <a:solidFill>
                      <a:srgbClr val="000000"/>
                    </a:solidFill>
                    <a:effectLst/>
                  </a:endParaRPr>
                </a:p>
              </p:txBody>
            </p:sp>
            <p:sp>
              <p:nvSpPr>
                <p:cNvPr id="105" name="Rectangle 104">
                  <a:extLst>
                    <a:ext uri="{FF2B5EF4-FFF2-40B4-BE49-F238E27FC236}">
                      <a16:creationId xmlns:a16="http://schemas.microsoft.com/office/drawing/2014/main" id="{964737DD-FE8F-4C0C-D0BB-A6FFBBE92090}"/>
                    </a:ext>
                  </a:extLst>
                </p:cNvPr>
                <p:cNvSpPr>
                  <a:spLocks noChangeArrowheads="1"/>
                </p:cNvSpPr>
                <p:nvPr/>
              </p:nvSpPr>
              <p:spPr bwMode="gray">
                <a:xfrm>
                  <a:off x="4994928" y="3091707"/>
                  <a:ext cx="3157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Hougang</a:t>
                  </a:r>
                  <a:endParaRPr kumimoji="0" lang="en-US" altLang="en-US" sz="600" b="0" i="0" u="none" strike="noStrike" cap="none" normalizeH="0" baseline="0" dirty="0">
                    <a:ln>
                      <a:noFill/>
                    </a:ln>
                    <a:solidFill>
                      <a:srgbClr val="000000"/>
                    </a:solidFill>
                    <a:effectLst/>
                  </a:endParaRPr>
                </a:p>
              </p:txBody>
            </p:sp>
            <p:sp>
              <p:nvSpPr>
                <p:cNvPr id="106" name="Rectangle 105">
                  <a:extLst>
                    <a:ext uri="{FF2B5EF4-FFF2-40B4-BE49-F238E27FC236}">
                      <a16:creationId xmlns:a16="http://schemas.microsoft.com/office/drawing/2014/main" id="{E7853120-4C7D-AA66-4CC3-3A65965E1B7D}"/>
                    </a:ext>
                  </a:extLst>
                </p:cNvPr>
                <p:cNvSpPr>
                  <a:spLocks noChangeArrowheads="1"/>
                </p:cNvSpPr>
                <p:nvPr/>
              </p:nvSpPr>
              <p:spPr bwMode="gray">
                <a:xfrm>
                  <a:off x="5179516" y="2704747"/>
                  <a:ext cx="2853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unggol</a:t>
                  </a:r>
                  <a:endParaRPr kumimoji="0" lang="en-US" altLang="en-US" sz="600" b="0" i="0" u="none" strike="noStrike" cap="none" normalizeH="0" baseline="0" dirty="0">
                    <a:ln>
                      <a:noFill/>
                    </a:ln>
                    <a:solidFill>
                      <a:srgbClr val="000000"/>
                    </a:solidFill>
                    <a:effectLst/>
                  </a:endParaRPr>
                </a:p>
              </p:txBody>
            </p:sp>
            <p:sp>
              <p:nvSpPr>
                <p:cNvPr id="107" name="Rectangle 106">
                  <a:extLst>
                    <a:ext uri="{FF2B5EF4-FFF2-40B4-BE49-F238E27FC236}">
                      <a16:creationId xmlns:a16="http://schemas.microsoft.com/office/drawing/2014/main" id="{D2293D3D-2D16-567D-3451-DA9389731F4F}"/>
                    </a:ext>
                  </a:extLst>
                </p:cNvPr>
                <p:cNvSpPr>
                  <a:spLocks noChangeArrowheads="1"/>
                </p:cNvSpPr>
                <p:nvPr/>
              </p:nvSpPr>
              <p:spPr bwMode="gray">
                <a:xfrm>
                  <a:off x="5681906" y="3017139"/>
                  <a:ext cx="306782"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sir Ris</a:t>
                  </a:r>
                  <a:endParaRPr kumimoji="0" lang="en-US" altLang="en-US" sz="600" b="0" i="0" u="none" strike="noStrike" cap="none" normalizeH="0" baseline="0" dirty="0">
                    <a:ln>
                      <a:noFill/>
                    </a:ln>
                    <a:solidFill>
                      <a:srgbClr val="000000"/>
                    </a:solidFill>
                    <a:effectLst/>
                  </a:endParaRPr>
                </a:p>
              </p:txBody>
            </p:sp>
            <p:sp>
              <p:nvSpPr>
                <p:cNvPr id="108" name="Rectangle 107">
                  <a:extLst>
                    <a:ext uri="{FF2B5EF4-FFF2-40B4-BE49-F238E27FC236}">
                      <a16:creationId xmlns:a16="http://schemas.microsoft.com/office/drawing/2014/main" id="{ECA566AC-3C05-3863-1313-E1F6AC9C8D3C}"/>
                    </a:ext>
                  </a:extLst>
                </p:cNvPr>
                <p:cNvSpPr>
                  <a:spLocks noChangeArrowheads="1"/>
                </p:cNvSpPr>
                <p:nvPr/>
              </p:nvSpPr>
              <p:spPr bwMode="gray">
                <a:xfrm>
                  <a:off x="6921377" y="2622565"/>
                  <a:ext cx="480121"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rth-Easter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Islands</a:t>
                  </a:r>
                  <a:endParaRPr kumimoji="0" lang="en-US" altLang="en-US" sz="600" b="0" i="0" u="none" strike="noStrike" cap="none" normalizeH="0" baseline="0" dirty="0">
                    <a:ln>
                      <a:noFill/>
                    </a:ln>
                    <a:solidFill>
                      <a:srgbClr val="000000"/>
                    </a:solidFill>
                    <a:effectLst/>
                  </a:endParaRPr>
                </a:p>
              </p:txBody>
            </p:sp>
            <p:sp>
              <p:nvSpPr>
                <p:cNvPr id="109" name="Rectangle 108">
                  <a:extLst>
                    <a:ext uri="{FF2B5EF4-FFF2-40B4-BE49-F238E27FC236}">
                      <a16:creationId xmlns:a16="http://schemas.microsoft.com/office/drawing/2014/main" id="{0395DDFF-208E-F4CA-5A43-E5077DDBB6C3}"/>
                    </a:ext>
                  </a:extLst>
                </p:cNvPr>
                <p:cNvSpPr>
                  <a:spLocks noChangeArrowheads="1"/>
                </p:cNvSpPr>
                <p:nvPr/>
              </p:nvSpPr>
              <p:spPr bwMode="gray">
                <a:xfrm>
                  <a:off x="6304691" y="3346328"/>
                  <a:ext cx="2468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a:t>
                  </a:r>
                  <a:endParaRPr kumimoji="0" lang="en-US" altLang="en-US" sz="600" b="0" i="0" u="none" strike="noStrike" cap="none" normalizeH="0" baseline="0" dirty="0">
                    <a:ln>
                      <a:noFill/>
                    </a:ln>
                    <a:solidFill>
                      <a:srgbClr val="000000"/>
                    </a:solidFill>
                    <a:effectLst/>
                  </a:endParaRPr>
                </a:p>
              </p:txBody>
            </p:sp>
            <p:sp>
              <p:nvSpPr>
                <p:cNvPr id="110" name="Rectangle 109">
                  <a:extLst>
                    <a:ext uri="{FF2B5EF4-FFF2-40B4-BE49-F238E27FC236}">
                      <a16:creationId xmlns:a16="http://schemas.microsoft.com/office/drawing/2014/main" id="{718A120C-9D22-0A5E-29B3-6BF9F258CC0E}"/>
                    </a:ext>
                  </a:extLst>
                </p:cNvPr>
                <p:cNvSpPr>
                  <a:spLocks noChangeArrowheads="1"/>
                </p:cNvSpPr>
                <p:nvPr/>
              </p:nvSpPr>
              <p:spPr bwMode="gray">
                <a:xfrm>
                  <a:off x="2515053" y="4309455"/>
                  <a:ext cx="5530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Islands</a:t>
                  </a:r>
                  <a:endParaRPr kumimoji="0" lang="en-US" altLang="en-US" sz="600" b="0" i="0" u="none" strike="noStrike" cap="none" normalizeH="0" baseline="0" dirty="0">
                    <a:ln>
                      <a:noFill/>
                    </a:ln>
                    <a:solidFill>
                      <a:srgbClr val="000000"/>
                    </a:solidFill>
                    <a:effectLst/>
                  </a:endParaRPr>
                </a:p>
              </p:txBody>
            </p:sp>
            <p:sp>
              <p:nvSpPr>
                <p:cNvPr id="111" name="Rectangle 110">
                  <a:extLst>
                    <a:ext uri="{FF2B5EF4-FFF2-40B4-BE49-F238E27FC236}">
                      <a16:creationId xmlns:a16="http://schemas.microsoft.com/office/drawing/2014/main" id="{883C03EC-55F8-4C74-A050-7B662896B5EF}"/>
                    </a:ext>
                  </a:extLst>
                </p:cNvPr>
                <p:cNvSpPr>
                  <a:spLocks noChangeArrowheads="1"/>
                </p:cNvSpPr>
                <p:nvPr/>
              </p:nvSpPr>
              <p:spPr bwMode="gray">
                <a:xfrm>
                  <a:off x="4047801" y="2047012"/>
                  <a:ext cx="43120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mbawang</a:t>
                  </a:r>
                  <a:endParaRPr kumimoji="0" lang="en-US" altLang="en-US" sz="600" b="0" i="0" u="none" strike="noStrike" cap="none" normalizeH="0" baseline="0" dirty="0">
                    <a:ln>
                      <a:noFill/>
                    </a:ln>
                    <a:solidFill>
                      <a:srgbClr val="000000"/>
                    </a:solidFill>
                    <a:effectLst/>
                  </a:endParaRPr>
                </a:p>
              </p:txBody>
            </p:sp>
            <p:sp>
              <p:nvSpPr>
                <p:cNvPr id="112" name="Rectangle 111">
                  <a:extLst>
                    <a:ext uri="{FF2B5EF4-FFF2-40B4-BE49-F238E27FC236}">
                      <a16:creationId xmlns:a16="http://schemas.microsoft.com/office/drawing/2014/main" id="{0FE37667-74D9-01E2-068D-35731A86F82D}"/>
                    </a:ext>
                  </a:extLst>
                </p:cNvPr>
                <p:cNvSpPr>
                  <a:spLocks noChangeArrowheads="1"/>
                </p:cNvSpPr>
                <p:nvPr/>
              </p:nvSpPr>
              <p:spPr bwMode="gray">
                <a:xfrm>
                  <a:off x="4804602" y="2622565"/>
                  <a:ext cx="24350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letar</a:t>
                  </a:r>
                  <a:endParaRPr kumimoji="0" lang="en-US" altLang="en-US" sz="600" b="0" i="0" u="none" strike="noStrike" cap="none" normalizeH="0" baseline="0" dirty="0">
                    <a:ln>
                      <a:noFill/>
                    </a:ln>
                    <a:solidFill>
                      <a:srgbClr val="000000"/>
                    </a:solidFill>
                    <a:effectLst/>
                  </a:endParaRPr>
                </a:p>
              </p:txBody>
            </p:sp>
            <p:sp>
              <p:nvSpPr>
                <p:cNvPr id="113" name="Rectangle 112">
                  <a:extLst>
                    <a:ext uri="{FF2B5EF4-FFF2-40B4-BE49-F238E27FC236}">
                      <a16:creationId xmlns:a16="http://schemas.microsoft.com/office/drawing/2014/main" id="{26D8705E-15C8-97C1-3722-9211CA2DBE33}"/>
                    </a:ext>
                  </a:extLst>
                </p:cNvPr>
                <p:cNvSpPr>
                  <a:spLocks noChangeArrowheads="1"/>
                </p:cNvSpPr>
                <p:nvPr/>
              </p:nvSpPr>
              <p:spPr bwMode="gray">
                <a:xfrm>
                  <a:off x="4346242" y="2549286"/>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Yishun</a:t>
                  </a:r>
                  <a:endParaRPr kumimoji="0" lang="en-US" altLang="en-US" sz="600" b="0" i="0" u="none" strike="noStrike" cap="none" normalizeH="0" baseline="0" dirty="0">
                    <a:ln>
                      <a:noFill/>
                    </a:ln>
                    <a:solidFill>
                      <a:srgbClr val="000000"/>
                    </a:solidFill>
                    <a:effectLst/>
                  </a:endParaRPr>
                </a:p>
              </p:txBody>
            </p:sp>
            <p:sp>
              <p:nvSpPr>
                <p:cNvPr id="114" name="Rectangle 113">
                  <a:extLst>
                    <a:ext uri="{FF2B5EF4-FFF2-40B4-BE49-F238E27FC236}">
                      <a16:creationId xmlns:a16="http://schemas.microsoft.com/office/drawing/2014/main" id="{C5C1E3D0-58FE-2948-095C-E93F9ED46D58}"/>
                    </a:ext>
                  </a:extLst>
                </p:cNvPr>
                <p:cNvSpPr>
                  <a:spLocks noChangeArrowheads="1"/>
                </p:cNvSpPr>
                <p:nvPr/>
              </p:nvSpPr>
              <p:spPr bwMode="gray">
                <a:xfrm>
                  <a:off x="4010393" y="2476009"/>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ndai</a:t>
                  </a:r>
                  <a:endParaRPr kumimoji="0" lang="en-US" altLang="en-US" sz="600" b="0" i="0" u="none" strike="noStrike" cap="none" normalizeH="0" baseline="0" dirty="0">
                    <a:ln>
                      <a:noFill/>
                    </a:ln>
                    <a:solidFill>
                      <a:srgbClr val="000000"/>
                    </a:solidFill>
                    <a:effectLst/>
                  </a:endParaRPr>
                </a:p>
              </p:txBody>
            </p:sp>
            <p:sp>
              <p:nvSpPr>
                <p:cNvPr id="115" name="Rectangle 114">
                  <a:extLst>
                    <a:ext uri="{FF2B5EF4-FFF2-40B4-BE49-F238E27FC236}">
                      <a16:creationId xmlns:a16="http://schemas.microsoft.com/office/drawing/2014/main" id="{8CCB431A-B46B-5779-671C-854F847BC92A}"/>
                    </a:ext>
                  </a:extLst>
                </p:cNvPr>
                <p:cNvSpPr>
                  <a:spLocks noChangeArrowheads="1"/>
                </p:cNvSpPr>
                <p:nvPr/>
              </p:nvSpPr>
              <p:spPr bwMode="gray">
                <a:xfrm>
                  <a:off x="3695302" y="2252792"/>
                  <a:ext cx="3879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oodlands</a:t>
                  </a:r>
                  <a:endParaRPr kumimoji="0" lang="en-US" altLang="en-US" sz="600" b="0" i="0" u="none" strike="noStrike" cap="none" normalizeH="0" baseline="0" dirty="0">
                    <a:ln>
                      <a:noFill/>
                    </a:ln>
                    <a:solidFill>
                      <a:srgbClr val="000000"/>
                    </a:solidFill>
                    <a:effectLst/>
                  </a:endParaRPr>
                </a:p>
              </p:txBody>
            </p:sp>
            <p:sp>
              <p:nvSpPr>
                <p:cNvPr id="116" name="Rectangle 115">
                  <a:extLst>
                    <a:ext uri="{FF2B5EF4-FFF2-40B4-BE49-F238E27FC236}">
                      <a16:creationId xmlns:a16="http://schemas.microsoft.com/office/drawing/2014/main" id="{0371ABA8-D802-BFF1-22E2-AF7854421792}"/>
                    </a:ext>
                  </a:extLst>
                </p:cNvPr>
                <p:cNvSpPr>
                  <a:spLocks noChangeArrowheads="1"/>
                </p:cNvSpPr>
                <p:nvPr/>
              </p:nvSpPr>
              <p:spPr bwMode="gray">
                <a:xfrm>
                  <a:off x="3378459" y="2479003"/>
                  <a:ext cx="2420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ungei</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dut</a:t>
                  </a:r>
                  <a:endParaRPr kumimoji="0" lang="en-US" altLang="en-US" sz="600" b="0" i="0" u="none" strike="noStrike" cap="none" normalizeH="0" baseline="0" dirty="0">
                    <a:ln>
                      <a:noFill/>
                    </a:ln>
                    <a:solidFill>
                      <a:srgbClr val="000000"/>
                    </a:solidFill>
                    <a:effectLst/>
                  </a:endParaRPr>
                </a:p>
              </p:txBody>
            </p:sp>
            <p:sp>
              <p:nvSpPr>
                <p:cNvPr id="117" name="Rectangle 116">
                  <a:extLst>
                    <a:ext uri="{FF2B5EF4-FFF2-40B4-BE49-F238E27FC236}">
                      <a16:creationId xmlns:a16="http://schemas.microsoft.com/office/drawing/2014/main" id="{50DD680F-02BC-4471-9FE4-D524E53BC5AA}"/>
                    </a:ext>
                  </a:extLst>
                </p:cNvPr>
                <p:cNvSpPr>
                  <a:spLocks noChangeArrowheads="1"/>
                </p:cNvSpPr>
                <p:nvPr/>
              </p:nvSpPr>
              <p:spPr bwMode="gray">
                <a:xfrm>
                  <a:off x="2762664" y="2358607"/>
                  <a:ext cx="486999"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im Chu Kang</a:t>
                  </a:r>
                  <a:endParaRPr kumimoji="0" lang="en-US" altLang="en-US" sz="600" b="0" i="0" u="none" strike="noStrike" cap="none" normalizeH="0" baseline="0" dirty="0">
                    <a:ln>
                      <a:noFill/>
                    </a:ln>
                    <a:solidFill>
                      <a:srgbClr val="000000"/>
                    </a:solidFill>
                    <a:effectLst/>
                  </a:endParaRPr>
                </a:p>
              </p:txBody>
            </p:sp>
          </p:grpSp>
          <p:grpSp>
            <p:nvGrpSpPr>
              <p:cNvPr id="28" name="Group 27">
                <a:extLst>
                  <a:ext uri="{FF2B5EF4-FFF2-40B4-BE49-F238E27FC236}">
                    <a16:creationId xmlns:a16="http://schemas.microsoft.com/office/drawing/2014/main" id="{A789BCA5-DB22-15E8-AF77-47475D39D1F0}"/>
                  </a:ext>
                </a:extLst>
              </p:cNvPr>
              <p:cNvGrpSpPr/>
              <p:nvPr/>
            </p:nvGrpSpPr>
            <p:grpSpPr bwMode="gray">
              <a:xfrm>
                <a:off x="6810352" y="3714902"/>
                <a:ext cx="629701" cy="92333"/>
                <a:chOff x="8702186" y="3756823"/>
                <a:chExt cx="733743" cy="107589"/>
              </a:xfrm>
            </p:grpSpPr>
            <p:sp>
              <p:nvSpPr>
                <p:cNvPr id="74" name="Rectangle 73">
                  <a:extLst>
                    <a:ext uri="{FF2B5EF4-FFF2-40B4-BE49-F238E27FC236}">
                      <a16:creationId xmlns:a16="http://schemas.microsoft.com/office/drawing/2014/main" id="{EC2F24F8-10CE-DA54-E528-A3E7B9662B70}"/>
                    </a:ext>
                  </a:extLst>
                </p:cNvPr>
                <p:cNvSpPr>
                  <a:spLocks noChangeArrowheads="1"/>
                </p:cNvSpPr>
                <p:nvPr/>
              </p:nvSpPr>
              <p:spPr bwMode="gray">
                <a:xfrm>
                  <a:off x="8968965" y="3756823"/>
                  <a:ext cx="466964"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 Bay</a:t>
                  </a:r>
                  <a:endParaRPr kumimoji="0" lang="en-US" altLang="en-US" sz="600" b="0" i="0" u="none" strike="noStrike" cap="none" normalizeH="0" baseline="0" dirty="0">
                    <a:ln>
                      <a:noFill/>
                    </a:ln>
                    <a:solidFill>
                      <a:srgbClr val="000000"/>
                    </a:solidFill>
                    <a:effectLst/>
                  </a:endParaRPr>
                </a:p>
              </p:txBody>
            </p:sp>
            <p:sp>
              <p:nvSpPr>
                <p:cNvPr id="75" name="Freeform: Shape 74">
                  <a:extLst>
                    <a:ext uri="{FF2B5EF4-FFF2-40B4-BE49-F238E27FC236}">
                      <a16:creationId xmlns:a16="http://schemas.microsoft.com/office/drawing/2014/main" id="{AD93A2FB-B854-338B-3680-137C602625E2}"/>
                    </a:ext>
                  </a:extLst>
                </p:cNvPr>
                <p:cNvSpPr/>
                <p:nvPr/>
              </p:nvSpPr>
              <p:spPr bwMode="gray">
                <a:xfrm>
                  <a:off x="8702186" y="3812078"/>
                  <a:ext cx="240144" cy="0"/>
                </a:xfrm>
                <a:custGeom>
                  <a:avLst/>
                  <a:gdLst>
                    <a:gd name="connsiteX0" fmla="*/ 0 w 290512"/>
                    <a:gd name="connsiteY0" fmla="*/ 0 h 0"/>
                    <a:gd name="connsiteX1" fmla="*/ 290512 w 290512"/>
                    <a:gd name="connsiteY1" fmla="*/ 0 h 0"/>
                  </a:gdLst>
                  <a:ahLst/>
                  <a:cxnLst>
                    <a:cxn ang="0">
                      <a:pos x="connsiteX0" y="connsiteY0"/>
                    </a:cxn>
                    <a:cxn ang="0">
                      <a:pos x="connsiteX1" y="connsiteY1"/>
                    </a:cxn>
                  </a:cxnLst>
                  <a:rect l="l" t="t" r="r" b="b"/>
                  <a:pathLst>
                    <a:path w="290512">
                      <a:moveTo>
                        <a:pt x="0" y="0"/>
                      </a:moveTo>
                      <a:lnTo>
                        <a:pt x="290512" y="0"/>
                      </a:lnTo>
                    </a:path>
                  </a:pathLst>
                </a:custGeom>
                <a:no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29" name="Group 28">
                <a:extLst>
                  <a:ext uri="{FF2B5EF4-FFF2-40B4-BE49-F238E27FC236}">
                    <a16:creationId xmlns:a16="http://schemas.microsoft.com/office/drawing/2014/main" id="{934D608F-E896-91A8-685D-96D7ABDAD12D}"/>
                  </a:ext>
                </a:extLst>
              </p:cNvPr>
              <p:cNvGrpSpPr/>
              <p:nvPr/>
            </p:nvGrpSpPr>
            <p:grpSpPr bwMode="gray">
              <a:xfrm>
                <a:off x="4752797" y="4388005"/>
                <a:ext cx="762970" cy="129003"/>
                <a:chOff x="6304674" y="4541140"/>
                <a:chExt cx="889031" cy="150318"/>
              </a:xfrm>
            </p:grpSpPr>
            <p:sp>
              <p:nvSpPr>
                <p:cNvPr id="72" name="Rectangle 71">
                  <a:extLst>
                    <a:ext uri="{FF2B5EF4-FFF2-40B4-BE49-F238E27FC236}">
                      <a16:creationId xmlns:a16="http://schemas.microsoft.com/office/drawing/2014/main" id="{37677B42-E351-0A1A-F536-24CB5F14D6A2}"/>
                    </a:ext>
                  </a:extLst>
                </p:cNvPr>
                <p:cNvSpPr>
                  <a:spLocks noChangeArrowheads="1"/>
                </p:cNvSpPr>
                <p:nvPr/>
              </p:nvSpPr>
              <p:spPr bwMode="gray">
                <a:xfrm>
                  <a:off x="6720819" y="4583736"/>
                  <a:ext cx="4728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traits View</a:t>
                  </a:r>
                  <a:endParaRPr kumimoji="0" lang="en-US" altLang="en-US" sz="600" b="0" i="0" u="none" strike="noStrike" cap="none" normalizeH="0" baseline="0" dirty="0">
                    <a:ln>
                      <a:noFill/>
                    </a:ln>
                    <a:solidFill>
                      <a:srgbClr val="000000"/>
                    </a:solidFill>
                    <a:effectLst/>
                  </a:endParaRPr>
                </a:p>
              </p:txBody>
            </p:sp>
            <p:sp>
              <p:nvSpPr>
                <p:cNvPr id="73" name="Freeform: Shape 72">
                  <a:extLst>
                    <a:ext uri="{FF2B5EF4-FFF2-40B4-BE49-F238E27FC236}">
                      <a16:creationId xmlns:a16="http://schemas.microsoft.com/office/drawing/2014/main" id="{C49DAEF4-39A8-0620-B84D-E93B75B711C6}"/>
                    </a:ext>
                  </a:extLst>
                </p:cNvPr>
                <p:cNvSpPr/>
                <p:nvPr/>
              </p:nvSpPr>
              <p:spPr bwMode="gray">
                <a:xfrm>
                  <a:off x="6304674" y="4541140"/>
                  <a:ext cx="385806" cy="90640"/>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0" name="Group 29">
                <a:extLst>
                  <a:ext uri="{FF2B5EF4-FFF2-40B4-BE49-F238E27FC236}">
                    <a16:creationId xmlns:a16="http://schemas.microsoft.com/office/drawing/2014/main" id="{E68642E9-778D-3730-09F9-52FA1970BBD7}"/>
                  </a:ext>
                </a:extLst>
              </p:cNvPr>
              <p:cNvGrpSpPr/>
              <p:nvPr/>
            </p:nvGrpSpPr>
            <p:grpSpPr bwMode="gray">
              <a:xfrm>
                <a:off x="4854154" y="4302326"/>
                <a:ext cx="713890" cy="92447"/>
                <a:chOff x="6422777" y="4441304"/>
                <a:chExt cx="831842" cy="107722"/>
              </a:xfrm>
            </p:grpSpPr>
            <p:sp>
              <p:nvSpPr>
                <p:cNvPr id="70" name="Rectangle 69">
                  <a:extLst>
                    <a:ext uri="{FF2B5EF4-FFF2-40B4-BE49-F238E27FC236}">
                      <a16:creationId xmlns:a16="http://schemas.microsoft.com/office/drawing/2014/main" id="{A93365CD-B772-ED28-C9CB-3E7A4F7046F4}"/>
                    </a:ext>
                  </a:extLst>
                </p:cNvPr>
                <p:cNvSpPr>
                  <a:spLocks noChangeArrowheads="1"/>
                </p:cNvSpPr>
                <p:nvPr/>
              </p:nvSpPr>
              <p:spPr bwMode="gray">
                <a:xfrm>
                  <a:off x="6720819" y="4441304"/>
                  <a:ext cx="53380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South</a:t>
                  </a:r>
                  <a:endParaRPr kumimoji="0" lang="en-US" altLang="en-US" sz="600" b="0" i="0" u="none" strike="noStrike" cap="none" normalizeH="0" baseline="0" dirty="0">
                    <a:ln>
                      <a:noFill/>
                    </a:ln>
                    <a:solidFill>
                      <a:srgbClr val="000000"/>
                    </a:solidFill>
                    <a:effectLst/>
                  </a:endParaRPr>
                </a:p>
              </p:txBody>
            </p:sp>
            <p:sp>
              <p:nvSpPr>
                <p:cNvPr id="71" name="Freeform: Shape 70">
                  <a:extLst>
                    <a:ext uri="{FF2B5EF4-FFF2-40B4-BE49-F238E27FC236}">
                      <a16:creationId xmlns:a16="http://schemas.microsoft.com/office/drawing/2014/main" id="{706A3B87-FBF6-2521-0677-76883D3FD24F}"/>
                    </a:ext>
                  </a:extLst>
                </p:cNvPr>
                <p:cNvSpPr/>
                <p:nvPr/>
              </p:nvSpPr>
              <p:spPr bwMode="gray">
                <a:xfrm>
                  <a:off x="6422777" y="4455566"/>
                  <a:ext cx="267703" cy="3783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1" name="Group 30">
                <a:extLst>
                  <a:ext uri="{FF2B5EF4-FFF2-40B4-BE49-F238E27FC236}">
                    <a16:creationId xmlns:a16="http://schemas.microsoft.com/office/drawing/2014/main" id="{973AE8A5-2695-105C-5F2D-7F0643D8635E}"/>
                  </a:ext>
                </a:extLst>
              </p:cNvPr>
              <p:cNvGrpSpPr/>
              <p:nvPr/>
            </p:nvGrpSpPr>
            <p:grpSpPr bwMode="gray">
              <a:xfrm>
                <a:off x="5189760" y="4084747"/>
                <a:ext cx="667056" cy="95103"/>
                <a:chOff x="6813833" y="4187776"/>
                <a:chExt cx="777270" cy="110816"/>
              </a:xfrm>
            </p:grpSpPr>
            <p:sp>
              <p:nvSpPr>
                <p:cNvPr id="68" name="Rectangle 67">
                  <a:extLst>
                    <a:ext uri="{FF2B5EF4-FFF2-40B4-BE49-F238E27FC236}">
                      <a16:creationId xmlns:a16="http://schemas.microsoft.com/office/drawing/2014/main" id="{3715F50D-AD02-01D7-97F0-05A62993EE68}"/>
                    </a:ext>
                  </a:extLst>
                </p:cNvPr>
                <p:cNvSpPr>
                  <a:spLocks noChangeArrowheads="1"/>
                </p:cNvSpPr>
                <p:nvPr/>
              </p:nvSpPr>
              <p:spPr bwMode="gray">
                <a:xfrm>
                  <a:off x="7002800" y="4190870"/>
                  <a:ext cx="58830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e Parade</a:t>
                  </a:r>
                  <a:endParaRPr kumimoji="0" lang="en-US" altLang="en-US" sz="600" b="0" i="0" u="none" strike="noStrike" cap="none" normalizeH="0" baseline="0" dirty="0">
                    <a:ln>
                      <a:noFill/>
                    </a:ln>
                    <a:solidFill>
                      <a:srgbClr val="000000"/>
                    </a:solidFill>
                    <a:effectLst/>
                  </a:endParaRPr>
                </a:p>
              </p:txBody>
            </p:sp>
            <p:sp>
              <p:nvSpPr>
                <p:cNvPr id="69" name="Freeform: Shape 68">
                  <a:extLst>
                    <a:ext uri="{FF2B5EF4-FFF2-40B4-BE49-F238E27FC236}">
                      <a16:creationId xmlns:a16="http://schemas.microsoft.com/office/drawing/2014/main" id="{2DB90CB3-E1A1-A6CC-D7B7-EA905E16E152}"/>
                    </a:ext>
                  </a:extLst>
                </p:cNvPr>
                <p:cNvSpPr/>
                <p:nvPr/>
              </p:nvSpPr>
              <p:spPr bwMode="gray">
                <a:xfrm>
                  <a:off x="6813833" y="4187776"/>
                  <a:ext cx="175843" cy="4991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2" name="Group 31">
                <a:extLst>
                  <a:ext uri="{FF2B5EF4-FFF2-40B4-BE49-F238E27FC236}">
                    <a16:creationId xmlns:a16="http://schemas.microsoft.com/office/drawing/2014/main" id="{B3B7B228-8475-0495-F75B-F982C056F82A}"/>
                  </a:ext>
                </a:extLst>
              </p:cNvPr>
              <p:cNvGrpSpPr/>
              <p:nvPr/>
            </p:nvGrpSpPr>
            <p:grpSpPr bwMode="gray">
              <a:xfrm>
                <a:off x="4950443" y="4184919"/>
                <a:ext cx="572516" cy="92447"/>
                <a:chOff x="6534976" y="4304499"/>
                <a:chExt cx="667109" cy="107722"/>
              </a:xfrm>
            </p:grpSpPr>
            <p:sp>
              <p:nvSpPr>
                <p:cNvPr id="64" name="Rectangle 63">
                  <a:extLst>
                    <a:ext uri="{FF2B5EF4-FFF2-40B4-BE49-F238E27FC236}">
                      <a16:creationId xmlns:a16="http://schemas.microsoft.com/office/drawing/2014/main" id="{7DF1EA4A-3063-57E2-F36E-399D36C1EDFB}"/>
                    </a:ext>
                  </a:extLst>
                </p:cNvPr>
                <p:cNvSpPr>
                  <a:spLocks noChangeArrowheads="1"/>
                </p:cNvSpPr>
                <p:nvPr/>
              </p:nvSpPr>
              <p:spPr bwMode="gray">
                <a:xfrm>
                  <a:off x="6722787" y="4304499"/>
                  <a:ext cx="47929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East</a:t>
                  </a:r>
                  <a:endParaRPr kumimoji="0" lang="en-US" altLang="en-US" sz="600" b="0" i="0" u="none" strike="noStrike" cap="none" normalizeH="0" baseline="0" dirty="0">
                    <a:ln>
                      <a:noFill/>
                    </a:ln>
                    <a:solidFill>
                      <a:srgbClr val="000000"/>
                    </a:solidFill>
                    <a:effectLst/>
                  </a:endParaRPr>
                </a:p>
              </p:txBody>
            </p:sp>
            <p:sp>
              <p:nvSpPr>
                <p:cNvPr id="65" name="Freeform: Shape 64">
                  <a:extLst>
                    <a:ext uri="{FF2B5EF4-FFF2-40B4-BE49-F238E27FC236}">
                      <a16:creationId xmlns:a16="http://schemas.microsoft.com/office/drawing/2014/main" id="{B7B1F836-F7D6-CF00-BDBF-E2C58FB17A40}"/>
                    </a:ext>
                  </a:extLst>
                </p:cNvPr>
                <p:cNvSpPr/>
                <p:nvPr/>
              </p:nvSpPr>
              <p:spPr bwMode="gray">
                <a:xfrm>
                  <a:off x="6534976" y="4353948"/>
                  <a:ext cx="155504" cy="0"/>
                </a:xfrm>
                <a:custGeom>
                  <a:avLst/>
                  <a:gdLst>
                    <a:gd name="connsiteX0" fmla="*/ 0 w 188119"/>
                    <a:gd name="connsiteY0" fmla="*/ 0 h 0"/>
                    <a:gd name="connsiteX1" fmla="*/ 188119 w 188119"/>
                    <a:gd name="connsiteY1" fmla="*/ 0 h 0"/>
                  </a:gdLst>
                  <a:ahLst/>
                  <a:cxnLst>
                    <a:cxn ang="0">
                      <a:pos x="connsiteX0" y="connsiteY0"/>
                    </a:cxn>
                    <a:cxn ang="0">
                      <a:pos x="connsiteX1" y="connsiteY1"/>
                    </a:cxn>
                  </a:cxnLst>
                  <a:rect l="l" t="t" r="r" b="b"/>
                  <a:pathLst>
                    <a:path w="188119">
                      <a:moveTo>
                        <a:pt x="0" y="0"/>
                      </a:moveTo>
                      <a:lnTo>
                        <a:pt x="188119" y="0"/>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3" name="Group 32">
                <a:extLst>
                  <a:ext uri="{FF2B5EF4-FFF2-40B4-BE49-F238E27FC236}">
                    <a16:creationId xmlns:a16="http://schemas.microsoft.com/office/drawing/2014/main" id="{41E38CA9-9C31-C735-86AC-8975C8B1D9EC}"/>
                  </a:ext>
                </a:extLst>
              </p:cNvPr>
              <p:cNvGrpSpPr/>
              <p:nvPr/>
            </p:nvGrpSpPr>
            <p:grpSpPr bwMode="gray">
              <a:xfrm>
                <a:off x="4651440" y="4302326"/>
                <a:ext cx="1006339" cy="307852"/>
                <a:chOff x="6186570" y="4441305"/>
                <a:chExt cx="1172610" cy="358717"/>
              </a:xfrm>
            </p:grpSpPr>
            <p:sp>
              <p:nvSpPr>
                <p:cNvPr id="62" name="Rectangle 61">
                  <a:extLst>
                    <a:ext uri="{FF2B5EF4-FFF2-40B4-BE49-F238E27FC236}">
                      <a16:creationId xmlns:a16="http://schemas.microsoft.com/office/drawing/2014/main" id="{F4E8929D-38E7-EDEA-5FC1-3026F93E2DF9}"/>
                    </a:ext>
                  </a:extLst>
                </p:cNvPr>
                <p:cNvSpPr>
                  <a:spLocks noChangeArrowheads="1"/>
                </p:cNvSpPr>
                <p:nvPr/>
              </p:nvSpPr>
              <p:spPr bwMode="gray">
                <a:xfrm>
                  <a:off x="6722787" y="4692300"/>
                  <a:ext cx="63639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Downtown Core</a:t>
                  </a:r>
                  <a:endParaRPr kumimoji="0" lang="en-US" altLang="en-US" sz="600" b="0" i="0" u="none" strike="noStrike" cap="none" normalizeH="0" baseline="0" dirty="0">
                    <a:ln>
                      <a:noFill/>
                    </a:ln>
                    <a:solidFill>
                      <a:srgbClr val="000000"/>
                    </a:solidFill>
                    <a:effectLst/>
                  </a:endParaRPr>
                </a:p>
              </p:txBody>
            </p:sp>
            <p:sp>
              <p:nvSpPr>
                <p:cNvPr id="63" name="Freeform: Shape 62">
                  <a:extLst>
                    <a:ext uri="{FF2B5EF4-FFF2-40B4-BE49-F238E27FC236}">
                      <a16:creationId xmlns:a16="http://schemas.microsoft.com/office/drawing/2014/main" id="{E80B723F-7F30-4032-4827-C16F4570C7FF}"/>
                    </a:ext>
                  </a:extLst>
                </p:cNvPr>
                <p:cNvSpPr/>
                <p:nvPr/>
              </p:nvSpPr>
              <p:spPr bwMode="gray">
                <a:xfrm>
                  <a:off x="6186570" y="4441305"/>
                  <a:ext cx="503910" cy="29556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5" name="Group 34">
                <a:extLst>
                  <a:ext uri="{FF2B5EF4-FFF2-40B4-BE49-F238E27FC236}">
                    <a16:creationId xmlns:a16="http://schemas.microsoft.com/office/drawing/2014/main" id="{19BEA0DB-AA82-78FC-3CE1-7ECAF23B2516}"/>
                  </a:ext>
                </a:extLst>
              </p:cNvPr>
              <p:cNvGrpSpPr/>
              <p:nvPr/>
            </p:nvGrpSpPr>
            <p:grpSpPr bwMode="gray">
              <a:xfrm>
                <a:off x="4529791" y="4243541"/>
                <a:ext cx="838776" cy="451591"/>
                <a:chOff x="6044822" y="4372807"/>
                <a:chExt cx="977362" cy="526205"/>
              </a:xfrm>
            </p:grpSpPr>
            <p:sp>
              <p:nvSpPr>
                <p:cNvPr id="59" name="Rectangle 58">
                  <a:extLst>
                    <a:ext uri="{FF2B5EF4-FFF2-40B4-BE49-F238E27FC236}">
                      <a16:creationId xmlns:a16="http://schemas.microsoft.com/office/drawing/2014/main" id="{A0AE8F48-5140-D7BD-6FEF-65B442402874}"/>
                    </a:ext>
                  </a:extLst>
                </p:cNvPr>
                <p:cNvSpPr>
                  <a:spLocks noChangeArrowheads="1"/>
                </p:cNvSpPr>
                <p:nvPr/>
              </p:nvSpPr>
              <p:spPr bwMode="gray">
                <a:xfrm>
                  <a:off x="6720819" y="4791290"/>
                  <a:ext cx="3013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utram</a:t>
                  </a:r>
                  <a:endParaRPr kumimoji="0" lang="en-US" altLang="en-US" sz="600" b="0" i="0" u="none" strike="noStrike" cap="none" normalizeH="0" baseline="0" dirty="0">
                    <a:ln>
                      <a:noFill/>
                    </a:ln>
                    <a:solidFill>
                      <a:srgbClr val="000000"/>
                    </a:solidFill>
                    <a:effectLst/>
                  </a:endParaRPr>
                </a:p>
              </p:txBody>
            </p:sp>
            <p:sp>
              <p:nvSpPr>
                <p:cNvPr id="60" name="Freeform: Shape 59">
                  <a:extLst>
                    <a:ext uri="{FF2B5EF4-FFF2-40B4-BE49-F238E27FC236}">
                      <a16:creationId xmlns:a16="http://schemas.microsoft.com/office/drawing/2014/main" id="{6A7AF5DC-B26A-7471-7129-F8948D2F4F4B}"/>
                    </a:ext>
                  </a:extLst>
                </p:cNvPr>
                <p:cNvSpPr/>
                <p:nvPr/>
              </p:nvSpPr>
              <p:spPr bwMode="gray">
                <a:xfrm>
                  <a:off x="6044822" y="4372807"/>
                  <a:ext cx="645658" cy="46305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6" name="Group 35">
                <a:extLst>
                  <a:ext uri="{FF2B5EF4-FFF2-40B4-BE49-F238E27FC236}">
                    <a16:creationId xmlns:a16="http://schemas.microsoft.com/office/drawing/2014/main" id="{DC4540CA-7538-4176-3556-22E9AD55CFA2}"/>
                  </a:ext>
                </a:extLst>
              </p:cNvPr>
              <p:cNvGrpSpPr/>
              <p:nvPr/>
            </p:nvGrpSpPr>
            <p:grpSpPr bwMode="gray">
              <a:xfrm>
                <a:off x="4485890" y="4127587"/>
                <a:ext cx="1178566" cy="646508"/>
                <a:chOff x="5993667" y="4237694"/>
                <a:chExt cx="1373294" cy="753328"/>
              </a:xfrm>
            </p:grpSpPr>
            <p:sp>
              <p:nvSpPr>
                <p:cNvPr id="57" name="Rectangle 56">
                  <a:extLst>
                    <a:ext uri="{FF2B5EF4-FFF2-40B4-BE49-F238E27FC236}">
                      <a16:creationId xmlns:a16="http://schemas.microsoft.com/office/drawing/2014/main" id="{178CFCE3-7415-D6F8-403A-FE5279A0E4F2}"/>
                    </a:ext>
                  </a:extLst>
                </p:cNvPr>
                <p:cNvSpPr>
                  <a:spLocks noChangeArrowheads="1"/>
                </p:cNvSpPr>
                <p:nvPr/>
              </p:nvSpPr>
              <p:spPr bwMode="gray">
                <a:xfrm>
                  <a:off x="6718813" y="4883433"/>
                  <a:ext cx="64814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ngapore River</a:t>
                  </a:r>
                  <a:endParaRPr kumimoji="0" lang="en-US" altLang="en-US" sz="600" b="0" i="0" u="none" strike="noStrike" cap="none" normalizeH="0" baseline="0" dirty="0">
                    <a:ln>
                      <a:noFill/>
                    </a:ln>
                    <a:solidFill>
                      <a:srgbClr val="000000"/>
                    </a:solidFill>
                    <a:effectLst/>
                  </a:endParaRPr>
                </a:p>
              </p:txBody>
            </p:sp>
            <p:sp>
              <p:nvSpPr>
                <p:cNvPr id="58" name="Freeform: Shape 57">
                  <a:extLst>
                    <a:ext uri="{FF2B5EF4-FFF2-40B4-BE49-F238E27FC236}">
                      <a16:creationId xmlns:a16="http://schemas.microsoft.com/office/drawing/2014/main" id="{D4217488-BD4D-692E-44CF-18EA6B26FD32}"/>
                    </a:ext>
                  </a:extLst>
                </p:cNvPr>
                <p:cNvSpPr/>
                <p:nvPr/>
              </p:nvSpPr>
              <p:spPr bwMode="gray">
                <a:xfrm>
                  <a:off x="5993667" y="4237694"/>
                  <a:ext cx="696814" cy="69030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7" name="Group 36">
                <a:extLst>
                  <a:ext uri="{FF2B5EF4-FFF2-40B4-BE49-F238E27FC236}">
                    <a16:creationId xmlns:a16="http://schemas.microsoft.com/office/drawing/2014/main" id="{0065B6B4-19F1-9D81-FE24-E737D0D25D71}"/>
                  </a:ext>
                </a:extLst>
              </p:cNvPr>
              <p:cNvGrpSpPr/>
              <p:nvPr/>
            </p:nvGrpSpPr>
            <p:grpSpPr bwMode="gray">
              <a:xfrm>
                <a:off x="3943801" y="4742477"/>
                <a:ext cx="577795" cy="204056"/>
                <a:chOff x="5362012" y="4954180"/>
                <a:chExt cx="673261" cy="237771"/>
              </a:xfrm>
            </p:grpSpPr>
            <p:sp>
              <p:nvSpPr>
                <p:cNvPr id="55" name="Rectangle 54">
                  <a:extLst>
                    <a:ext uri="{FF2B5EF4-FFF2-40B4-BE49-F238E27FC236}">
                      <a16:creationId xmlns:a16="http://schemas.microsoft.com/office/drawing/2014/main" id="{5E9BCE38-FF7E-2257-AACA-9152B98A3B98}"/>
                    </a:ext>
                  </a:extLst>
                </p:cNvPr>
                <p:cNvSpPr>
                  <a:spLocks noChangeArrowheads="1"/>
                </p:cNvSpPr>
                <p:nvPr/>
              </p:nvSpPr>
              <p:spPr bwMode="gray">
                <a:xfrm>
                  <a:off x="5362012" y="5084230"/>
                  <a:ext cx="673261" cy="10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outhern Islands</a:t>
                  </a:r>
                  <a:endParaRPr kumimoji="0" lang="en-US" altLang="en-US" sz="600" b="0" i="0" u="none" strike="noStrike" cap="none" normalizeH="0" baseline="0" dirty="0">
                    <a:ln>
                      <a:noFill/>
                    </a:ln>
                    <a:solidFill>
                      <a:srgbClr val="000000"/>
                    </a:solidFill>
                    <a:effectLst/>
                  </a:endParaRPr>
                </a:p>
              </p:txBody>
            </p:sp>
            <p:sp>
              <p:nvSpPr>
                <p:cNvPr id="56" name="Freeform: Shape 55">
                  <a:extLst>
                    <a:ext uri="{FF2B5EF4-FFF2-40B4-BE49-F238E27FC236}">
                      <a16:creationId xmlns:a16="http://schemas.microsoft.com/office/drawing/2014/main" id="{71257618-7777-EBDA-9CDC-B79B37708406}"/>
                    </a:ext>
                  </a:extLst>
                </p:cNvPr>
                <p:cNvSpPr/>
                <p:nvPr/>
              </p:nvSpPr>
              <p:spPr bwMode="gray">
                <a:xfrm>
                  <a:off x="5893970" y="4954180"/>
                  <a:ext cx="0" cy="130049"/>
                </a:xfrm>
                <a:custGeom>
                  <a:avLst/>
                  <a:gdLst>
                    <a:gd name="connsiteX0" fmla="*/ 0 w 0"/>
                    <a:gd name="connsiteY0" fmla="*/ 0 h 157163"/>
                    <a:gd name="connsiteX1" fmla="*/ 0 w 0"/>
                    <a:gd name="connsiteY1" fmla="*/ 157163 h 157163"/>
                  </a:gdLst>
                  <a:ahLst/>
                  <a:cxnLst>
                    <a:cxn ang="0">
                      <a:pos x="connsiteX0" y="connsiteY0"/>
                    </a:cxn>
                    <a:cxn ang="0">
                      <a:pos x="connsiteX1" y="connsiteY1"/>
                    </a:cxn>
                  </a:cxnLst>
                  <a:rect l="l" t="t" r="r" b="b"/>
                  <a:pathLst>
                    <a:path h="157163">
                      <a:moveTo>
                        <a:pt x="0" y="0"/>
                      </a:moveTo>
                      <a:lnTo>
                        <a:pt x="0" y="157163"/>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000000"/>
                    </a:solidFill>
                  </a:endParaRPr>
                </a:p>
              </p:txBody>
            </p:sp>
          </p:grpSp>
          <p:grpSp>
            <p:nvGrpSpPr>
              <p:cNvPr id="42" name="Group 41">
                <a:extLst>
                  <a:ext uri="{FF2B5EF4-FFF2-40B4-BE49-F238E27FC236}">
                    <a16:creationId xmlns:a16="http://schemas.microsoft.com/office/drawing/2014/main" id="{39A6033D-21A1-55FF-6568-81CD583635D6}"/>
                  </a:ext>
                </a:extLst>
              </p:cNvPr>
              <p:cNvGrpSpPr/>
              <p:nvPr/>
            </p:nvGrpSpPr>
            <p:grpSpPr bwMode="gray">
              <a:xfrm>
                <a:off x="3642207" y="3994395"/>
                <a:ext cx="699531" cy="606405"/>
                <a:chOff x="5010587" y="4082496"/>
                <a:chExt cx="815110" cy="706599"/>
              </a:xfrm>
            </p:grpSpPr>
            <p:sp>
              <p:nvSpPr>
                <p:cNvPr id="53" name="Rectangle 52">
                  <a:extLst>
                    <a:ext uri="{FF2B5EF4-FFF2-40B4-BE49-F238E27FC236}">
                      <a16:creationId xmlns:a16="http://schemas.microsoft.com/office/drawing/2014/main" id="{E9DEC788-C3CD-B86B-EB42-1B344EDA091F}"/>
                    </a:ext>
                  </a:extLst>
                </p:cNvPr>
                <p:cNvSpPr>
                  <a:spLocks noChangeArrowheads="1"/>
                </p:cNvSpPr>
                <p:nvPr/>
              </p:nvSpPr>
              <p:spPr bwMode="gray">
                <a:xfrm>
                  <a:off x="5010587" y="4681506"/>
                  <a:ext cx="48190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iver Valley</a:t>
                  </a:r>
                  <a:endParaRPr kumimoji="0" lang="en-US" altLang="en-US" sz="600" b="0" i="0" u="none" strike="noStrike" cap="none" normalizeH="0" baseline="0" dirty="0">
                    <a:ln>
                      <a:noFill/>
                    </a:ln>
                    <a:solidFill>
                      <a:srgbClr val="000000"/>
                    </a:solidFill>
                    <a:effectLst/>
                  </a:endParaRPr>
                </a:p>
              </p:txBody>
            </p:sp>
            <p:sp>
              <p:nvSpPr>
                <p:cNvPr id="54" name="Freeform: Shape 53">
                  <a:extLst>
                    <a:ext uri="{FF2B5EF4-FFF2-40B4-BE49-F238E27FC236}">
                      <a16:creationId xmlns:a16="http://schemas.microsoft.com/office/drawing/2014/main" id="{F593100C-284B-617A-A4BA-F7B5C321C4CE}"/>
                    </a:ext>
                  </a:extLst>
                </p:cNvPr>
                <p:cNvSpPr/>
                <p:nvPr/>
              </p:nvSpPr>
              <p:spPr bwMode="gray">
                <a:xfrm flipH="1">
                  <a:off x="5526500" y="4082496"/>
                  <a:ext cx="299197" cy="654373"/>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4" name="Group 43">
                <a:extLst>
                  <a:ext uri="{FF2B5EF4-FFF2-40B4-BE49-F238E27FC236}">
                    <a16:creationId xmlns:a16="http://schemas.microsoft.com/office/drawing/2014/main" id="{5C075F1C-EA42-4E22-5283-BA05320571A4}"/>
                  </a:ext>
                </a:extLst>
              </p:cNvPr>
              <p:cNvGrpSpPr/>
              <p:nvPr/>
            </p:nvGrpSpPr>
            <p:grpSpPr bwMode="gray">
              <a:xfrm>
                <a:off x="3776515" y="3950591"/>
                <a:ext cx="623814" cy="740919"/>
                <a:chOff x="5167086" y="4031454"/>
                <a:chExt cx="726883" cy="863338"/>
              </a:xfrm>
            </p:grpSpPr>
            <p:sp>
              <p:nvSpPr>
                <p:cNvPr id="51" name="Rectangle 50">
                  <a:extLst>
                    <a:ext uri="{FF2B5EF4-FFF2-40B4-BE49-F238E27FC236}">
                      <a16:creationId xmlns:a16="http://schemas.microsoft.com/office/drawing/2014/main" id="{BE025A4F-6DF6-1432-CB55-E9A0F9E6A1A2}"/>
                    </a:ext>
                  </a:extLst>
                </p:cNvPr>
                <p:cNvSpPr>
                  <a:spLocks noChangeArrowheads="1"/>
                </p:cNvSpPr>
                <p:nvPr/>
              </p:nvSpPr>
              <p:spPr bwMode="gray">
                <a:xfrm>
                  <a:off x="5167086" y="4787070"/>
                  <a:ext cx="32541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rchard</a:t>
                  </a:r>
                  <a:endParaRPr kumimoji="0" lang="en-US" altLang="en-US" sz="600" b="0" i="0" u="none" strike="noStrike" cap="none" normalizeH="0" baseline="0" dirty="0">
                    <a:ln>
                      <a:noFill/>
                    </a:ln>
                    <a:solidFill>
                      <a:srgbClr val="000000"/>
                    </a:solidFill>
                    <a:effectLst/>
                  </a:endParaRPr>
                </a:p>
              </p:txBody>
            </p:sp>
            <p:sp>
              <p:nvSpPr>
                <p:cNvPr id="52" name="Freeform: Shape 51">
                  <a:extLst>
                    <a:ext uri="{FF2B5EF4-FFF2-40B4-BE49-F238E27FC236}">
                      <a16:creationId xmlns:a16="http://schemas.microsoft.com/office/drawing/2014/main" id="{68AA07B2-0AA7-6DEE-2EDC-1879D424A765}"/>
                    </a:ext>
                  </a:extLst>
                </p:cNvPr>
                <p:cNvSpPr/>
                <p:nvPr/>
              </p:nvSpPr>
              <p:spPr bwMode="gray">
                <a:xfrm flipH="1">
                  <a:off x="5526499" y="4031454"/>
                  <a:ext cx="367470" cy="80018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5" name="Group 44">
                <a:extLst>
                  <a:ext uri="{FF2B5EF4-FFF2-40B4-BE49-F238E27FC236}">
                    <a16:creationId xmlns:a16="http://schemas.microsoft.com/office/drawing/2014/main" id="{1ED66136-DA2F-756F-CB82-C646B46771BF}"/>
                  </a:ext>
                </a:extLst>
              </p:cNvPr>
              <p:cNvGrpSpPr/>
              <p:nvPr/>
            </p:nvGrpSpPr>
            <p:grpSpPr bwMode="gray">
              <a:xfrm>
                <a:off x="3792889" y="3878440"/>
                <a:ext cx="656961" cy="879873"/>
                <a:chOff x="5186166" y="3947382"/>
                <a:chExt cx="765507" cy="1025250"/>
              </a:xfrm>
            </p:grpSpPr>
            <p:sp>
              <p:nvSpPr>
                <p:cNvPr id="49" name="Rectangle 48">
                  <a:extLst>
                    <a:ext uri="{FF2B5EF4-FFF2-40B4-BE49-F238E27FC236}">
                      <a16:creationId xmlns:a16="http://schemas.microsoft.com/office/drawing/2014/main" id="{173D0EA8-CF77-BB80-CA9F-7C845B0BC4F8}"/>
                    </a:ext>
                  </a:extLst>
                </p:cNvPr>
                <p:cNvSpPr>
                  <a:spLocks noChangeArrowheads="1"/>
                </p:cNvSpPr>
                <p:nvPr/>
              </p:nvSpPr>
              <p:spPr bwMode="gray">
                <a:xfrm>
                  <a:off x="5186166" y="4865043"/>
                  <a:ext cx="306329"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ewton</a:t>
                  </a:r>
                  <a:endParaRPr kumimoji="0" lang="en-US" altLang="en-US" sz="600" b="0" i="0" u="none" strike="noStrike" cap="none" normalizeH="0" baseline="0" dirty="0">
                    <a:ln>
                      <a:noFill/>
                    </a:ln>
                    <a:solidFill>
                      <a:srgbClr val="000000"/>
                    </a:solidFill>
                    <a:effectLst/>
                  </a:endParaRPr>
                </a:p>
              </p:txBody>
            </p:sp>
            <p:sp>
              <p:nvSpPr>
                <p:cNvPr id="50" name="Freeform: Shape 49">
                  <a:extLst>
                    <a:ext uri="{FF2B5EF4-FFF2-40B4-BE49-F238E27FC236}">
                      <a16:creationId xmlns:a16="http://schemas.microsoft.com/office/drawing/2014/main" id="{4C8DACFD-4FC0-252F-CD70-6E6101B36557}"/>
                    </a:ext>
                  </a:extLst>
                </p:cNvPr>
                <p:cNvSpPr/>
                <p:nvPr/>
              </p:nvSpPr>
              <p:spPr bwMode="gray">
                <a:xfrm flipH="1">
                  <a:off x="5526498" y="3947382"/>
                  <a:ext cx="425175" cy="971614"/>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6" name="Group 45">
                <a:extLst>
                  <a:ext uri="{FF2B5EF4-FFF2-40B4-BE49-F238E27FC236}">
                    <a16:creationId xmlns:a16="http://schemas.microsoft.com/office/drawing/2014/main" id="{86F984BA-F75E-2228-DC0F-A86D1C785E5F}"/>
                  </a:ext>
                </a:extLst>
              </p:cNvPr>
              <p:cNvGrpSpPr/>
              <p:nvPr/>
            </p:nvGrpSpPr>
            <p:grpSpPr>
              <a:xfrm>
                <a:off x="4638675" y="2196263"/>
                <a:ext cx="641030" cy="92333"/>
                <a:chOff x="4638675" y="2196263"/>
                <a:chExt cx="641030" cy="92333"/>
              </a:xfrm>
            </p:grpSpPr>
            <p:sp>
              <p:nvSpPr>
                <p:cNvPr id="47" name="Rectangle 46">
                  <a:extLst>
                    <a:ext uri="{FF2B5EF4-FFF2-40B4-BE49-F238E27FC236}">
                      <a16:creationId xmlns:a16="http://schemas.microsoft.com/office/drawing/2014/main" id="{33BAC42D-DF69-EB63-BDA7-42DCBC33E83D}"/>
                    </a:ext>
                  </a:extLst>
                </p:cNvPr>
                <p:cNvSpPr>
                  <a:spLocks noChangeArrowheads="1"/>
                </p:cNvSpPr>
                <p:nvPr/>
              </p:nvSpPr>
              <p:spPr bwMode="gray">
                <a:xfrm>
                  <a:off x="4973531" y="2196263"/>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mpang</a:t>
                  </a:r>
                  <a:endParaRPr kumimoji="0" lang="en-US" altLang="en-US" sz="600" b="0" i="0" u="none" strike="noStrike" cap="none" normalizeH="0" baseline="0" dirty="0">
                    <a:ln>
                      <a:noFill/>
                    </a:ln>
                    <a:solidFill>
                      <a:srgbClr val="000000"/>
                    </a:solidFill>
                    <a:effectLst/>
                  </a:endParaRPr>
                </a:p>
              </p:txBody>
            </p:sp>
            <p:sp>
              <p:nvSpPr>
                <p:cNvPr id="48" name="Freeform: Shape 47">
                  <a:extLst>
                    <a:ext uri="{FF2B5EF4-FFF2-40B4-BE49-F238E27FC236}">
                      <a16:creationId xmlns:a16="http://schemas.microsoft.com/office/drawing/2014/main" id="{D9C86309-BFEC-E08A-5A3E-E97C81134ED6}"/>
                    </a:ext>
                  </a:extLst>
                </p:cNvPr>
                <p:cNvSpPr/>
                <p:nvPr/>
              </p:nvSpPr>
              <p:spPr>
                <a:xfrm>
                  <a:off x="4638675" y="2244725"/>
                  <a:ext cx="304800" cy="0"/>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3" name="Rectangle 172">
            <a:extLst>
              <a:ext uri="{FF2B5EF4-FFF2-40B4-BE49-F238E27FC236}">
                <a16:creationId xmlns:a16="http://schemas.microsoft.com/office/drawing/2014/main" id="{B1761C13-1190-4398-829C-AB8E1BD23C5B}"/>
              </a:ext>
            </a:extLst>
          </p:cNvPr>
          <p:cNvSpPr/>
          <p:nvPr/>
        </p:nvSpPr>
        <p:spPr>
          <a:xfrm>
            <a:off x="3088389" y="5609962"/>
            <a:ext cx="360040" cy="175127"/>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75" name="Rectangle 174">
            <a:extLst>
              <a:ext uri="{FF2B5EF4-FFF2-40B4-BE49-F238E27FC236}">
                <a16:creationId xmlns:a16="http://schemas.microsoft.com/office/drawing/2014/main" id="{0DFAECF7-0150-4E7A-ADE9-0131E1AB0ACB}"/>
              </a:ext>
            </a:extLst>
          </p:cNvPr>
          <p:cNvSpPr/>
          <p:nvPr/>
        </p:nvSpPr>
        <p:spPr>
          <a:xfrm>
            <a:off x="3088389" y="5854121"/>
            <a:ext cx="360040" cy="175127"/>
          </a:xfrm>
          <a:prstGeom prst="rect">
            <a:avLst/>
          </a:prstGeom>
          <a:solidFill>
            <a:schemeClr val="accent6">
              <a:lumMod val="40000"/>
              <a:lumOff val="6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74" name="TextBox 173">
            <a:extLst>
              <a:ext uri="{FF2B5EF4-FFF2-40B4-BE49-F238E27FC236}">
                <a16:creationId xmlns:a16="http://schemas.microsoft.com/office/drawing/2014/main" id="{1DA266BD-AFE4-4BEF-BE65-996AFBB230FD}"/>
              </a:ext>
            </a:extLst>
          </p:cNvPr>
          <p:cNvSpPr txBox="1"/>
          <p:nvPr/>
        </p:nvSpPr>
        <p:spPr>
          <a:xfrm>
            <a:off x="3456367" y="5586946"/>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居住者の多い地区トップ</a:t>
            </a:r>
            <a:r>
              <a:rPr lang="en-US" altLang="ja-JP" sz="1000" dirty="0"/>
              <a:t>5</a:t>
            </a:r>
            <a:endParaRPr lang="en-US" sz="1000" dirty="0"/>
          </a:p>
        </p:txBody>
      </p:sp>
      <p:sp>
        <p:nvSpPr>
          <p:cNvPr id="176" name="TextBox 175">
            <a:extLst>
              <a:ext uri="{FF2B5EF4-FFF2-40B4-BE49-F238E27FC236}">
                <a16:creationId xmlns:a16="http://schemas.microsoft.com/office/drawing/2014/main" id="{36A9D9D9-DCF0-43A2-929E-C9DAF2BCCA19}"/>
              </a:ext>
            </a:extLst>
          </p:cNvPr>
          <p:cNvSpPr txBox="1"/>
          <p:nvPr/>
        </p:nvSpPr>
        <p:spPr>
          <a:xfrm>
            <a:off x="3456367" y="5803052"/>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勤務先地区トップ３</a:t>
            </a:r>
            <a:endParaRPr lang="en-US" sz="1000" dirty="0"/>
          </a:p>
        </p:txBody>
      </p:sp>
      <p:graphicFrame>
        <p:nvGraphicFramePr>
          <p:cNvPr id="229" name="Chart 228">
            <a:extLst>
              <a:ext uri="{FF2B5EF4-FFF2-40B4-BE49-F238E27FC236}">
                <a16:creationId xmlns:a16="http://schemas.microsoft.com/office/drawing/2014/main" id="{1BED3FDE-3AC1-4573-50B9-CFEA1A9FDCDC}"/>
              </a:ext>
            </a:extLst>
          </p:cNvPr>
          <p:cNvGraphicFramePr/>
          <p:nvPr>
            <p:custDataLst>
              <p:tags r:id="rId4"/>
            </p:custDataLst>
            <p:extLst>
              <p:ext uri="{D42A27DB-BD31-4B8C-83A1-F6EECF244321}">
                <p14:modId xmlns:p14="http://schemas.microsoft.com/office/powerpoint/2010/main" val="3118433858"/>
              </p:ext>
            </p:extLst>
          </p:nvPr>
        </p:nvGraphicFramePr>
        <p:xfrm>
          <a:off x="5316538" y="1657350"/>
          <a:ext cx="4291012" cy="4518025"/>
        </p:xfrm>
        <a:graphic>
          <a:graphicData uri="http://schemas.openxmlformats.org/drawingml/2006/chart">
            <c:chart xmlns:c="http://schemas.openxmlformats.org/drawingml/2006/chart" xmlns:r="http://schemas.openxmlformats.org/officeDocument/2006/relationships" r:id="rId17"/>
          </a:graphicData>
        </a:graphic>
      </p:graphicFrame>
      <p:sp>
        <p:nvSpPr>
          <p:cNvPr id="40" name="Text Placeholder 12">
            <a:extLst>
              <a:ext uri="{FF2B5EF4-FFF2-40B4-BE49-F238E27FC236}">
                <a16:creationId xmlns:a16="http://schemas.microsoft.com/office/drawing/2014/main" id="{85B76DDC-188F-4928-A930-AEEE03DF1BC0}"/>
              </a:ext>
            </a:extLst>
          </p:cNvPr>
          <p:cNvSpPr>
            <a:spLocks/>
          </p:cNvSpPr>
          <p:nvPr>
            <p:custDataLst>
              <p:tags r:id="rId5"/>
            </p:custDataLst>
          </p:nvPr>
        </p:nvSpPr>
        <p:spPr bwMode="auto">
          <a:xfrm>
            <a:off x="5419725" y="15525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39" name="Text Placeholder 12">
            <a:extLst>
              <a:ext uri="{FF2B5EF4-FFF2-40B4-BE49-F238E27FC236}">
                <a16:creationId xmlns:a16="http://schemas.microsoft.com/office/drawing/2014/main" id="{F01FB476-8CE2-D231-DF1E-BAB13557F3CD}"/>
              </a:ext>
            </a:extLst>
          </p:cNvPr>
          <p:cNvSpPr>
            <a:spLocks/>
          </p:cNvSpPr>
          <p:nvPr>
            <p:custDataLst>
              <p:tags r:id="rId6"/>
            </p:custDataLst>
          </p:nvPr>
        </p:nvSpPr>
        <p:spPr bwMode="auto">
          <a:xfrm>
            <a:off x="6173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17B2AD-4892-429B-8583-E5C15D39B9D1}" type="datetime'''2''''''''''''0''''''''''''''0''''''''''''''''''0'''''''">
              <a:rPr lang="en-US" altLang="en-US" sz="1000" b="0" smtClean="0"/>
              <a:pPr/>
              <a:t>2000</a:t>
            </a:fld>
            <a:endParaRPr kumimoji="0" lang="ja-JP" altLang="en-US" sz="1000" b="0" dirty="0">
              <a:sym typeface="+mn-lt"/>
            </a:endParaRPr>
          </a:p>
        </p:txBody>
      </p:sp>
      <p:sp>
        <p:nvSpPr>
          <p:cNvPr id="41" name="Text Placeholder 12">
            <a:extLst>
              <a:ext uri="{FF2B5EF4-FFF2-40B4-BE49-F238E27FC236}">
                <a16:creationId xmlns:a16="http://schemas.microsoft.com/office/drawing/2014/main" id="{645BD32B-56C9-EF46-007C-CD28F0C2AAED}"/>
              </a:ext>
            </a:extLst>
          </p:cNvPr>
          <p:cNvSpPr>
            <a:spLocks/>
          </p:cNvSpPr>
          <p:nvPr>
            <p:custDataLst>
              <p:tags r:id="rId7"/>
            </p:custDataLst>
          </p:nvPr>
        </p:nvSpPr>
        <p:spPr bwMode="auto">
          <a:xfrm>
            <a:off x="7089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34AB52-A6FC-4F88-802F-C8A9C5D7C666}" type="datetime'''2''''''''''''01''''0'''''''''''''''''">
              <a:rPr lang="en-US" altLang="en-US" sz="1000" b="0" smtClean="0"/>
              <a:pPr/>
              <a:t>2010</a:t>
            </a:fld>
            <a:endParaRPr kumimoji="0" lang="ja-JP" altLang="en-US" sz="1000" b="0" dirty="0">
              <a:sym typeface="+mn-lt"/>
            </a:endParaRPr>
          </a:p>
        </p:txBody>
      </p:sp>
      <p:sp>
        <p:nvSpPr>
          <p:cNvPr id="61" name="Text Placeholder 12">
            <a:extLst>
              <a:ext uri="{FF2B5EF4-FFF2-40B4-BE49-F238E27FC236}">
                <a16:creationId xmlns:a16="http://schemas.microsoft.com/office/drawing/2014/main" id="{98BCAC20-F29A-015E-D172-7171AAAA5941}"/>
              </a:ext>
            </a:extLst>
          </p:cNvPr>
          <p:cNvSpPr>
            <a:spLocks/>
          </p:cNvSpPr>
          <p:nvPr>
            <p:custDataLst>
              <p:tags r:id="rId8"/>
            </p:custDataLst>
          </p:nvPr>
        </p:nvSpPr>
        <p:spPr bwMode="auto">
          <a:xfrm>
            <a:off x="80057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FE6EEA-A9EF-4C74-8986-BAC87DAC67CF}" type="datetime'''''''''''''2''''''''0''''''''''''''''2''''5'''''''">
              <a:rPr lang="ja-JP" altLang="en-US" sz="1000" b="0" smtClean="0"/>
              <a:pPr/>
              <a:t>2025</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2DAD93E5-20B2-7671-3791-E5FB8F84E37B}"/>
              </a:ext>
            </a:extLst>
          </p:cNvPr>
          <p:cNvSpPr>
            <a:spLocks/>
          </p:cNvSpPr>
          <p:nvPr>
            <p:custDataLst>
              <p:tags r:id="rId9"/>
            </p:custDataLst>
          </p:nvPr>
        </p:nvSpPr>
        <p:spPr bwMode="auto">
          <a:xfrm>
            <a:off x="8920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F5C8BC-6662-441E-A077-8A64D1AF52FD}" type="datetime'''''20''''''3''''''''''''''''''''''''''''''''''''0'''''''''''">
              <a:rPr kumimoji="0" lang="en-US" altLang="en-US" sz="1000" b="0" smtClean="0"/>
              <a:pPr/>
              <a:t>2030</a:t>
            </a:fld>
            <a:endParaRPr kumimoji="0" lang="ja-JP" altLang="en-US" sz="1000" b="0" dirty="0">
              <a:sym typeface="+mn-lt"/>
            </a:endParaRPr>
          </a:p>
        </p:txBody>
      </p:sp>
      <p:sp>
        <p:nvSpPr>
          <p:cNvPr id="179" name="Rectangle 178">
            <a:extLst>
              <a:ext uri="{FF2B5EF4-FFF2-40B4-BE49-F238E27FC236}">
                <a16:creationId xmlns:a16="http://schemas.microsoft.com/office/drawing/2014/main" id="{8E58DBE2-B960-F1D7-D2D4-D10FB901180B}"/>
              </a:ext>
            </a:extLst>
          </p:cNvPr>
          <p:cNvSpPr/>
          <p:nvPr>
            <p:custDataLst>
              <p:tags r:id="rId10"/>
            </p:custDataLst>
          </p:nvPr>
        </p:nvSpPr>
        <p:spPr bwMode="gray">
          <a:xfrm>
            <a:off x="5913438" y="1938338"/>
            <a:ext cx="179388" cy="133350"/>
          </a:xfrm>
          <a:prstGeom prst="rect">
            <a:avLst/>
          </a:prstGeom>
          <a:solidFill>
            <a:srgbClr val="6F8DB9"/>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15" name="Rectangle 214">
            <a:extLst>
              <a:ext uri="{FF2B5EF4-FFF2-40B4-BE49-F238E27FC236}">
                <a16:creationId xmlns:a16="http://schemas.microsoft.com/office/drawing/2014/main" id="{4D862D86-1417-5AEF-3C83-24BD3B955D1A}"/>
              </a:ext>
            </a:extLst>
          </p:cNvPr>
          <p:cNvSpPr/>
          <p:nvPr>
            <p:custDataLst>
              <p:tags r:id="rId11"/>
            </p:custDataLst>
          </p:nvPr>
        </p:nvSpPr>
        <p:spPr bwMode="auto">
          <a:xfrm>
            <a:off x="5913438" y="2141538"/>
            <a:ext cx="179387"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80" name="Text Placeholder 12">
            <a:extLst>
              <a:ext uri="{FF2B5EF4-FFF2-40B4-BE49-F238E27FC236}">
                <a16:creationId xmlns:a16="http://schemas.microsoft.com/office/drawing/2014/main" id="{EF27BAE4-C151-DA4F-FC0A-696383D66B8A}"/>
              </a:ext>
            </a:extLst>
          </p:cNvPr>
          <p:cNvSpPr>
            <a:spLocks/>
          </p:cNvSpPr>
          <p:nvPr>
            <p:custDataLst>
              <p:tags r:id="rId12"/>
            </p:custDataLst>
          </p:nvPr>
        </p:nvSpPr>
        <p:spPr bwMode="auto">
          <a:xfrm>
            <a:off x="6143625" y="1933575"/>
            <a:ext cx="581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CC99B77-771C-40BB-9FFC-422C7F0FCCE7}" type="datetime'''''セ''''''''ン''''''''''''''''''バ''''''''''''''''ワン'''''">
              <a:rPr lang="ja-JP" altLang="en-US" sz="1000" b="0" smtClean="0"/>
              <a:pPr/>
              <a:t>センバワン</a:t>
            </a:fld>
            <a:endParaRPr kumimoji="0" lang="ja-JP" altLang="en-US" sz="1000" b="0" dirty="0">
              <a:sym typeface="+mn-lt"/>
            </a:endParaRPr>
          </a:p>
        </p:txBody>
      </p:sp>
      <p:sp>
        <p:nvSpPr>
          <p:cNvPr id="212" name="Text Placeholder 12">
            <a:extLst>
              <a:ext uri="{FF2B5EF4-FFF2-40B4-BE49-F238E27FC236}">
                <a16:creationId xmlns:a16="http://schemas.microsoft.com/office/drawing/2014/main" id="{95E58C6B-A369-C8E9-A980-1C250F2C20AC}"/>
              </a:ext>
            </a:extLst>
          </p:cNvPr>
          <p:cNvSpPr>
            <a:spLocks/>
          </p:cNvSpPr>
          <p:nvPr>
            <p:custDataLst>
              <p:tags r:id="rId13"/>
            </p:custDataLst>
          </p:nvPr>
        </p:nvSpPr>
        <p:spPr bwMode="auto">
          <a:xfrm>
            <a:off x="6143624" y="213677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BF02190-6DC8-4792-8716-E621FBF50AE7}" type="datetime'シ''''''''ン''ガ''''ポ''''''''''''''''''''''''ー''ル'''''">
              <a:rPr kumimoji="0" lang="ja-JP" altLang="en-US" sz="1000" b="0" smtClean="0"/>
              <a:pPr/>
              <a:t>シンガポール</a:t>
            </a:fld>
            <a:endParaRPr kumimoji="0" lang="ja-JP" altLang="en-US" sz="1000" b="0" dirty="0">
              <a:sym typeface="+mn-lt"/>
            </a:endParaRPr>
          </a:p>
        </p:txBody>
      </p:sp>
    </p:spTree>
    <p:extLst>
      <p:ext uri="{BB962C8B-B14F-4D97-AF65-F5344CB8AC3E}">
        <p14:creationId xmlns:p14="http://schemas.microsoft.com/office/powerpoint/2010/main" val="41955310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extLst>
              <p:ext uri="{D42A27DB-BD31-4B8C-83A1-F6EECF244321}">
                <p14:modId xmlns:p14="http://schemas.microsoft.com/office/powerpoint/2010/main" val="121968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32183" y="1040069"/>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医療渡航を政策の一つとして位置づけており、私立病院のみならず、公立病院へも外国人患者の受け入れを行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defRPr/>
            </a:pPr>
            <a:r>
              <a:rPr lang="en-US" altLang="ja-JP" sz="1400" b="0" i="0" noProof="1">
                <a:effectLst/>
                <a:latin typeface="Arial" panose="020B0604020202020204" pitchFamily="34" charset="0"/>
                <a:cs typeface="Arial" panose="020B0604020202020204" pitchFamily="34" charset="0"/>
              </a:rPr>
              <a:t>シンガポールには、健康診断から心臓バイパス手術、臓器移植などさまざまな専門分野の手術まで、幅広い医療を求めて</a:t>
            </a:r>
            <a:r>
              <a:rPr lang="ja-JP" altLang="en-US" sz="1400" b="0" i="0" noProof="1">
                <a:effectLst/>
                <a:latin typeface="Arial" panose="020B0604020202020204" pitchFamily="34" charset="0"/>
                <a:cs typeface="Arial" panose="020B0604020202020204" pitchFamily="34" charset="0"/>
              </a:rPr>
              <a:t>インドネシア、スリランカ、ベトナムから患者が、毎年</a:t>
            </a:r>
            <a:r>
              <a:rPr lang="en-US" altLang="ja-JP" sz="1400" b="0" i="0" noProof="1">
                <a:effectLst/>
                <a:latin typeface="Arial" panose="020B0604020202020204" pitchFamily="34" charset="0"/>
                <a:cs typeface="Arial" panose="020B0604020202020204" pitchFamily="34" charset="0"/>
              </a:rPr>
              <a:t>50</a:t>
            </a:r>
            <a:r>
              <a:rPr lang="ja-JP" altLang="en-US" sz="1400" b="0" i="0" noProof="1">
                <a:effectLst/>
                <a:latin typeface="Arial" panose="020B0604020202020204" pitchFamily="34" charset="0"/>
                <a:cs typeface="Arial" panose="020B0604020202020204" pitchFamily="34" charset="0"/>
              </a:rPr>
              <a:t>万人程渡航している。</a:t>
            </a:r>
            <a:endParaRPr lang="en-US" altLang="ja-JP" sz="1400" b="0" i="0" noProof="1">
              <a:effectLst/>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b="0" i="0" noProof="1">
                <a:effectLst/>
                <a:latin typeface="Arial" panose="020B0604020202020204" pitchFamily="34" charset="0"/>
                <a:cs typeface="Arial" panose="020B0604020202020204" pitchFamily="34" charset="0"/>
              </a:rPr>
              <a:t>医療渡航者の半数以上はインドネシアからの患者であり、毎年約</a:t>
            </a:r>
            <a:r>
              <a:rPr lang="en-US" altLang="ja-JP" sz="1400" b="0" i="0" noProof="1">
                <a:effectLst/>
                <a:latin typeface="Arial" panose="020B0604020202020204" pitchFamily="34" charset="0"/>
                <a:cs typeface="Arial" panose="020B0604020202020204" pitchFamily="34" charset="0"/>
              </a:rPr>
              <a:t>25</a:t>
            </a:r>
            <a:r>
              <a:rPr lang="ja-JP" altLang="en-US" sz="1400" b="0" i="0" noProof="1">
                <a:effectLst/>
                <a:latin typeface="Arial" panose="020B0604020202020204" pitchFamily="34" charset="0"/>
                <a:cs typeface="Arial" panose="020B0604020202020204" pitchFamily="34" charset="0"/>
              </a:rPr>
              <a:t>万人のインドネシア人が医療のためにシンガポールへ渡航する。</a:t>
            </a:r>
            <a:endParaRPr lang="en-US" altLang="ja-JP" sz="1400" dirty="0"/>
          </a:p>
        </p:txBody>
      </p:sp>
      <p:sp>
        <p:nvSpPr>
          <p:cNvPr id="58" name="テキスト ボックス 57"/>
          <p:cNvSpPr txBox="1"/>
          <p:nvPr/>
        </p:nvSpPr>
        <p:spPr>
          <a:xfrm>
            <a:off x="200472" y="6525343"/>
            <a:ext cx="9145016" cy="18288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dget Direct 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Tourism Singapore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Tourism Statistics 2024 By Landscape, Healthcare, Treatment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ja-JP" altLang="ja-JP" sz="800" dirty="0"/>
          </a:p>
        </p:txBody>
      </p:sp>
      <p:grpSp>
        <p:nvGrpSpPr>
          <p:cNvPr id="4" name="グループ化 7">
            <a:extLst>
              <a:ext uri="{FF2B5EF4-FFF2-40B4-BE49-F238E27FC236}">
                <a16:creationId xmlns:a16="http://schemas.microsoft.com/office/drawing/2014/main" id="{C991FFF5-0463-5A24-3EE0-9DCF1760A42C}"/>
              </a:ext>
            </a:extLst>
          </p:cNvPr>
          <p:cNvGrpSpPr/>
          <p:nvPr/>
        </p:nvGrpSpPr>
        <p:grpSpPr>
          <a:xfrm>
            <a:off x="1280592" y="2671648"/>
            <a:ext cx="5976664" cy="288032"/>
            <a:chOff x="4808985" y="2652129"/>
            <a:chExt cx="3884344" cy="288032"/>
          </a:xfrm>
        </p:grpSpPr>
        <p:cxnSp>
          <p:nvCxnSpPr>
            <p:cNvPr id="7" name="直線コネクタ 6">
              <a:extLst>
                <a:ext uri="{FF2B5EF4-FFF2-40B4-BE49-F238E27FC236}">
                  <a16:creationId xmlns:a16="http://schemas.microsoft.com/office/drawing/2014/main" id="{CFCEECC8-1360-C17A-CBB6-ADF1124DB38F}"/>
                </a:ext>
              </a:extLst>
            </p:cNvPr>
            <p:cNvCxnSpPr>
              <a:cxnSpLocks/>
            </p:cNvCxnSpPr>
            <p:nvPr/>
          </p:nvCxnSpPr>
          <p:spPr>
            <a:xfrm>
              <a:off x="4808985" y="2880924"/>
              <a:ext cx="388434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FF33ACEF-F9D0-F483-A0C4-9DD3E29083AF}"/>
                </a:ext>
              </a:extLst>
            </p:cNvPr>
            <p:cNvSpPr>
              <a:spLocks noChangeArrowheads="1"/>
            </p:cNvSpPr>
            <p:nvPr/>
          </p:nvSpPr>
          <p:spPr bwMode="auto">
            <a:xfrm>
              <a:off x="4808985" y="2652129"/>
              <a:ext cx="25970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シンガポールへの医療</a:t>
              </a:r>
              <a:r>
                <a:rPr lang="ja-JP" altLang="en-US" sz="1400" b="1" noProof="1">
                  <a:solidFill>
                    <a:srgbClr val="000000"/>
                  </a:solidFill>
                  <a:ea typeface="HGP創英角ｺﾞｼｯｸUB" pitchFamily="50" charset="-128"/>
                  <a:cs typeface="Arial" panose="020B0604020202020204" pitchFamily="34" charset="0"/>
                </a:rPr>
                <a:t>渡航者数</a:t>
              </a:r>
              <a:endParaRPr kumimoji="1" lang="ja-JP" altLang="en-US" sz="14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endParaRPr>
            </a:p>
          </p:txBody>
        </p:sp>
      </p:grpSp>
      <p:graphicFrame>
        <p:nvGraphicFramePr>
          <p:cNvPr id="9" name="Chart 16">
            <a:extLst>
              <a:ext uri="{FF2B5EF4-FFF2-40B4-BE49-F238E27FC236}">
                <a16:creationId xmlns:a16="http://schemas.microsoft.com/office/drawing/2014/main" id="{D9F5CF6F-C578-AF38-0D4C-A804DB99143C}"/>
              </a:ext>
            </a:extLst>
          </p:cNvPr>
          <p:cNvGraphicFramePr/>
          <p:nvPr>
            <p:custDataLst>
              <p:tags r:id="rId2"/>
            </p:custDataLst>
            <p:extLst>
              <p:ext uri="{D42A27DB-BD31-4B8C-83A1-F6EECF244321}">
                <p14:modId xmlns:p14="http://schemas.microsoft.com/office/powerpoint/2010/main" val="2297383489"/>
              </p:ext>
            </p:extLst>
          </p:nvPr>
        </p:nvGraphicFramePr>
        <p:xfrm>
          <a:off x="5737525" y="3340689"/>
          <a:ext cx="4227513" cy="2287588"/>
        </p:xfrm>
        <a:graphic>
          <a:graphicData uri="http://schemas.openxmlformats.org/drawingml/2006/chart">
            <c:chart xmlns:c="http://schemas.openxmlformats.org/drawingml/2006/chart" xmlns:r="http://schemas.openxmlformats.org/officeDocument/2006/relationships" r:id="rId7"/>
          </a:graphicData>
        </a:graphic>
      </p:graphicFrame>
      <p:sp>
        <p:nvSpPr>
          <p:cNvPr id="10" name="テキスト プレースホルダ 9">
            <a:extLst>
              <a:ext uri="{FF2B5EF4-FFF2-40B4-BE49-F238E27FC236}">
                <a16:creationId xmlns:a16="http://schemas.microsoft.com/office/drawing/2014/main" id="{23234E38-FDF3-EAA9-E128-E41E4039A8C8}"/>
              </a:ext>
            </a:extLst>
          </p:cNvPr>
          <p:cNvSpPr>
            <a:spLocks/>
          </p:cNvSpPr>
          <p:nvPr>
            <p:custDataLst>
              <p:tags r:id="rId3"/>
            </p:custDataLst>
          </p:nvPr>
        </p:nvSpPr>
        <p:spPr bwMode="auto">
          <a:xfrm>
            <a:off x="8663288" y="525719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endParaRPr kumimoji="1" lang="en-CA" altLang="ja-JP" sz="112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Chart 6">
            <a:extLst>
              <a:ext uri="{FF2B5EF4-FFF2-40B4-BE49-F238E27FC236}">
                <a16:creationId xmlns:a16="http://schemas.microsoft.com/office/drawing/2014/main" id="{EF608FC2-86D1-DBB5-9F48-DFFD6C91ADA8}"/>
              </a:ext>
            </a:extLst>
          </p:cNvPr>
          <p:cNvGraphicFramePr>
            <a:graphicFrameLocks/>
          </p:cNvGraphicFramePr>
          <p:nvPr>
            <p:extLst>
              <p:ext uri="{D42A27DB-BD31-4B8C-83A1-F6EECF244321}">
                <p14:modId xmlns:p14="http://schemas.microsoft.com/office/powerpoint/2010/main" val="3845675325"/>
              </p:ext>
            </p:extLst>
          </p:nvPr>
        </p:nvGraphicFramePr>
        <p:xfrm>
          <a:off x="1164326" y="2959680"/>
          <a:ext cx="7231497" cy="3281832"/>
        </p:xfrm>
        <a:graphic>
          <a:graphicData uri="http://schemas.openxmlformats.org/drawingml/2006/chart">
            <c:chart xmlns:c="http://schemas.openxmlformats.org/drawingml/2006/chart" xmlns:r="http://schemas.openxmlformats.org/officeDocument/2006/relationships" r:id="rId8"/>
          </a:graphicData>
        </a:graphic>
      </p:graphicFrame>
      <p:sp>
        <p:nvSpPr>
          <p:cNvPr id="14" name="テキスト ボックス 13">
            <a:extLst>
              <a:ext uri="{FF2B5EF4-FFF2-40B4-BE49-F238E27FC236}">
                <a16:creationId xmlns:a16="http://schemas.microsoft.com/office/drawing/2014/main" id="{8F586C13-45C7-5A00-5233-6A9CC1B70971}"/>
              </a:ext>
            </a:extLst>
          </p:cNvPr>
          <p:cNvSpPr txBox="1"/>
          <p:nvPr/>
        </p:nvSpPr>
        <p:spPr>
          <a:xfrm>
            <a:off x="1280592" y="3011202"/>
            <a:ext cx="648072" cy="253916"/>
          </a:xfrm>
          <a:prstGeom prst="rect">
            <a:avLst/>
          </a:prstGeom>
          <a:noFill/>
        </p:spPr>
        <p:txBody>
          <a:bodyPr wrap="square" rtlCol="0">
            <a:spAutoFit/>
          </a:bodyPr>
          <a:lstStyle/>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千人）</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CE1341-F639-4A92-9868-E9843A733932}"/>
              </a:ext>
            </a:extLst>
          </p:cNvPr>
          <p:cNvGraphicFramePr>
            <a:graphicFrameLocks/>
          </p:cNvGraphicFramePr>
          <p:nvPr>
            <p:custDataLst>
              <p:tags r:id="rId1"/>
            </p:custDataLst>
            <p:extLst>
              <p:ext uri="{D42A27DB-BD31-4B8C-83A1-F6EECF244321}">
                <p14:modId xmlns:p14="http://schemas.microsoft.com/office/powerpoint/2010/main" val="72296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6CE1341-F639-4A92-9868-E9843A733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12" name="テキスト ボックス 11"/>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のホームページ</a:t>
            </a:r>
            <a:endParaRPr lang="ja-JP" altLang="en-US" sz="800" dirty="0"/>
          </a:p>
        </p:txBody>
      </p:sp>
      <p:sp>
        <p:nvSpPr>
          <p:cNvPr id="43" name="テキスト ボックス 3">
            <a:extLst>
              <a:ext uri="{FF2B5EF4-FFF2-40B4-BE49-F238E27FC236}">
                <a16:creationId xmlns:a16="http://schemas.microsoft.com/office/drawing/2014/main" id="{DF8BDAE8-9A0E-4280-BCA8-5A22DBAE63B2}"/>
              </a:ext>
            </a:extLst>
          </p:cNvPr>
          <p:cNvSpPr txBox="1"/>
          <p:nvPr/>
        </p:nvSpPr>
        <p:spPr>
          <a:xfrm>
            <a:off x="200472" y="1052736"/>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a:t>
            </a:r>
            <a:r>
              <a:rPr lang="en-US" altLang="ja-JP" sz="1400" dirty="0"/>
              <a:t>2022</a:t>
            </a:r>
            <a:r>
              <a:rPr lang="ja-JP" altLang="en-US" sz="1400" dirty="0"/>
              <a:t>年</a:t>
            </a:r>
            <a:r>
              <a:rPr lang="en-US" altLang="ja-JP" sz="1400" dirty="0"/>
              <a:t>10</a:t>
            </a:r>
            <a:r>
              <a:rPr lang="ja-JP" altLang="en-US" sz="1400" dirty="0"/>
              <a:t>月、</a:t>
            </a:r>
            <a:r>
              <a:rPr lang="en-US" altLang="ja-JP" sz="1400" dirty="0"/>
              <a:t>Healthier SG</a:t>
            </a:r>
            <a:r>
              <a:rPr lang="ja-JP" altLang="en-US" sz="1400" dirty="0"/>
              <a:t>という予防医療に重点を置いた政策を公表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新しいスキームの導入のために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シンガポールドル、さらにランニングコスト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の予算を予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住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ier S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住民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HealthHu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プリやコミュニティ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クラブ、総合診療所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登録ステーションのいずれかで希望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ier SG 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クリニックまたは総合診療所に登録することができる。</a:t>
            </a:r>
          </a:p>
        </p:txBody>
      </p:sp>
      <p:sp>
        <p:nvSpPr>
          <p:cNvPr id="44" name="TextBox 43">
            <a:extLst>
              <a:ext uri="{FF2B5EF4-FFF2-40B4-BE49-F238E27FC236}">
                <a16:creationId xmlns:a16="http://schemas.microsoft.com/office/drawing/2014/main" id="{AC77B45B-7489-41D8-8117-BD559A03921A}"/>
              </a:ext>
            </a:extLst>
          </p:cNvPr>
          <p:cNvSpPr txBox="1"/>
          <p:nvPr/>
        </p:nvSpPr>
        <p:spPr>
          <a:xfrm>
            <a:off x="259298" y="2585960"/>
            <a:ext cx="8306448" cy="1384995"/>
          </a:xfrm>
          <a:prstGeom prst="rect">
            <a:avLst/>
          </a:prstGeom>
          <a:noFill/>
        </p:spPr>
        <p:txBody>
          <a:bodyPr wrap="square">
            <a:spAutoFit/>
          </a:bodyPr>
          <a:lstStyle/>
          <a:p>
            <a:r>
              <a:rPr lang="en-US" altLang="ja-JP" sz="1400" b="1" dirty="0"/>
              <a:t>Healthier SG</a:t>
            </a:r>
            <a:r>
              <a:rPr lang="ja-JP" altLang="en-US" sz="1400" b="1" dirty="0"/>
              <a:t>の概要</a:t>
            </a:r>
            <a:endParaRPr lang="en-US" altLang="ja-JP" sz="1400" dirty="0"/>
          </a:p>
          <a:p>
            <a:pPr marL="342900" indent="-342900">
              <a:buAutoNum type="arabicPeriod"/>
            </a:pPr>
            <a:r>
              <a:rPr lang="ja-JP" altLang="en-US" sz="1400" dirty="0"/>
              <a:t>家庭医のネットワークを活用し、住民に予防医療を提供する。</a:t>
            </a:r>
            <a:endParaRPr lang="en-US" altLang="ja-JP" sz="1400" dirty="0"/>
          </a:p>
          <a:p>
            <a:pPr marL="342900" indent="-342900">
              <a:buAutoNum type="arabicPeriod"/>
            </a:pPr>
            <a:r>
              <a:rPr lang="ja-JP" altLang="en-US" sz="1400" dirty="0"/>
              <a:t>生活習慣の改善、定期的な健康診断、適切な予防接種を含む健康計画を策定する。</a:t>
            </a:r>
            <a:endParaRPr lang="en-US" altLang="ja-JP" sz="1400" dirty="0"/>
          </a:p>
          <a:p>
            <a:pPr marL="342900" indent="-342900">
              <a:buAutoNum type="arabicPeriod"/>
            </a:pPr>
            <a:r>
              <a:rPr lang="ja-JP" altLang="en-US" sz="1400" dirty="0"/>
              <a:t>住民の健康的なライフスタイルをサポートするために、地域パートナーを活性化する。</a:t>
            </a:r>
            <a:endParaRPr lang="en-US" altLang="ja-JP" sz="1400" dirty="0"/>
          </a:p>
          <a:p>
            <a:pPr marL="342900" indent="-342900">
              <a:buAutoNum type="arabicPeriod"/>
            </a:pPr>
            <a:r>
              <a:rPr lang="ja-JP" altLang="en-US" sz="1400" dirty="0"/>
              <a:t>住民がかかりつけの家庭医を決め、健康計画を採用するための全国的な登録プログラムを開始する。</a:t>
            </a:r>
            <a:endParaRPr lang="en-US" altLang="ja-JP" sz="1400" dirty="0"/>
          </a:p>
          <a:p>
            <a:pPr marL="342900" indent="-342900">
              <a:buAutoNum type="arabicPeriod"/>
            </a:pPr>
            <a:r>
              <a:rPr lang="ja-JP" altLang="en-US" sz="1400" dirty="0"/>
              <a:t>これらを機能させるために、</a:t>
            </a:r>
            <a:r>
              <a:rPr lang="en-US" altLang="ja-JP" sz="1400" dirty="0"/>
              <a:t>IT</a:t>
            </a:r>
            <a:r>
              <a:rPr lang="ja-JP" altLang="en-US" sz="1400" dirty="0"/>
              <a:t>、人材開発計画、資金調達政策など、必要な主要イネーブラーを準備する。</a:t>
            </a:r>
          </a:p>
        </p:txBody>
      </p:sp>
      <p:sp>
        <p:nvSpPr>
          <p:cNvPr id="4" name="テキスト ボックス 3">
            <a:extLst>
              <a:ext uri="{FF2B5EF4-FFF2-40B4-BE49-F238E27FC236}">
                <a16:creationId xmlns:a16="http://schemas.microsoft.com/office/drawing/2014/main" id="{C3C32911-4060-F570-BFA6-B67612AF7EA2}"/>
              </a:ext>
            </a:extLst>
          </p:cNvPr>
          <p:cNvSpPr txBox="1"/>
          <p:nvPr/>
        </p:nvSpPr>
        <p:spPr>
          <a:xfrm>
            <a:off x="281437" y="4189764"/>
            <a:ext cx="9505056" cy="16898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t>Healthier SG Chronic Tier</a:t>
            </a:r>
            <a:r>
              <a:rPr lang="ja-JP" altLang="en-US" sz="1400" b="1" dirty="0"/>
              <a:t>について</a:t>
            </a:r>
            <a:endParaRPr lang="en-US" altLang="ja-JP" sz="1400" b="1"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GP</a:t>
            </a:r>
            <a:r>
              <a:rPr lang="ja-JP" altLang="en-US" sz="1400" dirty="0"/>
              <a:t>クリニックおよび総合診療所での一般的な慢性疾患の薬剤の手頃な価格を確保するために、</a:t>
            </a:r>
            <a:r>
              <a:rPr lang="en-US" altLang="ja-JP" sz="1400" dirty="0"/>
              <a:t>Healthier SG Chronic Tier</a:t>
            </a:r>
            <a:r>
              <a:rPr lang="ja-JP" altLang="en-US" sz="1400" dirty="0"/>
              <a:t>が</a:t>
            </a:r>
            <a:r>
              <a:rPr lang="en-US" altLang="ja-JP" sz="1400" dirty="0"/>
              <a:t>2024</a:t>
            </a:r>
            <a:r>
              <a:rPr lang="ja-JP" altLang="en-US" sz="1400" dirty="0"/>
              <a:t>年</a:t>
            </a:r>
            <a:r>
              <a:rPr lang="en-US" altLang="ja-JP" sz="1400" dirty="0"/>
              <a:t>2</a:t>
            </a:r>
            <a:r>
              <a:rPr lang="ja-JP" altLang="en-US" sz="1400" dirty="0"/>
              <a:t>月から施行された。対象となるシンガポール人は、登録した</a:t>
            </a:r>
            <a:r>
              <a:rPr lang="en-US" altLang="ja-JP" sz="1400" dirty="0"/>
              <a:t>Healthier SG GP</a:t>
            </a:r>
            <a:r>
              <a:rPr lang="ja-JP" altLang="en-US" sz="1400" dirty="0"/>
              <a:t>クリニックで、</a:t>
            </a:r>
            <a:r>
              <a:rPr lang="en-US" altLang="ja-JP" sz="1400" dirty="0"/>
              <a:t>Healthier SG Chronic Tier</a:t>
            </a:r>
            <a:r>
              <a:rPr lang="ja-JP" altLang="en-US" sz="1400" dirty="0"/>
              <a:t>補助金の枠組みの下で補助金を受け取ることができ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補助金の枠組みの下で、</a:t>
            </a:r>
            <a:r>
              <a:rPr lang="en-US" altLang="ja-JP" sz="1400" dirty="0"/>
              <a:t> CHAS </a:t>
            </a:r>
            <a:r>
              <a:rPr lang="ja-JP" altLang="en-US" sz="1400" dirty="0"/>
              <a:t>（</a:t>
            </a:r>
            <a:r>
              <a:rPr lang="en-US" altLang="ja-JP" sz="1400" dirty="0"/>
              <a:t>Community Health Assist Scheme</a:t>
            </a:r>
            <a:r>
              <a:rPr lang="ja-JP" altLang="en-US" sz="1400" dirty="0"/>
              <a:t>）、</a:t>
            </a:r>
            <a:r>
              <a:rPr lang="en-US" altLang="ja-JP" sz="1400" dirty="0"/>
              <a:t> PG </a:t>
            </a:r>
            <a:r>
              <a:rPr lang="ja-JP" altLang="en-US" sz="1400" dirty="0"/>
              <a:t>（</a:t>
            </a:r>
            <a:r>
              <a:rPr lang="en-US" altLang="ja-JP" sz="1400" dirty="0"/>
              <a:t>Pioneer Generation</a:t>
            </a:r>
            <a:r>
              <a:rPr lang="ja-JP" altLang="en-US" sz="1400" dirty="0"/>
              <a:t>）、および</a:t>
            </a:r>
            <a:r>
              <a:rPr lang="en-US" altLang="ja-JP" sz="1400" dirty="0"/>
              <a:t>MG </a:t>
            </a:r>
            <a:r>
              <a:rPr lang="ja-JP" altLang="en-US" sz="1400" dirty="0"/>
              <a:t>（</a:t>
            </a:r>
            <a:r>
              <a:rPr lang="en-US" altLang="ja-JP" sz="1400" dirty="0"/>
              <a:t>Merdeka Generation</a:t>
            </a:r>
            <a:r>
              <a:rPr lang="ja-JP" altLang="en-US" sz="1400" dirty="0"/>
              <a:t>）のカード保有者は、登録した</a:t>
            </a:r>
            <a:r>
              <a:rPr lang="en-US" altLang="ja-JP" sz="1400" dirty="0"/>
              <a:t>Healthier SG GP</a:t>
            </a:r>
            <a:r>
              <a:rPr lang="ja-JP" altLang="en-US" sz="1400" dirty="0"/>
              <a:t>クリニックで、総合診療所と同等の価格で慢性疾患の薬を手に入れることができる。</a:t>
            </a:r>
            <a:endParaRPr lang="en-US" altLang="ja-JP" sz="1400" dirty="0"/>
          </a:p>
        </p:txBody>
      </p:sp>
    </p:spTree>
    <p:extLst>
      <p:ext uri="{BB962C8B-B14F-4D97-AF65-F5344CB8AC3E}">
        <p14:creationId xmlns:p14="http://schemas.microsoft.com/office/powerpoint/2010/main" val="16666456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A26B4-12E6-AF1D-6A20-0C016C57A6F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6851B6-FAAA-EEA7-616F-FF2D5DA9596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FF07F5A2-1F4D-9C32-C003-7BDD264916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06C8CDD-958D-778F-41F8-8E64F99A38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FC14E0A-617E-ECC3-C5C2-B7ED2F2DA4E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1/4</a:t>
            </a:r>
            <a:r>
              <a:rPr lang="ja-JP" altLang="en-US" dirty="0"/>
              <a:t>）</a:t>
            </a:r>
          </a:p>
        </p:txBody>
      </p:sp>
      <p:sp>
        <p:nvSpPr>
          <p:cNvPr id="12" name="テキスト ボックス 11">
            <a:extLst>
              <a:ext uri="{FF2B5EF4-FFF2-40B4-BE49-F238E27FC236}">
                <a16:creationId xmlns:a16="http://schemas.microsoft.com/office/drawing/2014/main" id="{BCF80596-810C-D415-0DAE-0CD53863BD86}"/>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ニュース記事（ストレーツ・タイムズ）</a:t>
            </a:r>
            <a:endParaRPr lang="ja-JP" altLang="en-US" sz="800" dirty="0"/>
          </a:p>
        </p:txBody>
      </p:sp>
      <p:graphicFrame>
        <p:nvGraphicFramePr>
          <p:cNvPr id="6" name="Content Placeholder 4">
            <a:extLst>
              <a:ext uri="{FF2B5EF4-FFF2-40B4-BE49-F238E27FC236}">
                <a16:creationId xmlns:a16="http://schemas.microsoft.com/office/drawing/2014/main" id="{BF82A5DF-B9D8-F71F-8557-264C8B362C93}"/>
              </a:ext>
            </a:extLst>
          </p:cNvPr>
          <p:cNvGraphicFramePr>
            <a:graphicFrameLocks/>
          </p:cNvGraphicFramePr>
          <p:nvPr>
            <p:extLst>
              <p:ext uri="{D42A27DB-BD31-4B8C-83A1-F6EECF244321}">
                <p14:modId xmlns:p14="http://schemas.microsoft.com/office/powerpoint/2010/main" val="833650762"/>
              </p:ext>
            </p:extLst>
          </p:nvPr>
        </p:nvGraphicFramePr>
        <p:xfrm>
          <a:off x="198008" y="1691834"/>
          <a:ext cx="9505054" cy="40783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 sz="1200" b="1" dirty="0"/>
                        <a:t>Healthier SG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23</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dirty="0"/>
                        <a:t>シンガポールの医療制度を病気の治療に重点を置くものから、病気の予防を中心とした積極的なアプローチへと転換することを目的とした国家的な取組</a:t>
                      </a:r>
                    </a:p>
                    <a:p>
                      <a:pPr marL="171450" indent="-171450">
                        <a:spcBef>
                          <a:spcPts val="100"/>
                        </a:spcBef>
                        <a:spcAft>
                          <a:spcPts val="100"/>
                        </a:spcAft>
                        <a:buFont typeface="Courier New" panose="02070309020205020404" pitchFamily="49" charset="0"/>
                        <a:buChar char="o"/>
                      </a:pPr>
                      <a:r>
                        <a:rPr kumimoji="1" lang="ja" altLang="ja-JP" sz="1200" dirty="0"/>
                        <a:t>このプログラムは40歳以上のすべてのシンガポール国民および永住者が対象</a:t>
                      </a:r>
                    </a:p>
                    <a:p>
                      <a:pPr marL="171450" indent="-171450">
                        <a:spcBef>
                          <a:spcPts val="100"/>
                        </a:spcBef>
                        <a:spcAft>
                          <a:spcPts val="100"/>
                        </a:spcAft>
                        <a:buFont typeface="Courier New" panose="02070309020205020404" pitchFamily="49" charset="0"/>
                        <a:buChar char="o"/>
                      </a:pPr>
                      <a:r>
                        <a:rPr kumimoji="1" lang="ja" altLang="ja-JP" sz="1200" dirty="0"/>
                        <a:t>この取り組みでは、個人がかかりつけ医を主な医療パートナーとして選択でき</a:t>
                      </a:r>
                      <a:r>
                        <a:rPr kumimoji="1" lang="ja-JP" altLang="en-US" sz="1200" dirty="0"/>
                        <a:t>る</a:t>
                      </a:r>
                      <a:r>
                        <a:rPr kumimoji="1" lang="ja" altLang="ja-JP" sz="1200" dirty="0"/>
                        <a:t>。かかりつけ医は、ライフスタイルの変更、健康診断、予防接種を含む個別の健康計画を患者と協力しながら作成す</a:t>
                      </a:r>
                      <a:r>
                        <a:rPr kumimoji="1" lang="ja-JP" altLang="en-US" sz="1200" dirty="0"/>
                        <a:t>る</a:t>
                      </a:r>
                      <a:r>
                        <a:rPr kumimoji="1" lang="ja" altLang="ja-JP" sz="1200" dirty="0"/>
                        <a:t>。Healthier SGは、地域の医療クラスターからのサポートも統合し、参加者が健康プログラムや活動にアクセスできるようにして</a:t>
                      </a:r>
                      <a:r>
                        <a:rPr kumimoji="1" lang="ja-JP" altLang="en-US" sz="1200" dirty="0"/>
                        <a:t>いる</a:t>
                      </a:r>
                      <a:endParaRPr kumimoji="1" lang="ja" altLang="ja-JP" sz="1200" dirty="0"/>
                    </a:p>
                    <a:p>
                      <a:pPr marL="171450" indent="-171450">
                        <a:spcBef>
                          <a:spcPts val="100"/>
                        </a:spcBef>
                        <a:spcAft>
                          <a:spcPts val="100"/>
                        </a:spcAft>
                        <a:buFont typeface="Courier New" panose="02070309020205020404" pitchFamily="49" charset="0"/>
                        <a:buChar char="o"/>
                      </a:pPr>
                      <a:r>
                        <a:rPr kumimoji="1" lang="ja" altLang="ja-JP" sz="1200" dirty="0"/>
                        <a:t>この取り組みでは、予防医療とプライマリケアを提供する 5 つの特徴があ</a:t>
                      </a:r>
                      <a:r>
                        <a:rPr kumimoji="1" lang="ja-JP" altLang="en-US" sz="1200" dirty="0"/>
                        <a:t>る</a:t>
                      </a:r>
                      <a:endParaRPr kumimoji="1" lang="ja" altLang="ja-JP" sz="1200" dirty="0"/>
                    </a:p>
                    <a:p>
                      <a:pPr marL="266700" indent="-84138">
                        <a:spcBef>
                          <a:spcPts val="100"/>
                        </a:spcBef>
                        <a:spcAft>
                          <a:spcPts val="100"/>
                        </a:spcAft>
                        <a:buFont typeface="Arial" panose="020B0604020202020204" pitchFamily="34" charset="0"/>
                        <a:buChar char="•"/>
                      </a:pPr>
                      <a:r>
                        <a:rPr kumimoji="1" lang="ja" altLang="ja-JP" sz="1200" dirty="0"/>
                        <a:t>住民に予防医療を提供するためにかかりつけ医を動員</a:t>
                      </a:r>
                    </a:p>
                    <a:p>
                      <a:pPr marL="266700" indent="-84138">
                        <a:spcBef>
                          <a:spcPts val="100"/>
                        </a:spcBef>
                        <a:spcAft>
                          <a:spcPts val="100"/>
                        </a:spcAft>
                        <a:buFont typeface="Arial" panose="020B0604020202020204" pitchFamily="34" charset="0"/>
                        <a:buChar char="•"/>
                      </a:pPr>
                      <a:r>
                        <a:rPr kumimoji="1" lang="ja" altLang="ja-JP" sz="1200" dirty="0"/>
                        <a:t>生活習慣の調整、定期的な健康診断、適切な予防接種を含む健康計画を作成し、医師が住民と協議</a:t>
                      </a:r>
                    </a:p>
                    <a:p>
                      <a:pPr marL="266700" indent="-84138">
                        <a:spcBef>
                          <a:spcPts val="100"/>
                        </a:spcBef>
                        <a:spcAft>
                          <a:spcPts val="100"/>
                        </a:spcAft>
                        <a:buFont typeface="Arial" panose="020B0604020202020204" pitchFamily="34" charset="0"/>
                        <a:buChar char="•"/>
                      </a:pPr>
                      <a:r>
                        <a:rPr kumimoji="1" lang="ja" altLang="ja-JP" sz="1200" dirty="0"/>
                        <a:t>地域のパートナーを活性化し、住民がより健康的なライフスタイルを送れるよう支援</a:t>
                      </a:r>
                    </a:p>
                    <a:p>
                      <a:pPr marL="266700" indent="-84138">
                        <a:spcBef>
                          <a:spcPts val="100"/>
                        </a:spcBef>
                        <a:spcAft>
                          <a:spcPts val="100"/>
                        </a:spcAft>
                        <a:buFont typeface="Arial" panose="020B0604020202020204" pitchFamily="34" charset="0"/>
                        <a:buChar char="•"/>
                      </a:pPr>
                      <a:r>
                        <a:rPr kumimoji="1" lang="ja" altLang="ja-JP" sz="1200" dirty="0"/>
                        <a:t>住民が1人のかかりつけ医にかかりつけ、健康計画を採用するよう全国的に登録運動を開始</a:t>
                      </a:r>
                    </a:p>
                    <a:p>
                      <a:pPr marL="266700" indent="-84138">
                        <a:spcBef>
                          <a:spcPts val="100"/>
                        </a:spcBef>
                        <a:spcAft>
                          <a:spcPts val="100"/>
                        </a:spcAft>
                        <a:buFont typeface="Arial" panose="020B0604020202020204" pitchFamily="34" charset="0"/>
                        <a:buChar char="•"/>
                      </a:pPr>
                      <a:r>
                        <a:rPr kumimoji="1" lang="ja" altLang="ja-JP" sz="1200" dirty="0"/>
                        <a:t>Healthier SG を機能させるために、IT、人材開発計画、資金調達ポリシーなどの必要な促進要因を設定</a:t>
                      </a:r>
                    </a:p>
                    <a:p>
                      <a:pPr marL="171450" indent="-171450">
                        <a:spcBef>
                          <a:spcPts val="100"/>
                        </a:spcBef>
                        <a:spcAft>
                          <a:spcPts val="100"/>
                        </a:spcAft>
                        <a:buFont typeface="Courier New" panose="02070309020205020404" pitchFamily="49" charset="0"/>
                        <a:buChar char="o"/>
                      </a:pPr>
                      <a:r>
                        <a:rPr kumimoji="1" lang="ja" altLang="ja-JP" sz="1200" dirty="0"/>
                        <a:t>2024 年には、Healthier SG Chronic Tier が開始され、厳選された一般的な慢性疾患治療薬が補助金付き料金で提供されるようにな</a:t>
                      </a:r>
                      <a:r>
                        <a:rPr kumimoji="1" lang="ja-JP" altLang="en-US" sz="1200" dirty="0"/>
                        <a:t>った</a:t>
                      </a:r>
                      <a:endParaRPr kumimoji="1" lang="ja" altLang="ja-JP" sz="1200" dirty="0"/>
                    </a:p>
                    <a:p>
                      <a:pPr marL="171450" indent="-171450">
                        <a:spcBef>
                          <a:spcPts val="100"/>
                        </a:spcBef>
                        <a:spcAft>
                          <a:spcPts val="100"/>
                        </a:spcAft>
                        <a:buFont typeface="Courier New" panose="02070309020205020404" pitchFamily="49" charset="0"/>
                        <a:buChar char="o"/>
                      </a:pPr>
                      <a:r>
                        <a:rPr kumimoji="1" lang="ja" altLang="ja-JP" sz="1200" dirty="0"/>
                        <a:t>2025年現在、130万人以上がHealthier SGに登録してい</a:t>
                      </a:r>
                      <a:r>
                        <a:rPr kumimoji="1" lang="ja-JP" altLang="en-US" sz="120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7" name="テキスト ボックス 3">
            <a:extLst>
              <a:ext uri="{FF2B5EF4-FFF2-40B4-BE49-F238E27FC236}">
                <a16:creationId xmlns:a16="http://schemas.microsoft.com/office/drawing/2014/main" id="{4F0197B2-6559-A118-0103-012C400771A0}"/>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ealthier SG Initiative </a:t>
            </a:r>
            <a:r>
              <a:rPr lang="ja-JP" altLang="en-US" sz="1400" dirty="0"/>
              <a:t>は、クリニックの登録、個人向け健康計画、検査、ライフスタイル介入を通じてプライマリケアを強化し、予防医療に重点を置いた複数年の計画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361562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2C16A-08A3-3C68-1EA2-D8237208E79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0BBB4B-AE51-DD6B-C5D4-73D8FA038A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F76851B6-FAAA-EEA7-616F-FF2D5DA959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DA2C7A4-37FE-BFA3-6761-7585FB1F561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547F6D2-305F-E91B-6781-71B513ED61C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2/4</a:t>
            </a:r>
            <a:r>
              <a:rPr lang="ja-JP" altLang="en-US" dirty="0"/>
              <a:t>）</a:t>
            </a:r>
          </a:p>
        </p:txBody>
      </p:sp>
      <p:sp>
        <p:nvSpPr>
          <p:cNvPr id="12" name="テキスト ボックス 11">
            <a:extLst>
              <a:ext uri="{FF2B5EF4-FFF2-40B4-BE49-F238E27FC236}">
                <a16:creationId xmlns:a16="http://schemas.microsoft.com/office/drawing/2014/main" id="{FA678F9B-4290-6FDE-8F08-ECA8783A6E17}"/>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ニュース記事（ヘルスケアアジアマガジン）、プライマリケアページ</a:t>
            </a:r>
            <a:endParaRPr lang="ja-JP" altLang="en-US" sz="800" dirty="0"/>
          </a:p>
        </p:txBody>
      </p:sp>
      <p:graphicFrame>
        <p:nvGraphicFramePr>
          <p:cNvPr id="6" name="Content Placeholder 4">
            <a:extLst>
              <a:ext uri="{FF2B5EF4-FFF2-40B4-BE49-F238E27FC236}">
                <a16:creationId xmlns:a16="http://schemas.microsoft.com/office/drawing/2014/main" id="{8D2DB89B-4F63-C9F7-973C-FEC18461899C}"/>
              </a:ext>
            </a:extLst>
          </p:cNvPr>
          <p:cNvGraphicFramePr>
            <a:graphicFrameLocks/>
          </p:cNvGraphicFramePr>
          <p:nvPr>
            <p:extLst>
              <p:ext uri="{D42A27DB-BD31-4B8C-83A1-F6EECF244321}">
                <p14:modId xmlns:p14="http://schemas.microsoft.com/office/powerpoint/2010/main" val="2489864341"/>
              </p:ext>
            </p:extLst>
          </p:nvPr>
        </p:nvGraphicFramePr>
        <p:xfrm>
          <a:off x="198008" y="2014090"/>
          <a:ext cx="9505054" cy="42764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t>ヘルスケア業界変革マップ</a:t>
                      </a:r>
                      <a:endParaRPr kumimoji="1" lang="en-US" altLang="ja" sz="1200" b="1" dirty="0"/>
                    </a:p>
                    <a:p>
                      <a:pPr algn="ctr"/>
                      <a:r>
                        <a:rPr kumimoji="1" lang="en-US" altLang="ja" sz="1200" b="1" dirty="0"/>
                        <a:t>(Healthcare Industry Transformation Map)</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23</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革新的で持続可能な戦略と未来を見据えた労働力を通じて、人々の健康を変革するための業界ロードマップ</a:t>
                      </a:r>
                    </a:p>
                    <a:p>
                      <a:pPr marL="171450" indent="-171450">
                        <a:spcBef>
                          <a:spcPts val="100"/>
                        </a:spcBef>
                        <a:spcAft>
                          <a:spcPts val="100"/>
                        </a:spcAft>
                        <a:buFont typeface="Courier New" panose="02070309020205020404" pitchFamily="49" charset="0"/>
                        <a:buChar char="o"/>
                      </a:pPr>
                      <a:r>
                        <a:rPr kumimoji="1" lang="ja" altLang="ja-JP" sz="1200" b="0" dirty="0"/>
                        <a:t>ロードマップでは、次の 4 つの目標が概説されてい</a:t>
                      </a:r>
                      <a:r>
                        <a:rPr kumimoji="1" lang="ja-JP" altLang="en-US" sz="1200" b="0" dirty="0"/>
                        <a:t>る</a:t>
                      </a:r>
                      <a:endParaRPr kumimoji="1" lang="ja" altLang="ja-JP" sz="1200" b="0" dirty="0"/>
                    </a:p>
                    <a:p>
                      <a:pPr marL="266700" indent="-84138">
                        <a:spcBef>
                          <a:spcPts val="100"/>
                        </a:spcBef>
                        <a:spcAft>
                          <a:spcPts val="100"/>
                        </a:spcAft>
                        <a:buFont typeface="Arial" panose="020B0604020202020204" pitchFamily="34" charset="0"/>
                        <a:buChar char="•"/>
                      </a:pPr>
                      <a:r>
                        <a:rPr kumimoji="1" lang="ja" altLang="ja-JP" sz="1200" b="0" dirty="0"/>
                        <a:t>研究とイノベーションのエコシステムの強化: 国家臨床トランスレーショナル プログラムとトランスレーショナル プラットフォーム、およびデータの活用を通じて、研究のトランスレーショナル化と臨床導入を加速</a:t>
                      </a:r>
                    </a:p>
                    <a:p>
                      <a:pPr marL="266700" indent="-84138">
                        <a:spcBef>
                          <a:spcPts val="100"/>
                        </a:spcBef>
                        <a:spcAft>
                          <a:spcPts val="100"/>
                        </a:spcAft>
                        <a:buFont typeface="Arial" panose="020B0604020202020204" pitchFamily="34" charset="0"/>
                        <a:buChar char="•"/>
                      </a:pPr>
                      <a:r>
                        <a:rPr kumimoji="1" lang="ja" altLang="ja-JP" sz="1200" b="0" dirty="0"/>
                        <a:t>デジタル システム イネーブラー強化: Health hub アプリ、Healthy 365、Telehealth などのデジタル アプリやプラットフォームを通じて積極的な参加へと移行</a:t>
                      </a:r>
                    </a:p>
                    <a:p>
                      <a:pPr marL="266700" indent="-84138">
                        <a:spcBef>
                          <a:spcPts val="100"/>
                        </a:spcBef>
                        <a:spcAft>
                          <a:spcPts val="100"/>
                        </a:spcAft>
                        <a:buFont typeface="Arial" panose="020B0604020202020204" pitchFamily="34" charset="0"/>
                        <a:buChar char="•"/>
                      </a:pPr>
                      <a:r>
                        <a:rPr kumimoji="1" lang="ja" altLang="ja-JP" sz="1200" b="0" dirty="0"/>
                        <a:t>医療従事者の誘致と維持: サポートケアの仕事の魅力を高めるために仕事を再設計し、医療研修ではプライマリヘルスケアと予防医療に改めて重点を置</a:t>
                      </a:r>
                      <a:r>
                        <a:rPr kumimoji="1" lang="ja-JP" altLang="en-US" sz="1200" b="0" dirty="0"/>
                        <a:t>く</a:t>
                      </a:r>
                      <a:endParaRPr kumimoji="1" lang="ja" altLang="ja-JP" sz="1200" b="0" dirty="0"/>
                    </a:p>
                    <a:p>
                      <a:pPr marL="266700" indent="-84138">
                        <a:spcBef>
                          <a:spcPts val="100"/>
                        </a:spcBef>
                        <a:spcAft>
                          <a:spcPts val="100"/>
                        </a:spcAft>
                        <a:buFont typeface="Arial" panose="020B0604020202020204" pitchFamily="34" charset="0"/>
                        <a:buChar char="•"/>
                      </a:pPr>
                      <a:r>
                        <a:rPr kumimoji="1" lang="ja" altLang="ja-JP" sz="1200" b="0" dirty="0"/>
                        <a:t>パートナーシップの強化: さまざまな機関、公的医療機関、学術機関と提携して、革新的なソリューションを共同で開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プライマリケアネットワーク</a:t>
                      </a:r>
                      <a:endParaRPr kumimoji="1" lang="en-US" altLang="ja" sz="1200" b="1" dirty="0"/>
                    </a:p>
                    <a:p>
                      <a:pPr algn="ctr"/>
                      <a:r>
                        <a:rPr kumimoji="1" lang="ja-JP" altLang="en-US" sz="1200" b="1" dirty="0"/>
                        <a:t>（</a:t>
                      </a:r>
                      <a:r>
                        <a:rPr kumimoji="1" lang="en-US" altLang="ja" sz="1200" b="1" dirty="0"/>
                        <a:t>Primary Care Networks (PCNs)</a:t>
                      </a:r>
                      <a:r>
                        <a:rPr kumimoji="1" lang="ja-JP" altLang="en-US" sz="1200" b="1" dirty="0"/>
                        <a:t>）</a:t>
                      </a:r>
                      <a:endParaRPr kumimoji="1" lang="en-US" altLang="ja"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8</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看護師とケアコーディネーターのサポートを受けた一般開業医（GP）のネットワークであり、糖尿病、高血圧、高コレステロールなどの慢性疾患の段階的な管理を提供</a:t>
                      </a:r>
                      <a:r>
                        <a:rPr kumimoji="1" lang="ja-JP" altLang="en-US" sz="1200" b="0" dirty="0"/>
                        <a:t>する</a:t>
                      </a:r>
                      <a:r>
                        <a:rPr kumimoji="1" lang="ja" altLang="ja-JP" sz="1200" b="0" dirty="0"/>
                        <a:t>。</a:t>
                      </a:r>
                    </a:p>
                    <a:p>
                      <a:pPr marL="171450" indent="-171450">
                        <a:spcBef>
                          <a:spcPts val="100"/>
                        </a:spcBef>
                        <a:spcAft>
                          <a:spcPts val="100"/>
                        </a:spcAft>
                        <a:buFont typeface="Courier New" panose="02070309020205020404" pitchFamily="49" charset="0"/>
                        <a:buChar char="o"/>
                      </a:pPr>
                      <a:r>
                        <a:rPr kumimoji="1" lang="ja" altLang="ja-JP" sz="1200" b="0" dirty="0"/>
                        <a:t>このモデルは、GP による診察、診断、PCN 慢性疾患レジストリへの登録、関連サービスへの紹介、予約のスケジュール設定、検査結果のレビュー、定期的なフォローアップなどの構造化されたプロセスを通じて、患者中心のケアを提供</a:t>
                      </a:r>
                      <a:r>
                        <a:rPr kumimoji="1" lang="ja-JP" altLang="en-US" sz="1200" b="0" dirty="0"/>
                        <a:t>す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患者は、看護師によるカウンセリング、慢性疾患の綿密なモニタリング、必要に応じて他の医療提供者への紹介などの総合的なサービスを受けることができ</a:t>
                      </a:r>
                      <a:r>
                        <a:rPr kumimoji="1" lang="ja-JP" altLang="en-US" sz="1200" b="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E99D6FB4-DD6B-DF28-9F98-9C72B3A34D7C}"/>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ヘルスケアの成果を向上させるためにイノベーション、持続可能性、将来を見据えた労働力に重点を置い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政府は、アクセスしやすく調整されたプライマリケアを強化するためにプライマリケアネットワーク </a:t>
            </a:r>
            <a:r>
              <a:rPr lang="en-US" altLang="ja-JP" sz="1400" dirty="0"/>
              <a:t>(PCN) </a:t>
            </a:r>
            <a:r>
              <a:rPr lang="ja-JP" altLang="en-US" sz="1400" dirty="0"/>
              <a:t>を設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15476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5835E-D0AC-2D19-3B18-0DDEF0EC614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308231-302F-26F5-C590-68DC45B41EA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50BBB4B-AE51-DD6B-C5D4-73D8FA038A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68EAD30-B4BA-9087-7A2B-FFC9D5130C3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3EB5BC6-8AF4-8EA8-98DD-8118E0DC10E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3/4</a:t>
            </a:r>
            <a:r>
              <a:rPr lang="ja-JP" altLang="en-US" dirty="0"/>
              <a:t>）</a:t>
            </a:r>
          </a:p>
        </p:txBody>
      </p:sp>
      <p:sp>
        <p:nvSpPr>
          <p:cNvPr id="12" name="テキスト ボックス 11">
            <a:extLst>
              <a:ext uri="{FF2B5EF4-FFF2-40B4-BE49-F238E27FC236}">
                <a16:creationId xmlns:a16="http://schemas.microsoft.com/office/drawing/2014/main" id="{3E66CDC4-9F51-61FA-EA76-8BA2C23D78AB}"/>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プライマリケアページ、ヘルスハブ、ニュース記事（ストレーツ・タイムズ）、デジタル開発情報省</a:t>
            </a:r>
            <a:endParaRPr lang="ja-JP" altLang="en-US" sz="800" dirty="0"/>
          </a:p>
        </p:txBody>
      </p:sp>
      <p:graphicFrame>
        <p:nvGraphicFramePr>
          <p:cNvPr id="6" name="Content Placeholder 4">
            <a:extLst>
              <a:ext uri="{FF2B5EF4-FFF2-40B4-BE49-F238E27FC236}">
                <a16:creationId xmlns:a16="http://schemas.microsoft.com/office/drawing/2014/main" id="{1CA7B42B-0C6C-B992-8A9D-6D1AF7C4662E}"/>
              </a:ext>
            </a:extLst>
          </p:cNvPr>
          <p:cNvGraphicFramePr>
            <a:graphicFrameLocks/>
          </p:cNvGraphicFramePr>
          <p:nvPr>
            <p:extLst>
              <p:ext uri="{D42A27DB-BD31-4B8C-83A1-F6EECF244321}">
                <p14:modId xmlns:p14="http://schemas.microsoft.com/office/powerpoint/2010/main" val="717723053"/>
              </p:ext>
            </p:extLst>
          </p:nvPr>
        </p:nvGraphicFramePr>
        <p:xfrm>
          <a:off x="198008" y="2014090"/>
          <a:ext cx="9505054" cy="367698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200" b="1" dirty="0"/>
                        <a:t>Healthier SG Screening</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7</a:t>
                      </a:r>
                    </a:p>
                    <a:p>
                      <a:pPr algn="ctr"/>
                      <a:r>
                        <a:rPr kumimoji="1" lang="ja" altLang="ja-JP" sz="1200" b="0" dirty="0"/>
                        <a:t>スクリーン・フォー・ライフ（SFL）</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b="0" dirty="0"/>
                        <a:t>健康推進委員会</a:t>
                      </a:r>
                    </a:p>
                    <a:p>
                      <a:pPr algn="ctr"/>
                      <a:r>
                        <a:rPr kumimoji="1" lang="ja" altLang="ja-JP" sz="1200" b="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Healthier SG Screening は、シンガポール国民と永住者に対し、定期的な健康診断と適切なフォローアップを受けることを奨励する、健康推進委員会 (HPB) による国家的な健康診断プログラム</a:t>
                      </a:r>
                    </a:p>
                    <a:p>
                      <a:pPr marL="171450" indent="-171450">
                        <a:spcBef>
                          <a:spcPts val="100"/>
                        </a:spcBef>
                        <a:spcAft>
                          <a:spcPts val="100"/>
                        </a:spcAft>
                        <a:buFont typeface="Courier New" panose="02070309020205020404" pitchFamily="49" charset="0"/>
                        <a:buChar char="o"/>
                      </a:pPr>
                      <a:r>
                        <a:rPr kumimoji="1" lang="ja" altLang="ja-JP" sz="1200" b="0" dirty="0"/>
                        <a:t>Screen for Life (SFL) プログラムは Healthier SG Screening に名前が変更された</a:t>
                      </a:r>
                    </a:p>
                    <a:p>
                      <a:pPr marL="171450" indent="-171450">
                        <a:spcBef>
                          <a:spcPts val="100"/>
                        </a:spcBef>
                        <a:spcAft>
                          <a:spcPts val="100"/>
                        </a:spcAft>
                        <a:buFont typeface="Courier New" panose="02070309020205020404" pitchFamily="49" charset="0"/>
                        <a:buChar char="o"/>
                      </a:pPr>
                      <a:r>
                        <a:rPr kumimoji="1" lang="ja" altLang="ja-JP" sz="1200" b="0" dirty="0"/>
                        <a:t>Healthier SG スクリーニングでは、資格のある居住者は SFL 補助金を受けられる一方、Healthier SG に登録している資格のある市民は、登録した Healthier SG クリニックでの Healthier SG スクリーニングに対して強化された補助金を受けられ</a:t>
                      </a:r>
                      <a:r>
                        <a:rPr kumimoji="1" lang="ja-JP" altLang="en-US" sz="1200" b="0" dirty="0"/>
                        <a:t>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補助金は、スクリーニング訪問、医師の診察料、およびさらなる検査が必要と判断された個人のフォローアップ診察をカバー</a:t>
                      </a:r>
                      <a:r>
                        <a:rPr kumimoji="1" lang="ja-JP" altLang="en-US" sz="1200" b="0" dirty="0"/>
                        <a:t>す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ヘルスハブ</a:t>
                      </a:r>
                      <a:endParaRPr kumimoji="1" lang="en-US" altLang="ja" sz="1200" b="1" dirty="0"/>
                    </a:p>
                    <a:p>
                      <a:pPr algn="ctr"/>
                      <a:r>
                        <a:rPr kumimoji="1" lang="en-US" altLang="ja" sz="1200" b="1" dirty="0"/>
                        <a:t>(Health Hub)</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5</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b="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Health Hub は、保健省 (MOH) 傘下の国立医療技術機関 Synapxe が開発した国家デジタル ヘルス プラットフォーム</a:t>
                      </a:r>
                    </a:p>
                    <a:p>
                      <a:pPr marL="171450" indent="-171450">
                        <a:spcBef>
                          <a:spcPts val="100"/>
                        </a:spcBef>
                        <a:spcAft>
                          <a:spcPts val="100"/>
                        </a:spcAft>
                        <a:buFont typeface="Courier New" panose="02070309020205020404" pitchFamily="49" charset="0"/>
                        <a:buChar char="o"/>
                      </a:pPr>
                      <a:r>
                        <a:rPr kumimoji="1" lang="ja" altLang="ja-JP" sz="1200" b="0" dirty="0"/>
                        <a:t>同社は政府機関や公立医療機関と提携し、住民に健康情報やデジタル健康サービスを提供してい</a:t>
                      </a:r>
                      <a:r>
                        <a:rPr kumimoji="1" lang="ja-JP" altLang="en-US" sz="1200" b="0" dirty="0"/>
                        <a:t>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このプラットフォームは、個人および家族の健康記録へのシームレスなアクセスを可能にし、統合された継続的な健康管理をサポートす</a:t>
                      </a:r>
                      <a:r>
                        <a:rPr kumimoji="1" lang="ja-JP" altLang="en-US" sz="1200" b="0" dirty="0"/>
                        <a:t>る</a:t>
                      </a:r>
                      <a:r>
                        <a:rPr kumimoji="1" lang="ja" altLang="ja-JP" sz="1200" b="0" dirty="0"/>
                        <a:t>。また、予約、請求書の支払い、健康記録へのアクセス、薬の補充といった便利なeサービスも提供してい</a:t>
                      </a:r>
                      <a:r>
                        <a:rPr kumimoji="1" lang="ja-JP" altLang="en-US" sz="1200" b="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61D067D7-0574-30AD-A378-616EAB5CA301}"/>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健康情報とサービスのための国家デジタルプラットフォームである「ヘルスハブ」を通じて医療部門をデジタル化するとともに、補助金を伴う検査を通じて予防医療を優先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55433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AE591-3AEE-BA64-0A22-6BFD389472E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FFB562-4A7E-4AA3-5CA4-E8C59CBF96A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7308231-302F-26F5-C590-68DC45B41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F344727-C226-DD4F-2C9A-66B3AEA6523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B8E90CD8-F73F-B61A-B01A-2C3166A7D10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4/4</a:t>
            </a:r>
            <a:r>
              <a:rPr lang="ja-JP" altLang="en-US" dirty="0"/>
              <a:t>）</a:t>
            </a:r>
          </a:p>
        </p:txBody>
      </p:sp>
      <p:sp>
        <p:nvSpPr>
          <p:cNvPr id="12" name="テキスト ボックス 11">
            <a:extLst>
              <a:ext uri="{FF2B5EF4-FFF2-40B4-BE49-F238E27FC236}">
                <a16:creationId xmlns:a16="http://schemas.microsoft.com/office/drawing/2014/main" id="{6211FCFF-E88E-C11B-E733-AC0982EB49FF}"/>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プライマリケアページ</a:t>
            </a:r>
            <a:endParaRPr lang="ja-JP" altLang="en-US" sz="800" dirty="0"/>
          </a:p>
        </p:txBody>
      </p:sp>
      <p:graphicFrame>
        <p:nvGraphicFramePr>
          <p:cNvPr id="6" name="Content Placeholder 4">
            <a:extLst>
              <a:ext uri="{FF2B5EF4-FFF2-40B4-BE49-F238E27FC236}">
                <a16:creationId xmlns:a16="http://schemas.microsoft.com/office/drawing/2014/main" id="{3AE9E1DD-E941-6988-4DBF-09F2422DA301}"/>
              </a:ext>
            </a:extLst>
          </p:cNvPr>
          <p:cNvGraphicFramePr>
            <a:graphicFrameLocks/>
          </p:cNvGraphicFramePr>
          <p:nvPr>
            <p:extLst>
              <p:ext uri="{D42A27DB-BD31-4B8C-83A1-F6EECF244321}">
                <p14:modId xmlns:p14="http://schemas.microsoft.com/office/powerpoint/2010/main" val="4036681796"/>
              </p:ext>
            </p:extLst>
          </p:nvPr>
        </p:nvGraphicFramePr>
        <p:xfrm>
          <a:off x="198008" y="2014090"/>
          <a:ext cx="9505054" cy="4205302"/>
        </p:xfrm>
        <a:graphic>
          <a:graphicData uri="http://schemas.openxmlformats.org/drawingml/2006/table">
            <a:tbl>
              <a:tblPr firstRow="1" bandRow="1">
                <a:tableStyleId>{5C22544A-7EE6-4342-B048-85BDC9FD1C3A}</a:tableStyleId>
              </a:tblPr>
              <a:tblGrid>
                <a:gridCol w="1298608">
                  <a:extLst>
                    <a:ext uri="{9D8B030D-6E8A-4147-A177-3AD203B41FA5}">
                      <a16:colId xmlns:a16="http://schemas.microsoft.com/office/drawing/2014/main" val="3511576560"/>
                    </a:ext>
                  </a:extLst>
                </a:gridCol>
                <a:gridCol w="565128">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t>コミュニティ</a:t>
                      </a:r>
                      <a:endParaRPr kumimoji="1" lang="en-US" altLang="ja" sz="1200" b="1" dirty="0"/>
                    </a:p>
                    <a:p>
                      <a:pPr algn="ctr"/>
                      <a:r>
                        <a:rPr kumimoji="1" lang="ja" altLang="ja-JP" sz="1200" b="1" dirty="0"/>
                        <a:t>健康支援制度</a:t>
                      </a:r>
                      <a:endParaRPr kumimoji="1" lang="en-US" altLang="ja" sz="1200" b="1" dirty="0"/>
                    </a:p>
                    <a:p>
                      <a:pPr algn="ctr"/>
                      <a:r>
                        <a:rPr kumimoji="1" lang="ja-JP" altLang="en-US" sz="1200" b="1" dirty="0"/>
                        <a:t>（</a:t>
                      </a:r>
                      <a:r>
                        <a:rPr kumimoji="1" lang="en-US" altLang="ja-JP" sz="1200" b="1" dirty="0"/>
                        <a:t>Community Health Assist Scheme (CHAS)</a:t>
                      </a:r>
                      <a:r>
                        <a:rPr kumimoji="1" lang="ja-JP" altLang="en-US" sz="1200" b="1" dirty="0"/>
                        <a:t>）</a:t>
                      </a:r>
                      <a:endParaRPr kumimoji="1" lang="en-US" altLang="ja-JP"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2</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b="0" dirty="0"/>
                        <a:t>これは、参加している一般開業医（GP）および歯科医院での慢性疾患および/または歯科治療を含む医療費をすべてのシンガポール国民に補助する支援制度</a:t>
                      </a:r>
                    </a:p>
                    <a:p>
                      <a:pPr marL="171450" indent="-171450">
                        <a:spcBef>
                          <a:spcPts val="100"/>
                        </a:spcBef>
                        <a:spcAft>
                          <a:spcPts val="100"/>
                        </a:spcAft>
                        <a:buFont typeface="Courier New" panose="02070309020205020404" pitchFamily="49" charset="0"/>
                        <a:buChar char="o"/>
                      </a:pPr>
                      <a:r>
                        <a:rPr kumimoji="1" lang="ja" altLang="ja-JP" sz="1100" b="0" dirty="0"/>
                        <a:t>CHAS 給付金は、1 人あたりの世帯収入または住宅の年間価値 (AV) に基づいて段階的に支給され、グリーン、オレンジ、またはブルーの CHAS カードを受け取るかどうかが決ま</a:t>
                      </a:r>
                      <a:r>
                        <a:rPr kumimoji="1" lang="ja-JP" altLang="en-US" sz="1100" b="0" dirty="0"/>
                        <a:t>る</a:t>
                      </a:r>
                      <a:endParaRPr kumimoji="1" lang="ja" altLang="ja-JP" sz="1100" b="0" dirty="0"/>
                    </a:p>
                    <a:p>
                      <a:pPr marL="171450" indent="-171450">
                        <a:spcBef>
                          <a:spcPts val="100"/>
                        </a:spcBef>
                        <a:spcAft>
                          <a:spcPts val="100"/>
                        </a:spcAft>
                        <a:buFont typeface="Courier New" panose="02070309020205020404" pitchFamily="49" charset="0"/>
                        <a:buChar char="o"/>
                      </a:pPr>
                      <a:r>
                        <a:rPr kumimoji="1" lang="ja" altLang="ja-JP" sz="1100" b="0" dirty="0"/>
                        <a:t>世帯一人当たり月収のCHAS分類の範囲は次のとおり</a:t>
                      </a:r>
                    </a:p>
                    <a:p>
                      <a:pPr marL="266700" indent="-88900">
                        <a:spcBef>
                          <a:spcPts val="100"/>
                        </a:spcBef>
                        <a:spcAft>
                          <a:spcPts val="100"/>
                        </a:spcAft>
                        <a:buFont typeface="Arial" panose="020B0604020202020204" pitchFamily="34" charset="0"/>
                        <a:buChar char="•"/>
                      </a:pPr>
                      <a:r>
                        <a:rPr kumimoji="1" lang="ja" altLang="ja-JP" sz="1100" b="0" dirty="0"/>
                        <a:t>CHAS Green: 2,300シンガポールドル以上</a:t>
                      </a:r>
                    </a:p>
                    <a:p>
                      <a:pPr marL="266700" indent="-88900">
                        <a:spcBef>
                          <a:spcPts val="100"/>
                        </a:spcBef>
                        <a:spcAft>
                          <a:spcPts val="100"/>
                        </a:spcAft>
                        <a:buFont typeface="Arial" panose="020B0604020202020204" pitchFamily="34" charset="0"/>
                        <a:buChar char="•"/>
                      </a:pPr>
                      <a:r>
                        <a:rPr kumimoji="1" lang="ja" altLang="ja-JP" sz="1100" b="0" dirty="0"/>
                        <a:t>CHAS オレンジ: SGD $1,501 – SGD 2,300</a:t>
                      </a:r>
                    </a:p>
                    <a:p>
                      <a:pPr marL="266700" indent="-88900">
                        <a:spcBef>
                          <a:spcPts val="100"/>
                        </a:spcBef>
                        <a:spcAft>
                          <a:spcPts val="100"/>
                        </a:spcAft>
                        <a:buFont typeface="Arial" panose="020B0604020202020204" pitchFamily="34" charset="0"/>
                        <a:buChar char="•"/>
                      </a:pPr>
                      <a:r>
                        <a:rPr kumimoji="1" lang="ja" altLang="ja-JP" sz="1100" b="0" dirty="0"/>
                        <a:t>CHASブルー：1,500シンガポールドル以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慢性疾患管理</a:t>
                      </a:r>
                      <a:endParaRPr kumimoji="1" lang="en-US" altLang="ja" sz="1200" b="1" dirty="0"/>
                    </a:p>
                    <a:p>
                      <a:pPr algn="ctr"/>
                      <a:r>
                        <a:rPr kumimoji="1" lang="ja" altLang="ja-JP" sz="1200" b="1" dirty="0"/>
                        <a:t>プログラム</a:t>
                      </a:r>
                      <a:endParaRPr kumimoji="1" lang="en-US" altLang="ja" sz="1200" b="1" dirty="0"/>
                    </a:p>
                    <a:p>
                      <a:pPr algn="ctr"/>
                      <a:r>
                        <a:rPr kumimoji="1" lang="ja-JP" altLang="en-US" sz="1200" b="1" dirty="0"/>
                        <a:t>（</a:t>
                      </a:r>
                      <a:r>
                        <a:rPr kumimoji="1" lang="en-US" altLang="ja" sz="1200" b="1" dirty="0"/>
                        <a:t>Chronic Disease Management Programme (CDMP)</a:t>
                      </a:r>
                      <a:r>
                        <a:rPr kumimoji="1" lang="ja-JP" altLang="en-US" sz="1200" b="1" dirty="0"/>
                        <a:t>）</a:t>
                      </a:r>
                      <a:endParaRPr kumimoji="1" lang="en-US" altLang="ja"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06</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lang="ja" sz="1100" b="0" dirty="0"/>
                        <a:t>これは、慢性疾患患者の治療の質を向上させ、治療をよりアクセスしやすく手頃な価格にすることを目的とした国家医療プログラム</a:t>
                      </a:r>
                    </a:p>
                    <a:p>
                      <a:pPr marL="171450" indent="-171450">
                        <a:spcBef>
                          <a:spcPts val="100"/>
                        </a:spcBef>
                        <a:spcAft>
                          <a:spcPts val="100"/>
                        </a:spcAft>
                        <a:buFont typeface="Courier New" panose="02070309020205020404" pitchFamily="49" charset="0"/>
                        <a:buChar char="o"/>
                      </a:pPr>
                      <a:r>
                        <a:rPr lang="ja" sz="1100" b="0" dirty="0"/>
                        <a:t>このプログラムにより、資格のある患者は慢性疾患に対して MediSave を使用することができ、自己負担額が軽減され、かかりつけ医による定期的なフォローアップが促進され</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現在、慢性疾患管理プログラムでは 23 の慢性疾患をカバーしてい</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MediSave 500/700制度では、患者様が1回の受診で2つ以上のCDMP（継続的医療ケア）疾患の治療を受ける場合、または合併症が認められているCDMP疾患を少なくとも1つ受ける場合、年間最大S$700まで利用</a:t>
                      </a:r>
                      <a:r>
                        <a:rPr lang="ja-JP" altLang="en-US" sz="1100" b="0" dirty="0"/>
                        <a:t>できる</a:t>
                      </a:r>
                      <a:r>
                        <a:rPr lang="ja" sz="1100" b="0" dirty="0"/>
                        <a:t>。それ以外の場合は、年間最大S$500まで利用</a:t>
                      </a:r>
                      <a:r>
                        <a:rPr lang="ja-JP" altLang="en-US" sz="1100" b="0" dirty="0"/>
                        <a:t>できる</a:t>
                      </a:r>
                      <a:r>
                        <a:rPr lang="ja" sz="1100" b="0" dirty="0"/>
                        <a:t>。各請求には通常、15%の自己負担金がかか</a:t>
                      </a:r>
                      <a:r>
                        <a:rPr lang="ja-JP" altLang="en-US" sz="1100" b="0" dirty="0"/>
                        <a:t>る</a:t>
                      </a:r>
                      <a:r>
                        <a:rPr lang="ja" sz="1100" b="0" dirty="0"/>
                        <a:t>。2024年2月1日以降、Healthier SGに登録されているクリニックでCDMP治療を受ける患者様については、この15%の自己負担金が免除され</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また、医療従事者向けの実用的な参考資料として、管理および請求関連のプロセスのほか、臨床ケアのガイドラインや推奨されるケアの構成要素を網羅した CDMP ハンドブックも発行されてい</a:t>
                      </a:r>
                      <a:r>
                        <a:rPr lang="ja-JP" altLang="en-US" sz="1100" b="0" dirty="0"/>
                        <a:t>る</a:t>
                      </a:r>
                      <a:endParaRPr kumimoji="1" lang="en-US" altLang="ja-JP" sz="11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6838944E-D862-1128-18A3-D98B9A2B52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慢性疾患治療の自己負担額を削減するために</a:t>
            </a:r>
            <a:r>
              <a:rPr lang="en-US" altLang="ja-JP" sz="1400" dirty="0"/>
              <a:t>CDMP</a:t>
            </a:r>
            <a:r>
              <a:rPr lang="ja-JP" altLang="en-US" sz="1400" dirty="0"/>
              <a:t>を立ち上げ、その後、慢性疾患や歯科サービスを含む医療に対するより広範な補助金を提供することで</a:t>
            </a:r>
            <a:r>
              <a:rPr lang="en-US" altLang="ja-JP" sz="1400" dirty="0"/>
              <a:t>CDMP</a:t>
            </a:r>
            <a:r>
              <a:rPr lang="ja-JP" altLang="en-US" sz="1400" dirty="0"/>
              <a:t>を補完する</a:t>
            </a:r>
            <a:r>
              <a:rPr lang="en-US" altLang="ja-JP" sz="1400" dirty="0"/>
              <a:t>CHAS</a:t>
            </a:r>
            <a:r>
              <a:rPr lang="ja-JP" altLang="en-US" sz="1400" dirty="0"/>
              <a:t>を導入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84746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　</a:t>
            </a:r>
            <a:r>
              <a:rPr lang="en-US" altLang="ja-JP" sz="800" dirty="0"/>
              <a:t>https://www.mofa.go.jp/mofaj/area/singapore/data.html#section6</a:t>
            </a:r>
            <a:endParaRPr lang="ja-JP" altLang="en-US" sz="800" dirty="0"/>
          </a:p>
        </p:txBody>
      </p:sp>
      <p:sp>
        <p:nvSpPr>
          <p:cNvPr id="13" name="片側の 2 つの角を丸めた四角形 12"/>
          <p:cNvSpPr/>
          <p:nvPr/>
        </p:nvSpPr>
        <p:spPr>
          <a:xfrm>
            <a:off x="920552" y="199322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シンガポー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99322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590434707"/>
              </p:ext>
            </p:extLst>
          </p:nvPr>
        </p:nvGraphicFramePr>
        <p:xfrm>
          <a:off x="200472" y="2323944"/>
          <a:ext cx="9504000" cy="400049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ウン・エンヘン国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チョクトン名誉上級相、リー首相、グレース・フー首相府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甘利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ー首相、ルイ・タックユー運輸相、グレース・フー首相府相、シャンムガム外相兼法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一太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稲田朋美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ゴー・チョクトン名誉上級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防衛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ビアン・バラクリシュナン外相、ゴー・チョクトン名誉上級相、リー首相、グルース・フー文化・地域・青年相、トニー・タン大統領、リム・スイセイ人材開発相、シム・アン上級国務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森山裕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啓一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9957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セフィン・テオ上級国務相、ヘン・スィーキェット財務相、ゴー・チョクトン名誉上級相、ガン・キムヨン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野文部科学</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稲田防衛大臣、丸川東京オリンピック競技大会・東京パラリンピック協議大会担当大臣、上川法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9871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ーマン・シャンムガラトナム副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ハマド・マリキ・ビン・オスマン上級国務相、デスモンド・リー社会・家庭振興相兼第二国家開発相、ウン・エンヘン国防相、テオ・チーヒン副首相、ヘン・スィーキェット財務相、チャン・チュンシン貿易産業相、ビビアン・バラクリシュナン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石井国土交通大臣、小野寺防衛大臣、世耕経済産業大臣、岩屋防衛大臣、安倍総理大臣</a:t>
                      </a: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583124866"/>
                  </a:ext>
                </a:extLst>
              </a:tr>
              <a:tr h="19914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ャン・チュンシン貿易産業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サゴス・ズルキフリ環境・水資源相、ウン・エンヘン国防相、ヘン・スイキャット副首相兼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リー・シェンロン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ビビアン・バラクリシュナン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腰内閣府特命担当大臣、石井国土交通大臣、世耕経済産業大臣、岩屋防衛大臣</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81512375"/>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河野行政改革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31421243"/>
                  </a:ext>
                </a:extLst>
              </a:tr>
            </a:tbl>
          </a:graphicData>
        </a:graphic>
      </p:graphicFrame>
      <p:grpSp>
        <p:nvGrpSpPr>
          <p:cNvPr id="18" name="グループ化 17"/>
          <p:cNvGrpSpPr/>
          <p:nvPr/>
        </p:nvGrpSpPr>
        <p:grpSpPr>
          <a:xfrm>
            <a:off x="204505" y="150428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ingapore/data.html#section3</a:t>
            </a:r>
            <a:r>
              <a:rPr lang="ja-JP" altLang="en-US" sz="800" dirty="0"/>
              <a:t>）</a:t>
            </a:r>
          </a:p>
        </p:txBody>
      </p:sp>
      <p:sp>
        <p:nvSpPr>
          <p:cNvPr id="13" name="片側の 2 つの角を丸めた四角形 12"/>
          <p:cNvSpPr/>
          <p:nvPr/>
        </p:nvSpPr>
        <p:spPr>
          <a:xfrm>
            <a:off x="920552" y="199322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シンガポー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99322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391070900"/>
              </p:ext>
            </p:extLst>
          </p:nvPr>
        </p:nvGraphicFramePr>
        <p:xfrm>
          <a:off x="200472" y="2323944"/>
          <a:ext cx="9504000" cy="71169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ー・シェンロン首相（日</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別首脳会議）、ビビアン・バラクリシュナン外相（日</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別首脳会議）</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萩生田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子農林水産大臣、岸田総理大臣、岸防衛大臣、金子総務大臣、林外務大臣、山際内閣府特命担当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ン・キムヨン副首相兼貿易産業大臣（日経「アジアの未来」出席）</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財務大臣、岸田総理大臣、浜田防衛大臣、後藤内閣府特命担当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bl>
          </a:graphicData>
        </a:graphic>
      </p:graphicFrame>
      <p:grpSp>
        <p:nvGrpSpPr>
          <p:cNvPr id="18" name="グループ化 17"/>
          <p:cNvGrpSpPr/>
          <p:nvPr/>
        </p:nvGrpSpPr>
        <p:grpSpPr>
          <a:xfrm>
            <a:off x="204505" y="150428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54881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738486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2" imgW="360" imgH="360" progId="TCLayout.ActiveDocument.1">
                  <p:embed/>
                </p:oleObj>
              </mc:Choice>
              <mc:Fallback>
                <p:oleObj name="think-cellスライド" r:id="rId162" imgW="360" imgH="360" progId="TCLayout.ActiveDocument.1">
                  <p:embed/>
                  <p:pic>
                    <p:nvPicPr>
                      <p:cNvPr id="8" name="Object 7" hidden="1"/>
                      <p:cNvPicPr>
                        <a:picLocks noChangeAspect="1" noChangeArrowheads="1"/>
                      </p:cNvPicPr>
                      <p:nvPr/>
                    </p:nvPicPr>
                    <p:blipFill>
                      <a:blip r:embed="rId1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32469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861905"/>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29849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87456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574.19</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839931"/>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488549"/>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94480.8</a:t>
            </a:r>
            <a:br>
              <a:rPr lang="en-US" altLang="ja-JP" sz="2000" dirty="0">
                <a:solidFill>
                  <a:schemeClr val="tx1"/>
                </a:solidFill>
                <a:highlight>
                  <a:srgbClr val="00FF00"/>
                </a:highlight>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344632" y="1938458"/>
            <a:ext cx="9360894"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353755" y="4444324"/>
            <a:ext cx="9360894"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経済規模は小さい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アジアで最も１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高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世界の経済状況の変化の影響は受け成長率は低下傾向にあるものの、渡航制限の緩和を受けて経済全体は回復・成長方向にある。</a:t>
            </a:r>
          </a:p>
        </p:txBody>
      </p:sp>
      <p:sp>
        <p:nvSpPr>
          <p:cNvPr id="25" name="テキスト ボックス 24"/>
          <p:cNvSpPr txBox="1"/>
          <p:nvPr/>
        </p:nvSpPr>
        <p:spPr>
          <a:xfrm>
            <a:off x="200471" y="6669360"/>
            <a:ext cx="8263235"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Trade And Industry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Monetary Fun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35" name="Chart 234">
            <a:extLst>
              <a:ext uri="{FF2B5EF4-FFF2-40B4-BE49-F238E27FC236}">
                <a16:creationId xmlns:a16="http://schemas.microsoft.com/office/drawing/2014/main" id="{888900C6-1247-4FC7-F1E9-40AA5DF163B6}"/>
              </a:ext>
            </a:extLst>
          </p:cNvPr>
          <p:cNvGraphicFramePr/>
          <p:nvPr>
            <p:custDataLst>
              <p:tags r:id="rId3"/>
            </p:custDataLst>
            <p:extLst>
              <p:ext uri="{D42A27DB-BD31-4B8C-83A1-F6EECF244321}">
                <p14:modId xmlns:p14="http://schemas.microsoft.com/office/powerpoint/2010/main" val="2428368663"/>
              </p:ext>
            </p:extLst>
          </p:nvPr>
        </p:nvGraphicFramePr>
        <p:xfrm>
          <a:off x="327025" y="2235200"/>
          <a:ext cx="8020050" cy="2122488"/>
        </p:xfrm>
        <a:graphic>
          <a:graphicData uri="http://schemas.openxmlformats.org/drawingml/2006/chart">
            <c:chart xmlns:c="http://schemas.openxmlformats.org/drawingml/2006/chart" xmlns:r="http://schemas.openxmlformats.org/officeDocument/2006/relationships" r:id="rId164"/>
          </a:graphicData>
        </a:graphic>
      </p:graphicFrame>
      <p:cxnSp>
        <p:nvCxnSpPr>
          <p:cNvPr id="221" name="Straight Connector 220">
            <a:extLst>
              <a:ext uri="{FF2B5EF4-FFF2-40B4-BE49-F238E27FC236}">
                <a16:creationId xmlns:a16="http://schemas.microsoft.com/office/drawing/2014/main" id="{49B077C5-0C06-FC43-6CC7-EBC252F56BE9}"/>
              </a:ext>
            </a:extLst>
          </p:cNvPr>
          <p:cNvCxnSpPr/>
          <p:nvPr>
            <p:custDataLst>
              <p:tags r:id="rId4"/>
            </p:custDataLst>
          </p:nvPr>
        </p:nvCxnSpPr>
        <p:spPr bwMode="auto">
          <a:xfrm>
            <a:off x="7443788" y="2687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9C1ABDEC-47D8-88C4-B74F-31A02266CD09}"/>
              </a:ext>
            </a:extLst>
          </p:cNvPr>
          <p:cNvCxnSpPr/>
          <p:nvPr>
            <p:custDataLst>
              <p:tags r:id="rId5"/>
            </p:custDataLst>
          </p:nvPr>
        </p:nvCxnSpPr>
        <p:spPr bwMode="auto">
          <a:xfrm>
            <a:off x="6022975" y="3048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E7A8A53A-8EE9-CC55-F7B6-4E2F10813ACB}"/>
              </a:ext>
            </a:extLst>
          </p:cNvPr>
          <p:cNvCxnSpPr/>
          <p:nvPr>
            <p:custDataLst>
              <p:tags r:id="rId6"/>
            </p:custDataLst>
          </p:nvPr>
        </p:nvCxnSpPr>
        <p:spPr bwMode="auto">
          <a:xfrm>
            <a:off x="6307138" y="3051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644E9995-8AF6-E486-2930-5E2F9C11478E}"/>
              </a:ext>
            </a:extLst>
          </p:cNvPr>
          <p:cNvCxnSpPr/>
          <p:nvPr>
            <p:custDataLst>
              <p:tags r:id="rId7"/>
            </p:custDataLst>
          </p:nvPr>
        </p:nvCxnSpPr>
        <p:spPr bwMode="auto">
          <a:xfrm>
            <a:off x="6307138" y="3552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8ED6EF1B-CD5F-4036-B81D-BB0783FF2A0E}"/>
              </a:ext>
            </a:extLst>
          </p:cNvPr>
          <p:cNvCxnSpPr/>
          <p:nvPr>
            <p:custDataLst>
              <p:tags r:id="rId8"/>
            </p:custDataLst>
          </p:nvPr>
        </p:nvCxnSpPr>
        <p:spPr bwMode="auto">
          <a:xfrm>
            <a:off x="7159625" y="2676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7EA1271F-A845-ABB6-1F81-88E732720A9B}"/>
              </a:ext>
            </a:extLst>
          </p:cNvPr>
          <p:cNvCxnSpPr/>
          <p:nvPr>
            <p:custDataLst>
              <p:tags r:id="rId9"/>
            </p:custDataLst>
          </p:nvPr>
        </p:nvCxnSpPr>
        <p:spPr bwMode="auto">
          <a:xfrm>
            <a:off x="7159625" y="3336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DD023601-D774-304A-A36F-9ED3536CE723}"/>
              </a:ext>
            </a:extLst>
          </p:cNvPr>
          <p:cNvCxnSpPr/>
          <p:nvPr>
            <p:custDataLst>
              <p:tags r:id="rId10"/>
            </p:custDataLst>
          </p:nvPr>
        </p:nvCxnSpPr>
        <p:spPr bwMode="auto">
          <a:xfrm>
            <a:off x="7443788" y="351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68DCFF58-7728-4709-5F6C-36DCAE91DEDB}"/>
              </a:ext>
            </a:extLst>
          </p:cNvPr>
          <p:cNvCxnSpPr/>
          <p:nvPr>
            <p:custDataLst>
              <p:tags r:id="rId11"/>
            </p:custDataLst>
          </p:nvPr>
        </p:nvCxnSpPr>
        <p:spPr bwMode="auto">
          <a:xfrm>
            <a:off x="7727950" y="2570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308C88BB-D579-3822-CAA7-725497EBAF8F}"/>
              </a:ext>
            </a:extLst>
          </p:cNvPr>
          <p:cNvCxnSpPr/>
          <p:nvPr>
            <p:custDataLst>
              <p:tags r:id="rId12"/>
            </p:custDataLst>
          </p:nvPr>
        </p:nvCxnSpPr>
        <p:spPr bwMode="auto">
          <a:xfrm>
            <a:off x="7727950" y="3314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4" name="テキスト プレースホルダ 9">
            <a:extLst>
              <a:ext uri="{FF2B5EF4-FFF2-40B4-BE49-F238E27FC236}">
                <a16:creationId xmlns:a16="http://schemas.microsoft.com/office/drawing/2014/main" id="{2F784734-4715-C2B3-2FE1-71A4B7BDA1B6}"/>
              </a:ext>
            </a:extLst>
          </p:cNvPr>
          <p:cNvSpPr>
            <a:spLocks/>
          </p:cNvSpPr>
          <p:nvPr>
            <p:custDataLst>
              <p:tags r:id="rId13"/>
            </p:custDataLst>
          </p:nvPr>
        </p:nvSpPr>
        <p:spPr bwMode="gray">
          <a:xfrm>
            <a:off x="2208213" y="3876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618933-9C71-4D18-8226-D7FC32908840}"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9F259F1B-5A67-CD34-8555-A15B434588BF}"/>
              </a:ext>
            </a:extLst>
          </p:cNvPr>
          <p:cNvSpPr>
            <a:spLocks/>
          </p:cNvSpPr>
          <p:nvPr>
            <p:custDataLst>
              <p:tags r:id="rId14"/>
            </p:custDataLst>
          </p:nvPr>
        </p:nvSpPr>
        <p:spPr bwMode="auto">
          <a:xfrm>
            <a:off x="22542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0D3B8-0B6C-43D0-A240-9D6C7A41C3AE}"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08059527-ACA6-8356-866C-C7967EE3397D}"/>
              </a:ext>
            </a:extLst>
          </p:cNvPr>
          <p:cNvSpPr>
            <a:spLocks/>
          </p:cNvSpPr>
          <p:nvPr>
            <p:custDataLst>
              <p:tags r:id="rId15"/>
            </p:custDataLst>
          </p:nvPr>
        </p:nvSpPr>
        <p:spPr bwMode="gray">
          <a:xfrm>
            <a:off x="2492375" y="3846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142352-841C-46CA-9198-ABDA30171DEB}" type="datetime'''14''''''''''''''''''''''''''''''''''''''''9'">
              <a:rPr lang="en-US" altLang="en-US" sz="1000" smtClean="0">
                <a:effectLst/>
                <a:sym typeface="+mn-lt"/>
              </a:rPr>
              <a:pPr marL="0" lvl="0" indent="0" algn="ctr">
                <a:spcBef>
                  <a:spcPct val="0"/>
                </a:spcBef>
                <a:buNone/>
              </a:pPr>
              <a:t>149</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848E1B24-57CE-90A5-2AF9-DBC7153B987C}"/>
              </a:ext>
            </a:extLst>
          </p:cNvPr>
          <p:cNvSpPr>
            <a:spLocks/>
          </p:cNvSpPr>
          <p:nvPr>
            <p:custDataLst>
              <p:tags r:id="rId16"/>
            </p:custDataLst>
          </p:nvPr>
        </p:nvSpPr>
        <p:spPr bwMode="auto">
          <a:xfrm>
            <a:off x="253841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11F85-EAB0-4F09-BEEE-78C7BCC65615}"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69ECE1EE-0A34-9D83-DC44-F91D360A1334}"/>
              </a:ext>
            </a:extLst>
          </p:cNvPr>
          <p:cNvSpPr>
            <a:spLocks/>
          </p:cNvSpPr>
          <p:nvPr>
            <p:custDataLst>
              <p:tags r:id="rId17"/>
            </p:custDataLst>
          </p:nvPr>
        </p:nvSpPr>
        <p:spPr bwMode="gray">
          <a:xfrm>
            <a:off x="2776538" y="3802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444EC-7F5E-4671-BBAB-DC01443A2E51}" type="datetime'''''''''''''''''''18''''''1'''''''''">
              <a:rPr lang="en-US" altLang="en-US" sz="1000" smtClean="0">
                <a:effectLst/>
                <a:sym typeface="+mn-lt"/>
              </a:rPr>
              <a:pPr marL="0" lvl="0" indent="0" algn="ctr">
                <a:spcBef>
                  <a:spcPct val="0"/>
                </a:spcBef>
                <a:buNone/>
              </a:pPr>
              <a:t>181</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BBCE3FB-E2D8-3E13-A21A-8EDFD830D4FB}"/>
              </a:ext>
            </a:extLst>
          </p:cNvPr>
          <p:cNvSpPr>
            <a:spLocks/>
          </p:cNvSpPr>
          <p:nvPr>
            <p:custDataLst>
              <p:tags r:id="rId18"/>
            </p:custDataLst>
          </p:nvPr>
        </p:nvSpPr>
        <p:spPr bwMode="auto">
          <a:xfrm>
            <a:off x="282257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05102-BA21-463E-B92A-2C8992F301C2}"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B848CAE5-24B3-17A3-9281-AB4987D7B0A7}"/>
              </a:ext>
            </a:extLst>
          </p:cNvPr>
          <p:cNvSpPr>
            <a:spLocks/>
          </p:cNvSpPr>
          <p:nvPr>
            <p:custDataLst>
              <p:tags r:id="rId19"/>
            </p:custDataLst>
          </p:nvPr>
        </p:nvSpPr>
        <p:spPr bwMode="gray">
          <a:xfrm>
            <a:off x="3060700" y="378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D5363-B6F1-44AA-AA89-B24900E01851}" type="datetime'''1''''''''''''''''''''''''''''''''''''''''9''''''4'">
              <a:rPr lang="en-US" altLang="en-US" sz="1000" smtClean="0">
                <a:effectLst/>
                <a:sym typeface="+mn-lt"/>
              </a:rPr>
              <a:pPr marL="0" lvl="0" indent="0" algn="ctr">
                <a:spcBef>
                  <a:spcPct val="0"/>
                </a:spcBef>
                <a:buNone/>
              </a:pPr>
              <a:t>194</a:t>
            </a:fld>
            <a:endParaRPr kumimoji="1" lang="en-US" altLang="ja-JP" sz="1000" dirty="0">
              <a:sym typeface="+mn-lt"/>
            </a:endParaRPr>
          </a:p>
        </p:txBody>
      </p:sp>
      <p:sp useBgFill="1">
        <p:nvSpPr>
          <p:cNvPr id="126" name="テキスト プレースホルダ 9">
            <a:extLst>
              <a:ext uri="{FF2B5EF4-FFF2-40B4-BE49-F238E27FC236}">
                <a16:creationId xmlns:a16="http://schemas.microsoft.com/office/drawing/2014/main" id="{5B607E8B-3D7B-BBAB-7AA8-BD56EACD7A87}"/>
              </a:ext>
            </a:extLst>
          </p:cNvPr>
          <p:cNvSpPr>
            <a:spLocks/>
          </p:cNvSpPr>
          <p:nvPr>
            <p:custDataLst>
              <p:tags r:id="rId20"/>
            </p:custDataLst>
          </p:nvPr>
        </p:nvSpPr>
        <p:spPr bwMode="gray">
          <a:xfrm>
            <a:off x="3078163" y="3357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B6564D-AA3D-4F1D-B842-CDD0E4B254CC}"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202E229B-CCA7-037A-52F7-83A43D5FD2F0}"/>
              </a:ext>
            </a:extLst>
          </p:cNvPr>
          <p:cNvSpPr>
            <a:spLocks/>
          </p:cNvSpPr>
          <p:nvPr>
            <p:custDataLst>
              <p:tags r:id="rId21"/>
            </p:custDataLst>
          </p:nvPr>
        </p:nvSpPr>
        <p:spPr bwMode="auto">
          <a:xfrm>
            <a:off x="310673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0252D-C79C-47E8-94FC-D85162DD46A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663218E8-37A5-51EA-021D-849111E9E374}"/>
              </a:ext>
            </a:extLst>
          </p:cNvPr>
          <p:cNvSpPr>
            <a:spLocks/>
          </p:cNvSpPr>
          <p:nvPr>
            <p:custDataLst>
              <p:tags r:id="rId22"/>
            </p:custDataLst>
          </p:nvPr>
        </p:nvSpPr>
        <p:spPr bwMode="gray">
          <a:xfrm>
            <a:off x="3344863" y="378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DDDBC-6BC4-41D8-B779-E72D28D3D085}" type="datetime'''19''''''''''''4'''''''''''''''''''''''''''''''''''''''''''''">
              <a:rPr lang="en-US" altLang="en-US" sz="1000" smtClean="0">
                <a:effectLst/>
                <a:sym typeface="+mn-lt"/>
              </a:rPr>
              <a:pPr marL="0" lvl="0" indent="0" algn="ctr">
                <a:spcBef>
                  <a:spcPct val="0"/>
                </a:spcBef>
                <a:buNone/>
              </a:pPr>
              <a:t>194</a:t>
            </a:fld>
            <a:endParaRPr kumimoji="1" lang="en-US" altLang="ja-JP" sz="1000" dirty="0">
              <a:sym typeface="+mn-lt"/>
            </a:endParaRPr>
          </a:p>
        </p:txBody>
      </p:sp>
      <p:sp useBgFill="1">
        <p:nvSpPr>
          <p:cNvPr id="127" name="テキスト プレースホルダ 9">
            <a:extLst>
              <a:ext uri="{FF2B5EF4-FFF2-40B4-BE49-F238E27FC236}">
                <a16:creationId xmlns:a16="http://schemas.microsoft.com/office/drawing/2014/main" id="{B5D1BD47-754F-14B3-62CF-136E30468213}"/>
              </a:ext>
            </a:extLst>
          </p:cNvPr>
          <p:cNvSpPr>
            <a:spLocks/>
          </p:cNvSpPr>
          <p:nvPr>
            <p:custDataLst>
              <p:tags r:id="rId23"/>
            </p:custDataLst>
          </p:nvPr>
        </p:nvSpPr>
        <p:spPr bwMode="gray">
          <a:xfrm>
            <a:off x="3362325" y="34909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F6FB6B-CFE9-43C9-9A2B-F75DADF7B253}"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9DFF040B-98C6-56F7-6125-8E92EF7F7040}"/>
              </a:ext>
            </a:extLst>
          </p:cNvPr>
          <p:cNvSpPr>
            <a:spLocks/>
          </p:cNvSpPr>
          <p:nvPr>
            <p:custDataLst>
              <p:tags r:id="rId24"/>
            </p:custDataLst>
          </p:nvPr>
        </p:nvSpPr>
        <p:spPr bwMode="auto">
          <a:xfrm>
            <a:off x="33909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6D46E-B60E-40C5-9491-8C9426327FB8}"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005DEF63-AEC9-9592-B453-DDFDFA3771B8}"/>
              </a:ext>
            </a:extLst>
          </p:cNvPr>
          <p:cNvSpPr>
            <a:spLocks/>
          </p:cNvSpPr>
          <p:nvPr>
            <p:custDataLst>
              <p:tags r:id="rId25"/>
            </p:custDataLst>
          </p:nvPr>
        </p:nvSpPr>
        <p:spPr bwMode="gray">
          <a:xfrm>
            <a:off x="3629025" y="3719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DC86B4-D8B8-49A6-837A-900E40B6B5F2}" type="datetime'''''''''''''2''''''''''''''''''4''''''''''0'">
              <a:rPr lang="en-US" altLang="en-US" sz="1000" smtClean="0">
                <a:effectLst/>
                <a:sym typeface="+mn-lt"/>
              </a:rPr>
              <a:pPr marL="0" lvl="0" indent="0" algn="ctr">
                <a:spcBef>
                  <a:spcPct val="0"/>
                </a:spcBef>
                <a:buNone/>
              </a:pPr>
              <a:t>24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DE1E88CB-3315-6DBB-D183-3B10E9755087}"/>
              </a:ext>
            </a:extLst>
          </p:cNvPr>
          <p:cNvSpPr>
            <a:spLocks/>
          </p:cNvSpPr>
          <p:nvPr>
            <p:custDataLst>
              <p:tags r:id="rId26"/>
            </p:custDataLst>
          </p:nvPr>
        </p:nvSpPr>
        <p:spPr bwMode="auto">
          <a:xfrm>
            <a:off x="36750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E1AF26-80D0-42BC-BA37-8770B664A24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D889FAB2-A624-7718-598A-148E820C92A8}"/>
              </a:ext>
            </a:extLst>
          </p:cNvPr>
          <p:cNvSpPr>
            <a:spLocks/>
          </p:cNvSpPr>
          <p:nvPr>
            <p:custDataLst>
              <p:tags r:id="rId27"/>
            </p:custDataLst>
          </p:nvPr>
        </p:nvSpPr>
        <p:spPr bwMode="gray">
          <a:xfrm>
            <a:off x="3913188" y="3663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F2BB01-0B63-4FCA-872E-1E2A3B3E1E8A}" type="datetime'''''''''''2''''''''7''''''''''''''''9'''''''''''''''''''''''">
              <a:rPr lang="en-US" altLang="en-US" sz="1000" smtClean="0">
                <a:effectLst/>
                <a:sym typeface="+mn-lt"/>
              </a:rPr>
              <a:pPr marL="0" lvl="0" indent="0" algn="ctr">
                <a:spcBef>
                  <a:spcPct val="0"/>
                </a:spcBef>
                <a:buNone/>
              </a:pPr>
              <a:t>279</a:t>
            </a:fld>
            <a:endParaRPr kumimoji="1" lang="en-US" altLang="ja-JP" sz="1000" dirty="0">
              <a:sym typeface="+mn-lt"/>
            </a:endParaRPr>
          </a:p>
        </p:txBody>
      </p:sp>
      <p:sp useBgFill="1">
        <p:nvSpPr>
          <p:cNvPr id="201" name="テキスト プレースホルダ 9">
            <a:extLst>
              <a:ext uri="{FF2B5EF4-FFF2-40B4-BE49-F238E27FC236}">
                <a16:creationId xmlns:a16="http://schemas.microsoft.com/office/drawing/2014/main" id="{28ACAF16-F3A6-5E33-538B-FCE73FE0DD53}"/>
              </a:ext>
            </a:extLst>
          </p:cNvPr>
          <p:cNvSpPr>
            <a:spLocks/>
          </p:cNvSpPr>
          <p:nvPr>
            <p:custDataLst>
              <p:tags r:id="rId28"/>
            </p:custDataLst>
          </p:nvPr>
        </p:nvSpPr>
        <p:spPr bwMode="gray">
          <a:xfrm>
            <a:off x="3930650" y="3022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C3E9F9-159D-4268-B9B2-9A2A84ADAB70}" type="datetime'''6''''''''''.''2'''''''''''''''''''">
              <a:rPr lang="en-US" altLang="en-US" sz="1000" smtClean="0">
                <a:effectLst/>
                <a:sym typeface="+mn-lt"/>
              </a:rPr>
              <a:pPr marL="0" lvl="0" indent="0" algn="ctr">
                <a:spcBef>
                  <a:spcPct val="0"/>
                </a:spcBef>
                <a:buNone/>
              </a:pPr>
              <a:t>6.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433AA77B-2A63-1163-546B-00D6C9C5083B}"/>
              </a:ext>
            </a:extLst>
          </p:cNvPr>
          <p:cNvSpPr>
            <a:spLocks/>
          </p:cNvSpPr>
          <p:nvPr>
            <p:custDataLst>
              <p:tags r:id="rId29"/>
            </p:custDataLst>
          </p:nvPr>
        </p:nvSpPr>
        <p:spPr bwMode="auto">
          <a:xfrm>
            <a:off x="39592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5E032-F046-4532-9747-AA3E9443577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D8FD1A9F-6F21-02F5-DA05-2ADAC9711EA3}"/>
              </a:ext>
            </a:extLst>
          </p:cNvPr>
          <p:cNvSpPr>
            <a:spLocks/>
          </p:cNvSpPr>
          <p:nvPr>
            <p:custDataLst>
              <p:tags r:id="rId30"/>
            </p:custDataLst>
          </p:nvPr>
        </p:nvSpPr>
        <p:spPr bwMode="gray">
          <a:xfrm>
            <a:off x="4197350" y="3641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81087-E7E9-43B9-9F91-3BDCC0051CE0}" type="datetime'''''''''''29''''5'">
              <a:rPr lang="en-US" altLang="en-US" sz="1000" smtClean="0">
                <a:effectLst/>
                <a:sym typeface="+mn-lt"/>
              </a:rPr>
              <a:pPr marL="0" lvl="0" indent="0" algn="ctr">
                <a:spcBef>
                  <a:spcPct val="0"/>
                </a:spcBef>
                <a:buNone/>
              </a:pPr>
              <a:t>29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668F338-7652-178A-F23F-5D37FE66A3AA}"/>
              </a:ext>
            </a:extLst>
          </p:cNvPr>
          <p:cNvSpPr>
            <a:spLocks/>
          </p:cNvSpPr>
          <p:nvPr>
            <p:custDataLst>
              <p:tags r:id="rId31"/>
            </p:custDataLst>
          </p:nvPr>
        </p:nvSpPr>
        <p:spPr bwMode="auto">
          <a:xfrm>
            <a:off x="42433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8B162-3C37-4B45-ABB3-A1886B09DFB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A547A72D-AAAB-E2AC-1296-1F1545D70C50}"/>
              </a:ext>
            </a:extLst>
          </p:cNvPr>
          <p:cNvSpPr>
            <a:spLocks/>
          </p:cNvSpPr>
          <p:nvPr>
            <p:custDataLst>
              <p:tags r:id="rId32"/>
            </p:custDataLst>
          </p:nvPr>
        </p:nvSpPr>
        <p:spPr bwMode="gray">
          <a:xfrm>
            <a:off x="4479925" y="3624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533D1D-1438-4D65-9B34-201E6D09E56A}"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28363D0A-FE9D-2180-5F3D-48C57C76C47C}"/>
              </a:ext>
            </a:extLst>
          </p:cNvPr>
          <p:cNvSpPr>
            <a:spLocks/>
          </p:cNvSpPr>
          <p:nvPr>
            <p:custDataLst>
              <p:tags r:id="rId33"/>
            </p:custDataLst>
          </p:nvPr>
        </p:nvSpPr>
        <p:spPr bwMode="auto">
          <a:xfrm>
            <a:off x="45259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8ED137-F8FD-44FE-B8DB-FA6AF53C2CA5}"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0CBEFD36-4A82-EFD4-4177-7B39B16FC27B}"/>
              </a:ext>
            </a:extLst>
          </p:cNvPr>
          <p:cNvSpPr>
            <a:spLocks/>
          </p:cNvSpPr>
          <p:nvPr>
            <p:custDataLst>
              <p:tags r:id="rId34"/>
            </p:custDataLst>
          </p:nvPr>
        </p:nvSpPr>
        <p:spPr bwMode="gray">
          <a:xfrm>
            <a:off x="4764088" y="3613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82D12B-E985-4BD3-9995-C8A434D8D9FA}" type="datetime'''''''''''''''''''''''''''''''315'''''''''''''''''''''''''''">
              <a:rPr lang="en-US" altLang="en-US" sz="1000" smtClean="0">
                <a:effectLst/>
                <a:sym typeface="+mn-lt"/>
              </a:rPr>
              <a:pPr marL="0" lvl="0" indent="0" algn="ctr">
                <a:spcBef>
                  <a:spcPct val="0"/>
                </a:spcBef>
                <a:buNone/>
              </a:pPr>
              <a:t>315</a:t>
            </a:fld>
            <a:endParaRPr kumimoji="1" lang="en-US" altLang="ja-JP" sz="1000" dirty="0">
              <a:sym typeface="+mn-lt"/>
            </a:endParaRPr>
          </a:p>
        </p:txBody>
      </p:sp>
      <p:sp useBgFill="1">
        <p:nvSpPr>
          <p:cNvPr id="129" name="テキスト プレースホルダ 9">
            <a:extLst>
              <a:ext uri="{FF2B5EF4-FFF2-40B4-BE49-F238E27FC236}">
                <a16:creationId xmlns:a16="http://schemas.microsoft.com/office/drawing/2014/main" id="{EF9703F5-E0A3-E7F9-FAE3-BB70802D94FC}"/>
              </a:ext>
            </a:extLst>
          </p:cNvPr>
          <p:cNvSpPr>
            <a:spLocks/>
          </p:cNvSpPr>
          <p:nvPr>
            <p:custDataLst>
              <p:tags r:id="rId35"/>
            </p:custDataLst>
          </p:nvPr>
        </p:nvSpPr>
        <p:spPr bwMode="gray">
          <a:xfrm>
            <a:off x="4781550" y="3197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4A350F-706A-4E89-9571-8D1BA4952AC8}"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E474393-71DE-0171-24B6-C8377A28307A}"/>
              </a:ext>
            </a:extLst>
          </p:cNvPr>
          <p:cNvSpPr>
            <a:spLocks/>
          </p:cNvSpPr>
          <p:nvPr>
            <p:custDataLst>
              <p:tags r:id="rId36"/>
            </p:custDataLst>
          </p:nvPr>
        </p:nvSpPr>
        <p:spPr bwMode="auto">
          <a:xfrm>
            <a:off x="48101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620E3-CF94-468F-BEB6-887E0586F62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ED792B5F-FEDB-FEEC-6E24-00C6CA372ACA}"/>
              </a:ext>
            </a:extLst>
          </p:cNvPr>
          <p:cNvSpPr>
            <a:spLocks/>
          </p:cNvSpPr>
          <p:nvPr>
            <p:custDataLst>
              <p:tags r:id="rId37"/>
            </p:custDataLst>
          </p:nvPr>
        </p:nvSpPr>
        <p:spPr bwMode="gray">
          <a:xfrm>
            <a:off x="1924050" y="3894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52704-5E94-4365-83CF-094D1137F8DB}"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useBgFill="1">
        <p:nvSpPr>
          <p:cNvPr id="130" name="テキスト プレースホルダ 9">
            <a:extLst>
              <a:ext uri="{FF2B5EF4-FFF2-40B4-BE49-F238E27FC236}">
                <a16:creationId xmlns:a16="http://schemas.microsoft.com/office/drawing/2014/main" id="{050488F0-7AD2-3AF3-301F-083B38D5B12E}"/>
              </a:ext>
            </a:extLst>
          </p:cNvPr>
          <p:cNvSpPr>
            <a:spLocks/>
          </p:cNvSpPr>
          <p:nvPr>
            <p:custDataLst>
              <p:tags r:id="rId38"/>
            </p:custDataLst>
          </p:nvPr>
        </p:nvSpPr>
        <p:spPr bwMode="gray">
          <a:xfrm>
            <a:off x="5065713" y="32718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3239D1-5EA9-4073-8C79-6DE466AC5B3A}"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55DBB128-FAA6-6CFF-E4D9-BADD1CD6FBD5}"/>
              </a:ext>
            </a:extLst>
          </p:cNvPr>
          <p:cNvSpPr>
            <a:spLocks/>
          </p:cNvSpPr>
          <p:nvPr>
            <p:custDataLst>
              <p:tags r:id="rId39"/>
            </p:custDataLst>
          </p:nvPr>
        </p:nvSpPr>
        <p:spPr bwMode="auto">
          <a:xfrm>
            <a:off x="50942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638685-09DF-4537-928F-D7BE730271F6}"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35A0EC01-098C-5214-2823-27DDBD20D0DB}"/>
              </a:ext>
            </a:extLst>
          </p:cNvPr>
          <p:cNvSpPr>
            <a:spLocks/>
          </p:cNvSpPr>
          <p:nvPr>
            <p:custDataLst>
              <p:tags r:id="rId40"/>
            </p:custDataLst>
          </p:nvPr>
        </p:nvSpPr>
        <p:spPr bwMode="gray">
          <a:xfrm>
            <a:off x="5332413" y="360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6F324-5FD1-4E78-B117-093C994F5077}" type="datetime'''''''''''3''''''''''''''''''2''''''''''''''''''''''''''''0'''">
              <a:rPr lang="en-US" altLang="en-US" sz="1000" smtClean="0">
                <a:effectLst/>
                <a:sym typeface="+mn-lt"/>
              </a:rPr>
              <a:pPr marL="0" lvl="0" indent="0" algn="ctr">
                <a:spcBef>
                  <a:spcPct val="0"/>
                </a:spcBef>
                <a:buNone/>
              </a:pPr>
              <a:t>320</a:t>
            </a:fld>
            <a:endParaRPr kumimoji="1" lang="en-US" altLang="ja-JP" sz="1000" dirty="0">
              <a:sym typeface="+mn-lt"/>
            </a:endParaRPr>
          </a:p>
        </p:txBody>
      </p:sp>
      <p:sp useBgFill="1">
        <p:nvSpPr>
          <p:cNvPr id="131" name="テキスト プレースホルダ 9">
            <a:extLst>
              <a:ext uri="{FF2B5EF4-FFF2-40B4-BE49-F238E27FC236}">
                <a16:creationId xmlns:a16="http://schemas.microsoft.com/office/drawing/2014/main" id="{0F87EA01-7246-AD7D-48C8-55E13F07C79A}"/>
              </a:ext>
            </a:extLst>
          </p:cNvPr>
          <p:cNvSpPr>
            <a:spLocks/>
          </p:cNvSpPr>
          <p:nvPr>
            <p:custDataLst>
              <p:tags r:id="rId41"/>
            </p:custDataLst>
          </p:nvPr>
        </p:nvSpPr>
        <p:spPr bwMode="gray">
          <a:xfrm>
            <a:off x="5349875" y="3211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0C633-285D-49F6-9A48-B19D02735F1B}"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F07C6058-02BE-38B3-BCC8-961E6B049F16}"/>
              </a:ext>
            </a:extLst>
          </p:cNvPr>
          <p:cNvSpPr>
            <a:spLocks/>
          </p:cNvSpPr>
          <p:nvPr>
            <p:custDataLst>
              <p:tags r:id="rId42"/>
            </p:custDataLst>
          </p:nvPr>
        </p:nvSpPr>
        <p:spPr bwMode="auto">
          <a:xfrm>
            <a:off x="53784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008C0-12E7-4B49-BBAD-D3EEA248C7F7}"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3C56E389-B130-B2D6-D5C0-30C50C724A04}"/>
              </a:ext>
            </a:extLst>
          </p:cNvPr>
          <p:cNvSpPr>
            <a:spLocks/>
          </p:cNvSpPr>
          <p:nvPr>
            <p:custDataLst>
              <p:tags r:id="rId43"/>
            </p:custDataLst>
          </p:nvPr>
        </p:nvSpPr>
        <p:spPr bwMode="gray">
          <a:xfrm>
            <a:off x="5616575" y="35734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19199-2AB4-430A-921A-1DE1A6C1AAB1}"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useBgFill="1">
        <p:nvSpPr>
          <p:cNvPr id="132" name="テキスト プレースホルダ 9">
            <a:extLst>
              <a:ext uri="{FF2B5EF4-FFF2-40B4-BE49-F238E27FC236}">
                <a16:creationId xmlns:a16="http://schemas.microsoft.com/office/drawing/2014/main" id="{A364B3B4-1AE6-C562-1306-DC8E66C1DCF1}"/>
              </a:ext>
            </a:extLst>
          </p:cNvPr>
          <p:cNvSpPr>
            <a:spLocks/>
          </p:cNvSpPr>
          <p:nvPr>
            <p:custDataLst>
              <p:tags r:id="rId44"/>
            </p:custDataLst>
          </p:nvPr>
        </p:nvSpPr>
        <p:spPr bwMode="gray">
          <a:xfrm>
            <a:off x="5634038" y="31559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25B8B-6AA3-40EF-9D50-D7B355999601}"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9C354DF0-6386-BE80-AF85-48A30936C775}"/>
              </a:ext>
            </a:extLst>
          </p:cNvPr>
          <p:cNvSpPr>
            <a:spLocks/>
          </p:cNvSpPr>
          <p:nvPr>
            <p:custDataLst>
              <p:tags r:id="rId45"/>
            </p:custDataLst>
          </p:nvPr>
        </p:nvSpPr>
        <p:spPr bwMode="auto">
          <a:xfrm>
            <a:off x="566261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0F87A-561F-4DB5-ACC6-E8CA66BAE153}"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4" name="Text Placeholder 12"/>
          <p:cNvSpPr>
            <a:spLocks/>
          </p:cNvSpPr>
          <p:nvPr>
            <p:custDataLst>
              <p:tags r:id="rId46"/>
            </p:custDataLst>
          </p:nvPr>
        </p:nvSpPr>
        <p:spPr bwMode="auto">
          <a:xfrm>
            <a:off x="430213" y="23368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133" name="テキスト プレースホルダ 9">
            <a:extLst>
              <a:ext uri="{FF2B5EF4-FFF2-40B4-BE49-F238E27FC236}">
                <a16:creationId xmlns:a16="http://schemas.microsoft.com/office/drawing/2014/main" id="{1AAD618B-7BD8-2BDA-CB5D-B852C1F04AC0}"/>
              </a:ext>
            </a:extLst>
          </p:cNvPr>
          <p:cNvSpPr>
            <a:spLocks/>
          </p:cNvSpPr>
          <p:nvPr>
            <p:custDataLst>
              <p:tags r:id="rId47"/>
            </p:custDataLst>
          </p:nvPr>
        </p:nvSpPr>
        <p:spPr bwMode="gray">
          <a:xfrm>
            <a:off x="5918200" y="32353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B9CA0-57C3-4AC6-960D-293E9C943959}"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48D8B361-9931-8349-C70E-164D0E1EA1B6}"/>
              </a:ext>
            </a:extLst>
          </p:cNvPr>
          <p:cNvSpPr>
            <a:spLocks/>
          </p:cNvSpPr>
          <p:nvPr>
            <p:custDataLst>
              <p:tags r:id="rId48"/>
            </p:custDataLst>
          </p:nvPr>
        </p:nvSpPr>
        <p:spPr bwMode="auto">
          <a:xfrm>
            <a:off x="594677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D744C-9BEC-43F9-8B78-F69F3B04E38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2" name="Text Placeholder 12"/>
          <p:cNvSpPr>
            <a:spLocks/>
          </p:cNvSpPr>
          <p:nvPr>
            <p:custDataLst>
              <p:tags r:id="rId49"/>
            </p:custDataLst>
          </p:nvPr>
        </p:nvSpPr>
        <p:spPr bwMode="auto">
          <a:xfrm>
            <a:off x="7989888" y="22653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34" name="テキスト プレースホルダ 9">
            <a:extLst>
              <a:ext uri="{FF2B5EF4-FFF2-40B4-BE49-F238E27FC236}">
                <a16:creationId xmlns:a16="http://schemas.microsoft.com/office/drawing/2014/main" id="{5B03E9FD-300D-1959-5594-E1757F146576}"/>
              </a:ext>
            </a:extLst>
          </p:cNvPr>
          <p:cNvSpPr>
            <a:spLocks/>
          </p:cNvSpPr>
          <p:nvPr>
            <p:custDataLst>
              <p:tags r:id="rId50"/>
            </p:custDataLst>
          </p:nvPr>
        </p:nvSpPr>
        <p:spPr bwMode="gray">
          <a:xfrm>
            <a:off x="6202363" y="34004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B34E28-1E4D-46E8-8305-2B18AF99ED04}"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C7FDDEF8-D134-0B60-CB1F-6932CF487D94}"/>
              </a:ext>
            </a:extLst>
          </p:cNvPr>
          <p:cNvSpPr>
            <a:spLocks/>
          </p:cNvSpPr>
          <p:nvPr>
            <p:custDataLst>
              <p:tags r:id="rId51"/>
            </p:custDataLst>
          </p:nvPr>
        </p:nvSpPr>
        <p:spPr bwMode="auto">
          <a:xfrm>
            <a:off x="763588" y="4217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97C1D9-93DA-4432-9558-D6BD47CEA184}"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9EF32C78-CBE1-A0EF-5F9C-9CDFDA5E4ABF}"/>
              </a:ext>
            </a:extLst>
          </p:cNvPr>
          <p:cNvSpPr>
            <a:spLocks/>
          </p:cNvSpPr>
          <p:nvPr>
            <p:custDataLst>
              <p:tags r:id="rId52"/>
            </p:custDataLst>
          </p:nvPr>
        </p:nvSpPr>
        <p:spPr bwMode="auto">
          <a:xfrm>
            <a:off x="623093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127B77-5DDA-4088-B256-CC46884532D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F1E27FCC-4EBE-B978-C323-0BCE8D0C8414}"/>
              </a:ext>
            </a:extLst>
          </p:cNvPr>
          <p:cNvSpPr>
            <a:spLocks/>
          </p:cNvSpPr>
          <p:nvPr>
            <p:custDataLst>
              <p:tags r:id="rId53"/>
            </p:custDataLst>
          </p:nvPr>
        </p:nvSpPr>
        <p:spPr bwMode="gray">
          <a:xfrm>
            <a:off x="6469063" y="3565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F1B362-EFD1-420F-AC3B-200A0134F4C6}" type="datetime'''''3''''''''''''4''''''''''''''''''''''''''''''''''''9'">
              <a:rPr lang="en-US" altLang="en-US" sz="1000" smtClean="0">
                <a:effectLst/>
                <a:sym typeface="+mn-lt"/>
              </a:rPr>
              <a:pPr marL="0" lvl="0" indent="0" algn="ctr">
                <a:spcBef>
                  <a:spcPct val="0"/>
                </a:spcBef>
                <a:buNone/>
              </a:pPr>
              <a:t>349</a:t>
            </a:fld>
            <a:endParaRPr kumimoji="1" lang="en-US" altLang="ja-JP" sz="1000" dirty="0">
              <a:sym typeface="+mn-lt"/>
            </a:endParaRPr>
          </a:p>
        </p:txBody>
      </p:sp>
      <p:sp useBgFill="1">
        <p:nvSpPr>
          <p:cNvPr id="124" name="テキスト プレースホルダ 9">
            <a:extLst>
              <a:ext uri="{FF2B5EF4-FFF2-40B4-BE49-F238E27FC236}">
                <a16:creationId xmlns:a16="http://schemas.microsoft.com/office/drawing/2014/main" id="{B7420D56-C695-3234-D99A-624E6747EACE}"/>
              </a:ext>
            </a:extLst>
          </p:cNvPr>
          <p:cNvSpPr>
            <a:spLocks/>
          </p:cNvSpPr>
          <p:nvPr>
            <p:custDataLst>
              <p:tags r:id="rId54"/>
            </p:custDataLst>
          </p:nvPr>
        </p:nvSpPr>
        <p:spPr bwMode="gray">
          <a:xfrm>
            <a:off x="1068388" y="35829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996B3-21D3-4EDA-BEB9-8288AEF23BE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BAEC1840-317A-FFD2-E30D-4CA4703A77A7}"/>
              </a:ext>
            </a:extLst>
          </p:cNvPr>
          <p:cNvSpPr>
            <a:spLocks/>
          </p:cNvSpPr>
          <p:nvPr>
            <p:custDataLst>
              <p:tags r:id="rId55"/>
            </p:custDataLst>
          </p:nvPr>
        </p:nvSpPr>
        <p:spPr bwMode="auto">
          <a:xfrm>
            <a:off x="65151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C4F641-D6E9-4E17-995C-16198096E5B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9728DA08-AF01-8BF1-2A05-88588B7E351C}"/>
              </a:ext>
            </a:extLst>
          </p:cNvPr>
          <p:cNvSpPr>
            <a:spLocks/>
          </p:cNvSpPr>
          <p:nvPr>
            <p:custDataLst>
              <p:tags r:id="rId56"/>
            </p:custDataLst>
          </p:nvPr>
        </p:nvSpPr>
        <p:spPr bwMode="gray">
          <a:xfrm>
            <a:off x="6753225"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63C5FC-30ED-4F69-90D8-669F1D196913}" type="datetime'''''''''4''''''3''7'''''''''''''''''''''''''''''''''''''''''">
              <a:rPr lang="en-US" altLang="en-US" sz="1000" smtClean="0">
                <a:effectLst/>
                <a:sym typeface="+mn-lt"/>
              </a:rPr>
              <a:pPr marL="0" lvl="0" indent="0" algn="ctr">
                <a:spcBef>
                  <a:spcPct val="0"/>
                </a:spcBef>
                <a:buNone/>
              </a:pPr>
              <a:t>437</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838C95C3-3E2B-74E7-7ED9-FFE1FBCEB8FF}"/>
              </a:ext>
            </a:extLst>
          </p:cNvPr>
          <p:cNvSpPr>
            <a:spLocks/>
          </p:cNvSpPr>
          <p:nvPr>
            <p:custDataLst>
              <p:tags r:id="rId57"/>
            </p:custDataLst>
          </p:nvPr>
        </p:nvSpPr>
        <p:spPr bwMode="auto">
          <a:xfrm>
            <a:off x="67992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77ACD-905C-4BD8-937F-61C9D462971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67108949-D123-EE63-6B0A-FA8C1153536D}"/>
              </a:ext>
            </a:extLst>
          </p:cNvPr>
          <p:cNvSpPr>
            <a:spLocks/>
          </p:cNvSpPr>
          <p:nvPr>
            <p:custDataLst>
              <p:tags r:id="rId58"/>
            </p:custDataLst>
          </p:nvPr>
        </p:nvSpPr>
        <p:spPr bwMode="auto">
          <a:xfrm>
            <a:off x="11176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E606E-B678-450E-BC1C-04184016B5E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E6C36749-3E8D-BA89-8D8B-A0DE1A06EE6F}"/>
              </a:ext>
            </a:extLst>
          </p:cNvPr>
          <p:cNvSpPr>
            <a:spLocks/>
          </p:cNvSpPr>
          <p:nvPr>
            <p:custDataLst>
              <p:tags r:id="rId59"/>
            </p:custDataLst>
          </p:nvPr>
        </p:nvSpPr>
        <p:spPr bwMode="gray">
          <a:xfrm>
            <a:off x="7054850" y="31845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7D133-3C44-4FC9-9AC9-D1AEA77BCEF6}"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4E3164C6-1354-A7E0-DE92-FA9C55F1063B}"/>
              </a:ext>
            </a:extLst>
          </p:cNvPr>
          <p:cNvSpPr>
            <a:spLocks/>
          </p:cNvSpPr>
          <p:nvPr>
            <p:custDataLst>
              <p:tags r:id="rId60"/>
            </p:custDataLst>
          </p:nvPr>
        </p:nvSpPr>
        <p:spPr bwMode="auto">
          <a:xfrm>
            <a:off x="14017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3CE10-1D21-4210-8B67-9C63F38C3A7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7731E42E-412E-EAC1-CEAD-4DDC836B43C8}"/>
              </a:ext>
            </a:extLst>
          </p:cNvPr>
          <p:cNvSpPr>
            <a:spLocks/>
          </p:cNvSpPr>
          <p:nvPr>
            <p:custDataLst>
              <p:tags r:id="rId61"/>
            </p:custDataLst>
          </p:nvPr>
        </p:nvSpPr>
        <p:spPr bwMode="auto">
          <a:xfrm>
            <a:off x="70834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B1F989-69A6-4451-8B69-9B689400C80F}"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FB6C41B2-D39A-3D31-FEC0-8A67DC36D784}"/>
              </a:ext>
            </a:extLst>
          </p:cNvPr>
          <p:cNvSpPr>
            <a:spLocks/>
          </p:cNvSpPr>
          <p:nvPr>
            <p:custDataLst>
              <p:tags r:id="rId62"/>
            </p:custDataLst>
          </p:nvPr>
        </p:nvSpPr>
        <p:spPr bwMode="gray">
          <a:xfrm>
            <a:off x="5048250" y="3622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1321F-B953-478A-8678-BE8D5520F45B}"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4192C9C2-EEB2-F1E9-3111-20A1172453AA}"/>
              </a:ext>
            </a:extLst>
          </p:cNvPr>
          <p:cNvSpPr>
            <a:spLocks/>
          </p:cNvSpPr>
          <p:nvPr>
            <p:custDataLst>
              <p:tags r:id="rId63"/>
            </p:custDataLst>
          </p:nvPr>
        </p:nvSpPr>
        <p:spPr bwMode="gray">
          <a:xfrm>
            <a:off x="7339013" y="33607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0133C-9066-4726-B083-07BAF4579AFB}"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25" name="テキスト プレースホルダ 9">
            <a:extLst>
              <a:ext uri="{FF2B5EF4-FFF2-40B4-BE49-F238E27FC236}">
                <a16:creationId xmlns:a16="http://schemas.microsoft.com/office/drawing/2014/main" id="{A42919D5-3D65-F2BD-E5CC-3A497901C6EA}"/>
              </a:ext>
            </a:extLst>
          </p:cNvPr>
          <p:cNvSpPr>
            <a:spLocks/>
          </p:cNvSpPr>
          <p:nvPr>
            <p:custDataLst>
              <p:tags r:id="rId64"/>
            </p:custDataLst>
          </p:nvPr>
        </p:nvSpPr>
        <p:spPr bwMode="gray">
          <a:xfrm>
            <a:off x="1657350" y="3151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90A3CF-B0A1-4AB6-B723-C94546C3416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676F755E-ECFA-523A-D278-62E95DC63ED9}"/>
              </a:ext>
            </a:extLst>
          </p:cNvPr>
          <p:cNvSpPr>
            <a:spLocks/>
          </p:cNvSpPr>
          <p:nvPr>
            <p:custDataLst>
              <p:tags r:id="rId65"/>
            </p:custDataLst>
          </p:nvPr>
        </p:nvSpPr>
        <p:spPr bwMode="auto">
          <a:xfrm>
            <a:off x="73675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92281-7AE8-49DE-89C8-5622B2942D9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D1A979F0-E0DB-38A7-C867-C0645C0E9AC0}"/>
              </a:ext>
            </a:extLst>
          </p:cNvPr>
          <p:cNvSpPr>
            <a:spLocks/>
          </p:cNvSpPr>
          <p:nvPr>
            <p:custDataLst>
              <p:tags r:id="rId66"/>
            </p:custDataLst>
          </p:nvPr>
        </p:nvSpPr>
        <p:spPr bwMode="auto">
          <a:xfrm>
            <a:off x="16859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4BFFB8-A2F2-412A-8C14-8924E71B257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45784878-A380-833B-F781-F36A836F40FD}"/>
              </a:ext>
            </a:extLst>
          </p:cNvPr>
          <p:cNvSpPr>
            <a:spLocks/>
          </p:cNvSpPr>
          <p:nvPr>
            <p:custDataLst>
              <p:tags r:id="rId67"/>
            </p:custDataLst>
          </p:nvPr>
        </p:nvSpPr>
        <p:spPr bwMode="gray">
          <a:xfrm>
            <a:off x="7623175" y="316230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40005B-1D42-414E-ABB0-A7A25927C26A}"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47A0E90E-F115-AC19-69B6-71690C645047}"/>
              </a:ext>
            </a:extLst>
          </p:cNvPr>
          <p:cNvSpPr>
            <a:spLocks/>
          </p:cNvSpPr>
          <p:nvPr>
            <p:custDataLst>
              <p:tags r:id="rId68"/>
            </p:custDataLst>
          </p:nvPr>
        </p:nvSpPr>
        <p:spPr bwMode="auto">
          <a:xfrm>
            <a:off x="19700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7FF58-E72E-446A-88B0-FFF98A243CD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8B752A05-5FFF-0F25-2F22-41AE19564682}"/>
              </a:ext>
            </a:extLst>
          </p:cNvPr>
          <p:cNvSpPr>
            <a:spLocks/>
          </p:cNvSpPr>
          <p:nvPr>
            <p:custDataLst>
              <p:tags r:id="rId69"/>
            </p:custDataLst>
          </p:nvPr>
        </p:nvSpPr>
        <p:spPr bwMode="auto">
          <a:xfrm>
            <a:off x="76517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DA48B4-CB53-48E5-B199-88A822B8AFBA}"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B14B2854-AE90-AFAD-87AB-9B440FA0E320}"/>
              </a:ext>
            </a:extLst>
          </p:cNvPr>
          <p:cNvSpPr>
            <a:spLocks/>
          </p:cNvSpPr>
          <p:nvPr>
            <p:custDataLst>
              <p:tags r:id="rId70"/>
            </p:custDataLst>
          </p:nvPr>
        </p:nvSpPr>
        <p:spPr bwMode="gray">
          <a:xfrm>
            <a:off x="6465888" y="379412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043FF-88E5-432C-A947-0B767F9F3D07}"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3" name="Rectangle 2"/>
          <p:cNvSpPr/>
          <p:nvPr>
            <p:custDataLst>
              <p:tags r:id="rId71"/>
            </p:custDataLst>
          </p:nvPr>
        </p:nvSpPr>
        <p:spPr bwMode="gray">
          <a:xfrm>
            <a:off x="8328025" y="373062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a:cxnSpLocks/>
          </p:cNvCxnSpPr>
          <p:nvPr>
            <p:custDataLst>
              <p:tags r:id="rId72"/>
            </p:custDataLst>
          </p:nvPr>
        </p:nvCxnSpPr>
        <p:spPr bwMode="gray">
          <a:xfrm>
            <a:off x="8247063" y="400050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73"/>
            </p:custDataLst>
          </p:nvPr>
        </p:nvSpPr>
        <p:spPr bwMode="gray">
          <a:xfrm>
            <a:off x="8335963" y="3962400"/>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74"/>
            </p:custDataLst>
          </p:nvPr>
        </p:nvSpPr>
        <p:spPr bwMode="auto">
          <a:xfrm>
            <a:off x="8558213" y="3725863"/>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p:cNvSpPr>
          <p:nvPr>
            <p:custDataLst>
              <p:tags r:id="rId75"/>
            </p:custDataLst>
          </p:nvPr>
        </p:nvSpPr>
        <p:spPr bwMode="auto">
          <a:xfrm>
            <a:off x="8558213" y="3929063"/>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423" name="Chart 422">
            <a:extLst>
              <a:ext uri="{FF2B5EF4-FFF2-40B4-BE49-F238E27FC236}">
                <a16:creationId xmlns:a16="http://schemas.microsoft.com/office/drawing/2014/main" id="{E80B9421-8788-A465-443D-23D916DF5970}"/>
              </a:ext>
            </a:extLst>
          </p:cNvPr>
          <p:cNvGraphicFramePr/>
          <p:nvPr>
            <p:custDataLst>
              <p:tags r:id="rId76"/>
            </p:custDataLst>
            <p:extLst>
              <p:ext uri="{D42A27DB-BD31-4B8C-83A1-F6EECF244321}">
                <p14:modId xmlns:p14="http://schemas.microsoft.com/office/powerpoint/2010/main" val="3883487925"/>
              </p:ext>
            </p:extLst>
          </p:nvPr>
        </p:nvGraphicFramePr>
        <p:xfrm>
          <a:off x="652463" y="5002213"/>
          <a:ext cx="7300912" cy="1462087"/>
        </p:xfrm>
        <a:graphic>
          <a:graphicData uri="http://schemas.openxmlformats.org/drawingml/2006/chart">
            <c:chart xmlns:c="http://schemas.openxmlformats.org/drawingml/2006/chart" xmlns:r="http://schemas.openxmlformats.org/officeDocument/2006/relationships" r:id="rId165"/>
          </a:graphicData>
        </a:graphic>
      </p:graphicFrame>
      <p:sp>
        <p:nvSpPr>
          <p:cNvPr id="418" name="テキスト プレースホルダ 9">
            <a:extLst>
              <a:ext uri="{FF2B5EF4-FFF2-40B4-BE49-F238E27FC236}">
                <a16:creationId xmlns:a16="http://schemas.microsoft.com/office/drawing/2014/main" id="{41A33C51-731D-FFD9-52B3-410C7D61D9E0}"/>
              </a:ext>
            </a:extLst>
          </p:cNvPr>
          <p:cNvSpPr>
            <a:spLocks/>
          </p:cNvSpPr>
          <p:nvPr>
            <p:custDataLst>
              <p:tags r:id="rId77"/>
            </p:custDataLst>
          </p:nvPr>
        </p:nvSpPr>
        <p:spPr bwMode="gray">
          <a:xfrm>
            <a:off x="396875" y="5008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8724053-1DBB-4454-8DB2-A5FB8E628967}" type="datetime'''''''''''''1''''2''''''''''''0'''">
              <a:rPr lang="en-US" altLang="en-US" sz="1000" smtClean="0">
                <a:effectLst/>
                <a:sym typeface="+mn-lt"/>
              </a:rPr>
              <a:pPr marL="0" lvl="0" indent="0" algn="r">
                <a:spcBef>
                  <a:spcPct val="0"/>
                </a:spcBef>
                <a:buNone/>
              </a:pPr>
              <a:t>120</a:t>
            </a:fld>
            <a:endParaRPr kumimoji="1" lang="en-US" altLang="ja-JP" sz="1000" dirty="0">
              <a:sym typeface="+mn-lt"/>
            </a:endParaRPr>
          </a:p>
        </p:txBody>
      </p:sp>
      <p:sp>
        <p:nvSpPr>
          <p:cNvPr id="412" name="テキスト プレースホルダ 9">
            <a:extLst>
              <a:ext uri="{FF2B5EF4-FFF2-40B4-BE49-F238E27FC236}">
                <a16:creationId xmlns:a16="http://schemas.microsoft.com/office/drawing/2014/main" id="{8FA88B19-F2E3-B708-2218-B3D7179EC857}"/>
              </a:ext>
            </a:extLst>
          </p:cNvPr>
          <p:cNvSpPr>
            <a:spLocks/>
          </p:cNvSpPr>
          <p:nvPr>
            <p:custDataLst>
              <p:tags r:id="rId78"/>
            </p:custDataLst>
          </p:nvPr>
        </p:nvSpPr>
        <p:spPr bwMode="gray">
          <a:xfrm>
            <a:off x="536575" y="6305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551867-34C4-46D6-8F48-6C80741F81B4}"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413" name="テキスト プレースホルダ 9">
            <a:extLst>
              <a:ext uri="{FF2B5EF4-FFF2-40B4-BE49-F238E27FC236}">
                <a16:creationId xmlns:a16="http://schemas.microsoft.com/office/drawing/2014/main" id="{5BDDD04D-2885-CE03-1700-F3E6CD3FFD3C}"/>
              </a:ext>
            </a:extLst>
          </p:cNvPr>
          <p:cNvSpPr>
            <a:spLocks/>
          </p:cNvSpPr>
          <p:nvPr>
            <p:custDataLst>
              <p:tags r:id="rId79"/>
            </p:custDataLst>
          </p:nvPr>
        </p:nvSpPr>
        <p:spPr bwMode="gray">
          <a:xfrm>
            <a:off x="466725" y="6089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FA177C3-3260-46FA-9DDF-5123DBF08EB5}"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414" name="テキスト プレースホルダ 9">
            <a:extLst>
              <a:ext uri="{FF2B5EF4-FFF2-40B4-BE49-F238E27FC236}">
                <a16:creationId xmlns:a16="http://schemas.microsoft.com/office/drawing/2014/main" id="{65893D8B-B9E4-4E71-47DD-3C9C4C28C424}"/>
              </a:ext>
            </a:extLst>
          </p:cNvPr>
          <p:cNvSpPr>
            <a:spLocks/>
          </p:cNvSpPr>
          <p:nvPr>
            <p:custDataLst>
              <p:tags r:id="rId80"/>
            </p:custDataLst>
          </p:nvPr>
        </p:nvSpPr>
        <p:spPr bwMode="gray">
          <a:xfrm>
            <a:off x="466725" y="5873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81A229-77E6-496D-8674-D2D341F8DDC5}"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415" name="テキスト プレースホルダ 9">
            <a:extLst>
              <a:ext uri="{FF2B5EF4-FFF2-40B4-BE49-F238E27FC236}">
                <a16:creationId xmlns:a16="http://schemas.microsoft.com/office/drawing/2014/main" id="{4DF8F2B0-39CC-AEF0-0753-7480BABCCC6E}"/>
              </a:ext>
            </a:extLst>
          </p:cNvPr>
          <p:cNvSpPr>
            <a:spLocks/>
          </p:cNvSpPr>
          <p:nvPr>
            <p:custDataLst>
              <p:tags r:id="rId81"/>
            </p:custDataLst>
          </p:nvPr>
        </p:nvSpPr>
        <p:spPr bwMode="gray">
          <a:xfrm>
            <a:off x="466725" y="565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161E83-BD16-43A4-8187-063BEAC3E345}" type="datetime'''''''''''''''''''''''''''6''''''''''''''0'''''''''''''''''''">
              <a:rPr lang="en-US" altLang="en-US" sz="1000" smtClean="0">
                <a:effectLst/>
                <a:sym typeface="+mn-lt"/>
              </a:rPr>
              <a:pPr marL="0" lvl="0" indent="0" algn="r">
                <a:spcBef>
                  <a:spcPct val="0"/>
                </a:spcBef>
                <a:buNone/>
              </a:pPr>
              <a:t>60</a:t>
            </a:fld>
            <a:endParaRPr kumimoji="1" lang="en-US" altLang="ja-JP" sz="1000" dirty="0">
              <a:sym typeface="+mn-lt"/>
            </a:endParaRPr>
          </a:p>
        </p:txBody>
      </p:sp>
      <p:sp>
        <p:nvSpPr>
          <p:cNvPr id="416" name="テキスト プレースホルダ 9">
            <a:extLst>
              <a:ext uri="{FF2B5EF4-FFF2-40B4-BE49-F238E27FC236}">
                <a16:creationId xmlns:a16="http://schemas.microsoft.com/office/drawing/2014/main" id="{18F030ED-0022-14BC-EF5A-B5815BF1CEF4}"/>
              </a:ext>
            </a:extLst>
          </p:cNvPr>
          <p:cNvSpPr>
            <a:spLocks/>
          </p:cNvSpPr>
          <p:nvPr>
            <p:custDataLst>
              <p:tags r:id="rId82"/>
            </p:custDataLst>
          </p:nvPr>
        </p:nvSpPr>
        <p:spPr bwMode="gray">
          <a:xfrm>
            <a:off x="466725" y="5440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B2D530-0503-4F5E-A17B-3596D750B5EA}" type="datetime'''''''''''''8''''''''0'''''''''''''''''''''''''''''''''">
              <a:rPr lang="en-US" altLang="en-US" sz="1000" smtClean="0">
                <a:effectLst/>
                <a:sym typeface="+mn-lt"/>
              </a:rPr>
              <a:pPr marL="0" lvl="0" indent="0" algn="r">
                <a:spcBef>
                  <a:spcPct val="0"/>
                </a:spcBef>
                <a:buNone/>
              </a:pPr>
              <a:t>80</a:t>
            </a:fld>
            <a:endParaRPr kumimoji="1" lang="en-US" altLang="ja-JP" sz="1000" dirty="0">
              <a:sym typeface="+mn-lt"/>
            </a:endParaRPr>
          </a:p>
        </p:txBody>
      </p:sp>
      <p:sp>
        <p:nvSpPr>
          <p:cNvPr id="417" name="テキスト プレースホルダ 9">
            <a:extLst>
              <a:ext uri="{FF2B5EF4-FFF2-40B4-BE49-F238E27FC236}">
                <a16:creationId xmlns:a16="http://schemas.microsoft.com/office/drawing/2014/main" id="{BBE907E5-F8C0-551B-2DBB-535EB7964D19}"/>
              </a:ext>
            </a:extLst>
          </p:cNvPr>
          <p:cNvSpPr>
            <a:spLocks/>
          </p:cNvSpPr>
          <p:nvPr>
            <p:custDataLst>
              <p:tags r:id="rId83"/>
            </p:custDataLst>
          </p:nvPr>
        </p:nvSpPr>
        <p:spPr bwMode="gray">
          <a:xfrm>
            <a:off x="396875" y="5224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5122A6-AB71-4D9C-BB5F-AE4AAE825C2C}"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cxnSp>
        <p:nvCxnSpPr>
          <p:cNvPr id="356" name="Straight Connector 355">
            <a:extLst>
              <a:ext uri="{FF2B5EF4-FFF2-40B4-BE49-F238E27FC236}">
                <a16:creationId xmlns:a16="http://schemas.microsoft.com/office/drawing/2014/main" id="{918C7CE5-A294-3D7C-060B-265C7B233968}"/>
              </a:ext>
            </a:extLst>
          </p:cNvPr>
          <p:cNvCxnSpPr/>
          <p:nvPr>
            <p:custDataLst>
              <p:tags r:id="rId84"/>
            </p:custDataLst>
          </p:nvPr>
        </p:nvCxnSpPr>
        <p:spPr bwMode="auto">
          <a:xfrm>
            <a:off x="5157788" y="5754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0B90B90B-F863-774F-EB4E-FCD8347D71BC}"/>
              </a:ext>
            </a:extLst>
          </p:cNvPr>
          <p:cNvCxnSpPr/>
          <p:nvPr>
            <p:custDataLst>
              <p:tags r:id="rId85"/>
            </p:custDataLst>
          </p:nvPr>
        </p:nvCxnSpPr>
        <p:spPr bwMode="auto">
          <a:xfrm>
            <a:off x="876300" y="6097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99E10AC0-8C4C-99F8-C35B-A78B49B4EE8E}"/>
              </a:ext>
            </a:extLst>
          </p:cNvPr>
          <p:cNvCxnSpPr/>
          <p:nvPr>
            <p:custDataLst>
              <p:tags r:id="rId86"/>
            </p:custDataLst>
          </p:nvPr>
        </p:nvCxnSpPr>
        <p:spPr bwMode="auto">
          <a:xfrm>
            <a:off x="5443538" y="574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7C118BF3-21B0-EDED-AFD7-C357BFA30A39}"/>
              </a:ext>
            </a:extLst>
          </p:cNvPr>
          <p:cNvCxnSpPr/>
          <p:nvPr>
            <p:custDataLst>
              <p:tags r:id="rId87"/>
            </p:custDataLst>
          </p:nvPr>
        </p:nvCxnSpPr>
        <p:spPr bwMode="auto">
          <a:xfrm>
            <a:off x="1162050" y="6121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3B25FA6C-1A08-7AE8-3F8A-5DAAAE9FE252}"/>
              </a:ext>
            </a:extLst>
          </p:cNvPr>
          <p:cNvCxnSpPr/>
          <p:nvPr>
            <p:custDataLst>
              <p:tags r:id="rId88"/>
            </p:custDataLst>
          </p:nvPr>
        </p:nvCxnSpPr>
        <p:spPr bwMode="auto">
          <a:xfrm>
            <a:off x="1447800" y="6116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2500F3A0-C44C-3C6C-B4AC-8E6284307093}"/>
              </a:ext>
            </a:extLst>
          </p:cNvPr>
          <p:cNvCxnSpPr/>
          <p:nvPr>
            <p:custDataLst>
              <p:tags r:id="rId89"/>
            </p:custDataLst>
          </p:nvPr>
        </p:nvCxnSpPr>
        <p:spPr bwMode="auto">
          <a:xfrm>
            <a:off x="1731963" y="6099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475BF1CF-8DDC-813E-6A17-1D819D55344F}"/>
              </a:ext>
            </a:extLst>
          </p:cNvPr>
          <p:cNvCxnSpPr/>
          <p:nvPr>
            <p:custDataLst>
              <p:tags r:id="rId90"/>
            </p:custDataLst>
          </p:nvPr>
        </p:nvCxnSpPr>
        <p:spPr bwMode="auto">
          <a:xfrm>
            <a:off x="2017713" y="6057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7F4165D5-2FC1-0001-E873-23497FDC1A9D}"/>
              </a:ext>
            </a:extLst>
          </p:cNvPr>
          <p:cNvCxnSpPr/>
          <p:nvPr>
            <p:custDataLst>
              <p:tags r:id="rId91"/>
            </p:custDataLst>
          </p:nvPr>
        </p:nvCxnSpPr>
        <p:spPr bwMode="auto">
          <a:xfrm>
            <a:off x="2303463" y="6032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42D87A98-AB4C-2150-2359-996017727C9C}"/>
              </a:ext>
            </a:extLst>
          </p:cNvPr>
          <p:cNvCxnSpPr/>
          <p:nvPr>
            <p:custDataLst>
              <p:tags r:id="rId92"/>
            </p:custDataLst>
          </p:nvPr>
        </p:nvCxnSpPr>
        <p:spPr bwMode="auto">
          <a:xfrm>
            <a:off x="2874963" y="5929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57">
            <a:extLst>
              <a:ext uri="{FF2B5EF4-FFF2-40B4-BE49-F238E27FC236}">
                <a16:creationId xmlns:a16="http://schemas.microsoft.com/office/drawing/2014/main" id="{DBA7C62C-5216-4DD2-5A73-4667726D4C78}"/>
              </a:ext>
            </a:extLst>
          </p:cNvPr>
          <p:cNvCxnSpPr/>
          <p:nvPr>
            <p:custDataLst>
              <p:tags r:id="rId93"/>
            </p:custDataLst>
          </p:nvPr>
        </p:nvCxnSpPr>
        <p:spPr bwMode="auto">
          <a:xfrm>
            <a:off x="5729288" y="5694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A15F2459-4D1E-D5B4-05EF-72DD77F5049D}"/>
              </a:ext>
            </a:extLst>
          </p:cNvPr>
          <p:cNvCxnSpPr/>
          <p:nvPr>
            <p:custDataLst>
              <p:tags r:id="rId94"/>
            </p:custDataLst>
          </p:nvPr>
        </p:nvCxnSpPr>
        <p:spPr bwMode="auto">
          <a:xfrm>
            <a:off x="6013450" y="5634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36FD4FDF-9896-3636-7883-C27A984BFB14}"/>
              </a:ext>
            </a:extLst>
          </p:cNvPr>
          <p:cNvCxnSpPr/>
          <p:nvPr>
            <p:custDataLst>
              <p:tags r:id="rId95"/>
            </p:custDataLst>
          </p:nvPr>
        </p:nvCxnSpPr>
        <p:spPr bwMode="auto">
          <a:xfrm>
            <a:off x="6299200" y="5643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F25BBA2D-AE55-1A27-4065-097DEC0C7638}"/>
              </a:ext>
            </a:extLst>
          </p:cNvPr>
          <p:cNvCxnSpPr/>
          <p:nvPr>
            <p:custDataLst>
              <p:tags r:id="rId96"/>
            </p:custDataLst>
          </p:nvPr>
        </p:nvCxnSpPr>
        <p:spPr bwMode="auto">
          <a:xfrm>
            <a:off x="6584950" y="5692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60FE4FD2-ED3E-6E09-B77C-91461A18A89C}"/>
              </a:ext>
            </a:extLst>
          </p:cNvPr>
          <p:cNvCxnSpPr/>
          <p:nvPr>
            <p:custDataLst>
              <p:tags r:id="rId97"/>
            </p:custDataLst>
          </p:nvPr>
        </p:nvCxnSpPr>
        <p:spPr bwMode="auto">
          <a:xfrm>
            <a:off x="6870700" y="5491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CB5658D8-9E1F-E509-FD86-FDA4EEA52F89}"/>
              </a:ext>
            </a:extLst>
          </p:cNvPr>
          <p:cNvCxnSpPr/>
          <p:nvPr>
            <p:custDataLst>
              <p:tags r:id="rId98"/>
            </p:custDataLst>
          </p:nvPr>
        </p:nvCxnSpPr>
        <p:spPr bwMode="auto">
          <a:xfrm>
            <a:off x="7156450" y="5380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5F7849CB-9BBB-DA43-65F6-D61172C6863E}"/>
              </a:ext>
            </a:extLst>
          </p:cNvPr>
          <p:cNvCxnSpPr/>
          <p:nvPr>
            <p:custDataLst>
              <p:tags r:id="rId99"/>
            </p:custDataLst>
          </p:nvPr>
        </p:nvCxnSpPr>
        <p:spPr bwMode="auto">
          <a:xfrm>
            <a:off x="7440613" y="5434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3D1DF675-A206-D8F1-3A5F-939DCB2D17D3}"/>
              </a:ext>
            </a:extLst>
          </p:cNvPr>
          <p:cNvCxnSpPr/>
          <p:nvPr>
            <p:custDataLst>
              <p:tags r:id="rId100"/>
            </p:custDataLst>
          </p:nvPr>
        </p:nvCxnSpPr>
        <p:spPr bwMode="auto">
          <a:xfrm>
            <a:off x="7726363" y="537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B61E863F-92E6-1125-8A5E-3997F968A9F8}"/>
              </a:ext>
            </a:extLst>
          </p:cNvPr>
          <p:cNvCxnSpPr/>
          <p:nvPr>
            <p:custDataLst>
              <p:tags r:id="rId101"/>
            </p:custDataLst>
          </p:nvPr>
        </p:nvCxnSpPr>
        <p:spPr bwMode="auto">
          <a:xfrm>
            <a:off x="3159125" y="5924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BA19F310-DD39-831C-F6C0-134B2D5B5B22}"/>
              </a:ext>
            </a:extLst>
          </p:cNvPr>
          <p:cNvCxnSpPr/>
          <p:nvPr>
            <p:custDataLst>
              <p:tags r:id="rId102"/>
            </p:custDataLst>
          </p:nvPr>
        </p:nvCxnSpPr>
        <p:spPr bwMode="auto">
          <a:xfrm>
            <a:off x="3444875" y="5935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B9AB9443-B523-8458-8745-A9AB37CFC4C6}"/>
              </a:ext>
            </a:extLst>
          </p:cNvPr>
          <p:cNvCxnSpPr/>
          <p:nvPr>
            <p:custDataLst>
              <p:tags r:id="rId103"/>
            </p:custDataLst>
          </p:nvPr>
        </p:nvCxnSpPr>
        <p:spPr bwMode="auto">
          <a:xfrm>
            <a:off x="3730625" y="5845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4E8B1BAB-5543-E94B-AF17-9E2D5B00AD34}"/>
              </a:ext>
            </a:extLst>
          </p:cNvPr>
          <p:cNvCxnSpPr/>
          <p:nvPr>
            <p:custDataLst>
              <p:tags r:id="rId104"/>
            </p:custDataLst>
          </p:nvPr>
        </p:nvCxnSpPr>
        <p:spPr bwMode="auto">
          <a:xfrm>
            <a:off x="4016375" y="5773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C8D824D5-0F4C-4843-B81B-92BCE1C9C45C}"/>
              </a:ext>
            </a:extLst>
          </p:cNvPr>
          <p:cNvCxnSpPr/>
          <p:nvPr>
            <p:custDataLst>
              <p:tags r:id="rId105"/>
            </p:custDataLst>
          </p:nvPr>
        </p:nvCxnSpPr>
        <p:spPr bwMode="auto">
          <a:xfrm>
            <a:off x="4302125" y="5756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981A14BB-470D-E3EB-1121-7FF828ECDDB9}"/>
              </a:ext>
            </a:extLst>
          </p:cNvPr>
          <p:cNvCxnSpPr/>
          <p:nvPr>
            <p:custDataLst>
              <p:tags r:id="rId106"/>
            </p:custDataLst>
          </p:nvPr>
        </p:nvCxnSpPr>
        <p:spPr bwMode="auto">
          <a:xfrm>
            <a:off x="4586288" y="574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5F75ED36-E56A-7810-A9B2-B0D648361247}"/>
              </a:ext>
            </a:extLst>
          </p:cNvPr>
          <p:cNvCxnSpPr/>
          <p:nvPr>
            <p:custDataLst>
              <p:tags r:id="rId107"/>
            </p:custDataLst>
          </p:nvPr>
        </p:nvCxnSpPr>
        <p:spPr bwMode="auto">
          <a:xfrm>
            <a:off x="4872038" y="5734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ED83AAEF-D0EA-6407-5457-E2FE71880F39}"/>
              </a:ext>
            </a:extLst>
          </p:cNvPr>
          <p:cNvCxnSpPr/>
          <p:nvPr>
            <p:custDataLst>
              <p:tags r:id="rId108"/>
            </p:custDataLst>
          </p:nvPr>
        </p:nvCxnSpPr>
        <p:spPr bwMode="auto">
          <a:xfrm>
            <a:off x="2589213" y="5991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テキスト プレースホルダ 9">
            <a:extLst>
              <a:ext uri="{FF2B5EF4-FFF2-40B4-BE49-F238E27FC236}">
                <a16:creationId xmlns:a16="http://schemas.microsoft.com/office/drawing/2014/main" id="{CFF864DD-C2A4-17CB-6E18-7D8FC695B4BE}"/>
              </a:ext>
            </a:extLst>
          </p:cNvPr>
          <p:cNvSpPr>
            <a:spLocks/>
          </p:cNvSpPr>
          <p:nvPr>
            <p:custDataLst>
              <p:tags r:id="rId109"/>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7DFF6-537B-4989-BF9F-0A518E059C2B}" type="datetime'''''''''''1''''''''6'''''''''">
              <a:rPr lang="en-US" altLang="en-US" sz="1000" smtClean="0"/>
              <a:pPr/>
              <a:t>16</a:t>
            </a:fld>
            <a:endParaRPr kumimoji="1" lang="en-US" altLang="ja-JP" sz="1000" dirty="0">
              <a:sym typeface="+mn-lt"/>
            </a:endParaRPr>
          </a:p>
        </p:txBody>
      </p:sp>
      <p:sp>
        <p:nvSpPr>
          <p:cNvPr id="269" name="テキスト プレースホルダ 9">
            <a:extLst>
              <a:ext uri="{FF2B5EF4-FFF2-40B4-BE49-F238E27FC236}">
                <a16:creationId xmlns:a16="http://schemas.microsoft.com/office/drawing/2014/main" id="{76C59F90-94A1-9336-58D4-4B9FCA7B2D5D}"/>
              </a:ext>
            </a:extLst>
          </p:cNvPr>
          <p:cNvSpPr>
            <a:spLocks/>
          </p:cNvSpPr>
          <p:nvPr>
            <p:custDataLst>
              <p:tags r:id="rId110"/>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335A1-EA5B-47B5-931A-9B2D4D62A65F}" type="datetime'''''''''''''''''1''''''''''''''7'''''''''''''">
              <a:rPr lang="en-US" altLang="en-US" sz="1000" smtClean="0"/>
              <a:pPr/>
              <a:t>17</a:t>
            </a:fld>
            <a:endParaRPr kumimoji="1" lang="en-US" altLang="ja-JP" sz="1000" dirty="0">
              <a:sym typeface="+mn-lt"/>
            </a:endParaRPr>
          </a:p>
        </p:txBody>
      </p:sp>
      <p:sp>
        <p:nvSpPr>
          <p:cNvPr id="270" name="テキスト プレースホルダ 9">
            <a:extLst>
              <a:ext uri="{FF2B5EF4-FFF2-40B4-BE49-F238E27FC236}">
                <a16:creationId xmlns:a16="http://schemas.microsoft.com/office/drawing/2014/main" id="{DAF283F9-8599-2AB6-EE49-BEB3125B884B}"/>
              </a:ext>
            </a:extLst>
          </p:cNvPr>
          <p:cNvSpPr>
            <a:spLocks/>
          </p:cNvSpPr>
          <p:nvPr>
            <p:custDataLst>
              <p:tags r:id="rId111"/>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B8454C-07D7-42C8-8B1B-6B12DB0F7B5A}" type="datetime'''''''''''''''''''''''''''1''''''''''''''8'''''''''''''">
              <a:rPr lang="en-US" altLang="en-US" sz="1000" smtClean="0"/>
              <a:pPr/>
              <a:t>18</a:t>
            </a:fld>
            <a:endParaRPr kumimoji="1" lang="en-US" altLang="ja-JP" sz="1000" dirty="0">
              <a:sym typeface="+mn-lt"/>
            </a:endParaRPr>
          </a:p>
        </p:txBody>
      </p:sp>
      <p:sp>
        <p:nvSpPr>
          <p:cNvPr id="271" name="テキスト プレースホルダ 9">
            <a:extLst>
              <a:ext uri="{FF2B5EF4-FFF2-40B4-BE49-F238E27FC236}">
                <a16:creationId xmlns:a16="http://schemas.microsoft.com/office/drawing/2014/main" id="{2FA0A432-30E5-55B1-EAE9-13AF0C3A78E6}"/>
              </a:ext>
            </a:extLst>
          </p:cNvPr>
          <p:cNvSpPr>
            <a:spLocks/>
          </p:cNvSpPr>
          <p:nvPr>
            <p:custDataLst>
              <p:tags r:id="rId112"/>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D3A29-4094-4974-8AA0-078890E41954}" type="datetime'''''''1''''''''''''''''''''9'''''''''''''''''''''''''''">
              <a:rPr lang="en-US" altLang="en-US" sz="1000" smtClean="0"/>
              <a:pPr/>
              <a:t>19</a:t>
            </a:fld>
            <a:endParaRPr kumimoji="1" lang="en-US" altLang="ja-JP" sz="1000" dirty="0">
              <a:sym typeface="+mn-lt"/>
            </a:endParaRPr>
          </a:p>
        </p:txBody>
      </p:sp>
      <p:sp>
        <p:nvSpPr>
          <p:cNvPr id="272" name="テキスト プレースホルダ 9">
            <a:extLst>
              <a:ext uri="{FF2B5EF4-FFF2-40B4-BE49-F238E27FC236}">
                <a16:creationId xmlns:a16="http://schemas.microsoft.com/office/drawing/2014/main" id="{27C84683-C216-939F-7428-989DF7E08AA5}"/>
              </a:ext>
            </a:extLst>
          </p:cNvPr>
          <p:cNvSpPr>
            <a:spLocks/>
          </p:cNvSpPr>
          <p:nvPr>
            <p:custDataLst>
              <p:tags r:id="rId113"/>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210148-3B4A-455E-8559-A8401C6FE468}" type="datetime'''''''''''''''2''''''''''''''''''''''''''''0'''''">
              <a:rPr lang="en-US" altLang="en-US" sz="1000" smtClean="0"/>
              <a:pPr/>
              <a:t>20</a:t>
            </a:fld>
            <a:endParaRPr kumimoji="1" lang="en-US" altLang="ja-JP" sz="1000" dirty="0">
              <a:sym typeface="+mn-lt"/>
            </a:endParaRPr>
          </a:p>
        </p:txBody>
      </p:sp>
      <p:sp>
        <p:nvSpPr>
          <p:cNvPr id="273" name="テキスト プレースホルダ 9">
            <a:extLst>
              <a:ext uri="{FF2B5EF4-FFF2-40B4-BE49-F238E27FC236}">
                <a16:creationId xmlns:a16="http://schemas.microsoft.com/office/drawing/2014/main" id="{89BE4F4A-12B6-63A0-46C8-310732755A00}"/>
              </a:ext>
            </a:extLst>
          </p:cNvPr>
          <p:cNvSpPr>
            <a:spLocks/>
          </p:cNvSpPr>
          <p:nvPr>
            <p:custDataLst>
              <p:tags r:id="rId114"/>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028BE4-E78B-42F3-B0B6-947AC0879426}" type="datetime'''''''''''''''''''''''2''''''''''''''''1'">
              <a:rPr lang="en-US" altLang="en-US" sz="1000" smtClean="0"/>
              <a:pPr/>
              <a:t>21</a:t>
            </a:fld>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D8173711-01F6-DD99-CFB3-CE6F252519C0}"/>
              </a:ext>
            </a:extLst>
          </p:cNvPr>
          <p:cNvSpPr>
            <a:spLocks/>
          </p:cNvSpPr>
          <p:nvPr>
            <p:custDataLst>
              <p:tags r:id="rId115"/>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574BF-9B67-43B7-A06E-C2C92D895A23}" type="datetime'''''''''''''''''''''''''''''''''''''2''''''''''''2'''''">
              <a:rPr lang="en-US" altLang="en-US" sz="1000" smtClean="0"/>
              <a:pPr/>
              <a:t>22</a:t>
            </a:fld>
            <a:endParaRPr kumimoji="1" lang="en-US" altLang="ja-JP" sz="1000" dirty="0">
              <a:sym typeface="+mn-lt"/>
            </a:endParaRPr>
          </a:p>
        </p:txBody>
      </p:sp>
      <p:sp>
        <p:nvSpPr>
          <p:cNvPr id="275" name="テキスト プレースホルダ 9">
            <a:extLst>
              <a:ext uri="{FF2B5EF4-FFF2-40B4-BE49-F238E27FC236}">
                <a16:creationId xmlns:a16="http://schemas.microsoft.com/office/drawing/2014/main" id="{9DEDC6CF-230C-742C-A4A1-0B077E95B0EC}"/>
              </a:ext>
            </a:extLst>
          </p:cNvPr>
          <p:cNvSpPr>
            <a:spLocks/>
          </p:cNvSpPr>
          <p:nvPr>
            <p:custDataLst>
              <p:tags r:id="rId116"/>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92EC1-A44E-42BC-9BCF-B320FEF9840D}" type="datetime'''2''''''''3'''''''''''''''">
              <a:rPr lang="en-US" altLang="en-US" sz="1000" smtClean="0"/>
              <a:pPr/>
              <a:t>23</a:t>
            </a:fld>
            <a:endParaRPr kumimoji="1" lang="en-US" altLang="ja-JP" sz="1000" dirty="0">
              <a:sym typeface="+mn-lt"/>
            </a:endParaRPr>
          </a:p>
        </p:txBody>
      </p:sp>
      <p:sp>
        <p:nvSpPr>
          <p:cNvPr id="276" name="テキスト プレースホルダ 9">
            <a:extLst>
              <a:ext uri="{FF2B5EF4-FFF2-40B4-BE49-F238E27FC236}">
                <a16:creationId xmlns:a16="http://schemas.microsoft.com/office/drawing/2014/main" id="{C5C20590-6961-1DA9-23DF-D9758AEB7369}"/>
              </a:ext>
            </a:extLst>
          </p:cNvPr>
          <p:cNvSpPr>
            <a:spLocks/>
          </p:cNvSpPr>
          <p:nvPr>
            <p:custDataLst>
              <p:tags r:id="rId117"/>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729200-4012-4F9E-A6E1-33A808D38D3A}" type="datetime'''''''''2''''''''''''4'''''''''''''''''''">
              <a:rPr lang="en-US" altLang="en-US" sz="1000" smtClean="0"/>
              <a:pPr/>
              <a:t>24</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C7631B9D-7C16-AC4D-2BFF-CA08707CA128}"/>
              </a:ext>
            </a:extLst>
          </p:cNvPr>
          <p:cNvSpPr>
            <a:spLocks/>
          </p:cNvSpPr>
          <p:nvPr>
            <p:custDataLst>
              <p:tags r:id="rId118"/>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4C31E-2A9D-4581-A95D-3AD52C7E4CC6}" type="datetime'''''''0''''''9'''''''''''''''''''''''''''''''''''''''''''">
              <a:rPr lang="en-US" altLang="en-US" sz="1000" smtClean="0"/>
              <a:pPr/>
              <a:t>09</a:t>
            </a:fld>
            <a:endParaRPr kumimoji="1" lang="en-US" altLang="ja-JP" sz="1000" dirty="0">
              <a:sym typeface="+mn-lt"/>
            </a:endParaRPr>
          </a:p>
        </p:txBody>
      </p:sp>
      <p:sp>
        <p:nvSpPr>
          <p:cNvPr id="63" name="Text Placeholder 12"/>
          <p:cNvSpPr>
            <a:spLocks/>
          </p:cNvSpPr>
          <p:nvPr>
            <p:custDataLst>
              <p:tags r:id="rId119"/>
            </p:custDataLst>
          </p:nvPr>
        </p:nvSpPr>
        <p:spPr bwMode="auto">
          <a:xfrm>
            <a:off x="396875" y="4754563"/>
            <a:ext cx="598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米ドル）</a:t>
            </a:r>
          </a:p>
        </p:txBody>
      </p:sp>
      <p:sp>
        <p:nvSpPr>
          <p:cNvPr id="252" name="テキスト プレースホルダ 9">
            <a:extLst>
              <a:ext uri="{FF2B5EF4-FFF2-40B4-BE49-F238E27FC236}">
                <a16:creationId xmlns:a16="http://schemas.microsoft.com/office/drawing/2014/main" id="{85C8140E-A3BA-3140-10F7-B225DB2AC5B5}"/>
              </a:ext>
            </a:extLst>
          </p:cNvPr>
          <p:cNvSpPr>
            <a:spLocks/>
          </p:cNvSpPr>
          <p:nvPr>
            <p:custDataLst>
              <p:tags r:id="rId120"/>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F7DCE6-E53E-41A5-A949-5F1EA54E0DB8}" type="datetime'''''''''''''''''''''2''''0''''0''''''''''''''''''''0'''">
              <a:rPr lang="en-US" altLang="en-US" sz="1000" smtClean="0"/>
              <a:pPr/>
              <a:t>2000</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16641E62-FEB0-C264-CACA-F34457FA32E5}"/>
              </a:ext>
            </a:extLst>
          </p:cNvPr>
          <p:cNvSpPr>
            <a:spLocks/>
          </p:cNvSpPr>
          <p:nvPr>
            <p:custDataLst>
              <p:tags r:id="rId121"/>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76DE5-44BD-4E02-B38F-B32BDAAF05C1}" type="datetime'''''''''''''''0''''1'''''''''''''''''''''''''''''''''">
              <a:rPr lang="en-US" altLang="en-US" sz="1000" smtClean="0"/>
              <a:pPr/>
              <a:t>01</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AF57A28F-314F-1D92-8460-0F0EC01B105D}"/>
              </a:ext>
            </a:extLst>
          </p:cNvPr>
          <p:cNvSpPr>
            <a:spLocks/>
          </p:cNvSpPr>
          <p:nvPr>
            <p:custDataLst>
              <p:tags r:id="rId122"/>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DCA781-21F3-462F-92F6-B2AE752619ED}" type="datetime'0''''''''''''''''''''''''''''''2'''''''''''''''''''''''''''">
              <a:rPr lang="en-US" altLang="en-US" sz="1000" smtClean="0"/>
              <a:pPr/>
              <a:t>02</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1EBDDF77-5932-E491-7C8A-236089D87C29}"/>
              </a:ext>
            </a:extLst>
          </p:cNvPr>
          <p:cNvSpPr>
            <a:spLocks/>
          </p:cNvSpPr>
          <p:nvPr>
            <p:custDataLst>
              <p:tags r:id="rId123"/>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33C884-1707-4F55-B69E-32DF14CA9FF0}" type="datetime'''''''''''0''''''''''''''''3'''''''''''">
              <a:rPr lang="en-US" altLang="en-US" sz="1000" smtClean="0"/>
              <a:pPr/>
              <a:t>03</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C2DCD48C-8217-41AB-2293-47379121FCEB}"/>
              </a:ext>
            </a:extLst>
          </p:cNvPr>
          <p:cNvSpPr>
            <a:spLocks/>
          </p:cNvSpPr>
          <p:nvPr>
            <p:custDataLst>
              <p:tags r:id="rId124"/>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1D0477-3826-416B-9142-3E109B699561}" type="datetime'0''''''''4'''''''''''''''''''''''''''''''''''''''''''''">
              <a:rPr lang="en-US" altLang="en-US" sz="1000" smtClean="0"/>
              <a:pPr/>
              <a:t>04</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1DA967EE-BDE6-F2FB-EE08-8FA25319161A}"/>
              </a:ext>
            </a:extLst>
          </p:cNvPr>
          <p:cNvSpPr>
            <a:spLocks/>
          </p:cNvSpPr>
          <p:nvPr>
            <p:custDataLst>
              <p:tags r:id="rId125"/>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1018A-A2C7-4E4C-98BE-D89A90A13C5E}" type="datetime'''''''''''0''''''5'''''''''''''''''''''''''''''">
              <a:rPr lang="en-US" altLang="en-US" sz="1000" smtClean="0"/>
              <a:pPr/>
              <a:t>05</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2F11C784-3B6D-DECA-038F-DB69BEEFD9F0}"/>
              </a:ext>
            </a:extLst>
          </p:cNvPr>
          <p:cNvSpPr>
            <a:spLocks/>
          </p:cNvSpPr>
          <p:nvPr>
            <p:custDataLst>
              <p:tags r:id="rId126"/>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9FA166-C6ED-4D94-89CB-124ED6E074DE}" type="datetime'''''''''''''''''''''''''''''0''''''''''''''''6'''''''''''''''">
              <a:rPr lang="en-US" altLang="en-US" sz="1000" smtClean="0"/>
              <a:pPr/>
              <a:t>06</a:t>
            </a:fld>
            <a:endParaRPr kumimoji="1" lang="en-US" altLang="ja-JP" sz="1000" dirty="0">
              <a:sym typeface="+mn-lt"/>
            </a:endParaRPr>
          </a:p>
        </p:txBody>
      </p:sp>
      <p:sp>
        <p:nvSpPr>
          <p:cNvPr id="387" name="テキスト プレースホルダ 9">
            <a:extLst>
              <a:ext uri="{FF2B5EF4-FFF2-40B4-BE49-F238E27FC236}">
                <a16:creationId xmlns:a16="http://schemas.microsoft.com/office/drawing/2014/main" id="{C5FFD876-EB2D-66BE-D085-7CB62A2C3610}"/>
              </a:ext>
            </a:extLst>
          </p:cNvPr>
          <p:cNvSpPr>
            <a:spLocks/>
          </p:cNvSpPr>
          <p:nvPr>
            <p:custDataLst>
              <p:tags r:id="rId127"/>
            </p:custDataLst>
          </p:nvPr>
        </p:nvSpPr>
        <p:spPr bwMode="gray">
          <a:xfrm>
            <a:off x="736599" y="5945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06FC-4093-45DE-8447-CDB3C3D4598E}" type="datetime'2''''''''''''''3''.9'''''''''''''''''''''''''''''''''''">
              <a:rPr lang="en-US" altLang="en-US" sz="1000" smtClean="0"/>
              <a:pPr/>
              <a:t>23.9</a:t>
            </a:fld>
            <a:endParaRPr kumimoji="1" lang="en-US" altLang="ja-JP" sz="1000" dirty="0">
              <a:sym typeface="+mn-lt"/>
            </a:endParaRPr>
          </a:p>
        </p:txBody>
      </p:sp>
      <p:sp>
        <p:nvSpPr>
          <p:cNvPr id="388" name="テキスト プレースホルダ 9">
            <a:extLst>
              <a:ext uri="{FF2B5EF4-FFF2-40B4-BE49-F238E27FC236}">
                <a16:creationId xmlns:a16="http://schemas.microsoft.com/office/drawing/2014/main" id="{BB980673-D592-CE08-95CC-2FA3FE05C290}"/>
              </a:ext>
            </a:extLst>
          </p:cNvPr>
          <p:cNvSpPr>
            <a:spLocks/>
          </p:cNvSpPr>
          <p:nvPr>
            <p:custDataLst>
              <p:tags r:id="rId128"/>
            </p:custDataLst>
          </p:nvPr>
        </p:nvSpPr>
        <p:spPr bwMode="gray">
          <a:xfrm>
            <a:off x="1022349" y="5969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509E9-D446-47F4-9AB0-EA0EC4D3E347}" type="datetime'''21''''''''''''''''.''''''''7'''''''''''''">
              <a:rPr lang="en-US" altLang="en-US" sz="1000" smtClean="0"/>
              <a:pPr/>
              <a:t>21.7</a:t>
            </a:fld>
            <a:endParaRPr kumimoji="1" lang="en-US" altLang="ja-JP" sz="1000" dirty="0">
              <a:sym typeface="+mn-lt"/>
            </a:endParaRPr>
          </a:p>
        </p:txBody>
      </p:sp>
      <p:sp>
        <p:nvSpPr>
          <p:cNvPr id="389" name="テキスト プレースホルダ 9">
            <a:extLst>
              <a:ext uri="{FF2B5EF4-FFF2-40B4-BE49-F238E27FC236}">
                <a16:creationId xmlns:a16="http://schemas.microsoft.com/office/drawing/2014/main" id="{6D15CD00-C55E-2241-E08B-8E908261942B}"/>
              </a:ext>
            </a:extLst>
          </p:cNvPr>
          <p:cNvSpPr>
            <a:spLocks/>
          </p:cNvSpPr>
          <p:nvPr>
            <p:custDataLst>
              <p:tags r:id="rId129"/>
            </p:custDataLst>
          </p:nvPr>
        </p:nvSpPr>
        <p:spPr bwMode="gray">
          <a:xfrm>
            <a:off x="1308099" y="5964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25C287-395C-4B05-BCF6-1A2500BCF676}" type="datetime'''''''''''2''''''''''''''''''''''''2''''''.''''''''''''2'">
              <a:rPr lang="en-US" altLang="en-US" sz="1000" smtClean="0"/>
              <a:pPr/>
              <a:t>22.2</a:t>
            </a:fld>
            <a:endParaRPr kumimoji="1" lang="en-US" altLang="ja-JP" sz="1000" dirty="0">
              <a:sym typeface="+mn-lt"/>
            </a:endParaRPr>
          </a:p>
        </p:txBody>
      </p:sp>
      <p:sp>
        <p:nvSpPr>
          <p:cNvPr id="390" name="テキスト プレースホルダ 9">
            <a:extLst>
              <a:ext uri="{FF2B5EF4-FFF2-40B4-BE49-F238E27FC236}">
                <a16:creationId xmlns:a16="http://schemas.microsoft.com/office/drawing/2014/main" id="{C3371315-5ABE-1C0F-5737-7FE132CBD612}"/>
              </a:ext>
            </a:extLst>
          </p:cNvPr>
          <p:cNvSpPr>
            <a:spLocks/>
          </p:cNvSpPr>
          <p:nvPr>
            <p:custDataLst>
              <p:tags r:id="rId130"/>
            </p:custDataLst>
          </p:nvPr>
        </p:nvSpPr>
        <p:spPr bwMode="gray">
          <a:xfrm>
            <a:off x="1592262" y="5946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2D7FF-8334-496D-9CE6-AA63243EE8BE}" type="datetime'2''''''''''''''''''''3''''''''''''''''''''.''''''''''''7'''''">
              <a:rPr lang="en-US" altLang="en-US" sz="1000" smtClean="0"/>
              <a:pPr/>
              <a:t>23.7</a:t>
            </a:fld>
            <a:endParaRPr kumimoji="1" lang="en-US" altLang="ja-JP" sz="1000" dirty="0">
              <a:sym typeface="+mn-lt"/>
            </a:endParaRPr>
          </a:p>
        </p:txBody>
      </p:sp>
      <p:sp>
        <p:nvSpPr>
          <p:cNvPr id="391" name="テキスト プレースホルダ 9">
            <a:extLst>
              <a:ext uri="{FF2B5EF4-FFF2-40B4-BE49-F238E27FC236}">
                <a16:creationId xmlns:a16="http://schemas.microsoft.com/office/drawing/2014/main" id="{926B1324-E8C0-E10D-E122-55EF7A1AF0CB}"/>
              </a:ext>
            </a:extLst>
          </p:cNvPr>
          <p:cNvSpPr>
            <a:spLocks/>
          </p:cNvSpPr>
          <p:nvPr>
            <p:custDataLst>
              <p:tags r:id="rId131"/>
            </p:custDataLst>
          </p:nvPr>
        </p:nvSpPr>
        <p:spPr bwMode="gray">
          <a:xfrm>
            <a:off x="1878012" y="5905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793EB9-BE41-422B-A54C-97B9C627D069}" type="datetime'''2''''''''''7''''''''''.6'''''''''''''''''''''">
              <a:rPr lang="en-US" altLang="en-US" sz="1000" smtClean="0"/>
              <a:pPr/>
              <a:t>27.6</a:t>
            </a:fld>
            <a:endParaRPr kumimoji="1" lang="en-US" altLang="ja-JP" sz="1000" dirty="0">
              <a:sym typeface="+mn-lt"/>
            </a:endParaRPr>
          </a:p>
        </p:txBody>
      </p:sp>
      <p:sp>
        <p:nvSpPr>
          <p:cNvPr id="392" name="テキスト プレースホルダ 9">
            <a:extLst>
              <a:ext uri="{FF2B5EF4-FFF2-40B4-BE49-F238E27FC236}">
                <a16:creationId xmlns:a16="http://schemas.microsoft.com/office/drawing/2014/main" id="{4A524B86-5715-0BAA-0E49-45035E7C8FA5}"/>
              </a:ext>
            </a:extLst>
          </p:cNvPr>
          <p:cNvSpPr>
            <a:spLocks/>
          </p:cNvSpPr>
          <p:nvPr>
            <p:custDataLst>
              <p:tags r:id="rId132"/>
            </p:custDataLst>
          </p:nvPr>
        </p:nvSpPr>
        <p:spPr bwMode="gray">
          <a:xfrm>
            <a:off x="2163762" y="58801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AAE11-4CD4-47A2-8AE1-3C17C725912B}" type="datetime'3''''''0''''''''''''''''''''''''''''''''''.''''''''''''0'">
              <a:rPr lang="en-US" altLang="en-US" sz="1000" smtClean="0"/>
              <a:pPr/>
              <a:t>30.0</a:t>
            </a:fld>
            <a:endParaRPr kumimoji="1" lang="en-US" altLang="ja-JP" sz="1000" dirty="0">
              <a:sym typeface="+mn-lt"/>
            </a:endParaRPr>
          </a:p>
        </p:txBody>
      </p:sp>
      <p:sp>
        <p:nvSpPr>
          <p:cNvPr id="393" name="テキスト プレースホルダ 9">
            <a:extLst>
              <a:ext uri="{FF2B5EF4-FFF2-40B4-BE49-F238E27FC236}">
                <a16:creationId xmlns:a16="http://schemas.microsoft.com/office/drawing/2014/main" id="{411234E1-D19F-23E4-ABF4-7DCA5F550065}"/>
              </a:ext>
            </a:extLst>
          </p:cNvPr>
          <p:cNvSpPr>
            <a:spLocks/>
          </p:cNvSpPr>
          <p:nvPr>
            <p:custDataLst>
              <p:tags r:id="rId133"/>
            </p:custDataLst>
          </p:nvPr>
        </p:nvSpPr>
        <p:spPr bwMode="gray">
          <a:xfrm>
            <a:off x="2449512" y="5838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9EAF03-BB0E-4CA8-A5BB-B9399181858D}" type="datetime'''''''''''''''3''''3''''''''.''''''''''''''''''''''''''''8'">
              <a:rPr lang="en-US" altLang="en-US" sz="1000" smtClean="0"/>
              <a:pPr/>
              <a:t>33.8</a:t>
            </a:fld>
            <a:endParaRPr kumimoji="1" lang="en-US" altLang="ja-JP" sz="1000" dirty="0">
              <a:sym typeface="+mn-lt"/>
            </a:endParaRPr>
          </a:p>
        </p:txBody>
      </p:sp>
      <p:sp>
        <p:nvSpPr>
          <p:cNvPr id="394" name="テキスト プレースホルダ 9">
            <a:extLst>
              <a:ext uri="{FF2B5EF4-FFF2-40B4-BE49-F238E27FC236}">
                <a16:creationId xmlns:a16="http://schemas.microsoft.com/office/drawing/2014/main" id="{5BE2BECA-CB51-4EFF-3E74-AAB45A433A79}"/>
              </a:ext>
            </a:extLst>
          </p:cNvPr>
          <p:cNvSpPr>
            <a:spLocks/>
          </p:cNvSpPr>
          <p:nvPr>
            <p:custDataLst>
              <p:tags r:id="rId134"/>
            </p:custDataLst>
          </p:nvPr>
        </p:nvSpPr>
        <p:spPr bwMode="gray">
          <a:xfrm>
            <a:off x="2735262" y="5776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2A6EA4-3127-448B-9527-CF4523DA4C71}" type="datetime'''3''9''''.''''''''''''''''''''''''''4'''''''">
              <a:rPr lang="en-US" altLang="en-US" sz="1000" smtClean="0"/>
              <a:pPr/>
              <a:t>39.4</a:t>
            </a:fld>
            <a:endParaRPr kumimoji="1" lang="en-US" altLang="ja-JP" sz="1000" dirty="0">
              <a:sym typeface="+mn-lt"/>
            </a:endParaRPr>
          </a:p>
        </p:txBody>
      </p:sp>
      <p:sp>
        <p:nvSpPr>
          <p:cNvPr id="395" name="テキスト プレースホルダ 9">
            <a:extLst>
              <a:ext uri="{FF2B5EF4-FFF2-40B4-BE49-F238E27FC236}">
                <a16:creationId xmlns:a16="http://schemas.microsoft.com/office/drawing/2014/main" id="{4C91A0AC-1873-6313-7731-DDFD32F30D90}"/>
              </a:ext>
            </a:extLst>
          </p:cNvPr>
          <p:cNvSpPr>
            <a:spLocks/>
          </p:cNvSpPr>
          <p:nvPr>
            <p:custDataLst>
              <p:tags r:id="rId135"/>
            </p:custDataLst>
          </p:nvPr>
        </p:nvSpPr>
        <p:spPr bwMode="gray">
          <a:xfrm>
            <a:off x="3019424" y="5772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31B39-9421-4A25-B719-D86E5A6A5846}" type="datetime'''''''''''''''4''''''''''''''0''.''''''''0'''''''''''''''''">
              <a:rPr lang="en-US" altLang="en-US" sz="1000" smtClean="0"/>
              <a:pPr/>
              <a:t>40.0</a:t>
            </a:fld>
            <a:endParaRPr kumimoji="1" lang="en-US" altLang="ja-JP" sz="1000" dirty="0">
              <a:sym typeface="+mn-lt"/>
            </a:endParaRPr>
          </a:p>
        </p:txBody>
      </p:sp>
      <p:sp>
        <p:nvSpPr>
          <p:cNvPr id="396" name="テキスト プレースホルダ 9">
            <a:extLst>
              <a:ext uri="{FF2B5EF4-FFF2-40B4-BE49-F238E27FC236}">
                <a16:creationId xmlns:a16="http://schemas.microsoft.com/office/drawing/2014/main" id="{89DA4958-02CE-5902-A15B-A88A3D16D22D}"/>
              </a:ext>
            </a:extLst>
          </p:cNvPr>
          <p:cNvSpPr>
            <a:spLocks/>
          </p:cNvSpPr>
          <p:nvPr>
            <p:custDataLst>
              <p:tags r:id="rId136"/>
            </p:custDataLst>
          </p:nvPr>
        </p:nvSpPr>
        <p:spPr bwMode="gray">
          <a:xfrm>
            <a:off x="3305174" y="5783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03C514-910F-48D5-86B7-C25F39B7F091}" type="datetime'3''''''''8''''''''''''''''''''''''''''''.''9'''''''''">
              <a:rPr lang="en-US" altLang="en-US" sz="1000" smtClean="0"/>
              <a:pPr/>
              <a:t>38.9</a:t>
            </a:fld>
            <a:endParaRPr kumimoji="1" lang="en-US" altLang="ja-JP" sz="1000" dirty="0">
              <a:sym typeface="+mn-lt"/>
            </a:endParaRPr>
          </a:p>
        </p:txBody>
      </p:sp>
      <p:sp>
        <p:nvSpPr>
          <p:cNvPr id="397" name="テキスト プレースホルダ 9">
            <a:extLst>
              <a:ext uri="{FF2B5EF4-FFF2-40B4-BE49-F238E27FC236}">
                <a16:creationId xmlns:a16="http://schemas.microsoft.com/office/drawing/2014/main" id="{A8AB3A27-C0D8-A423-8128-98762CCAA602}"/>
              </a:ext>
            </a:extLst>
          </p:cNvPr>
          <p:cNvSpPr>
            <a:spLocks/>
          </p:cNvSpPr>
          <p:nvPr>
            <p:custDataLst>
              <p:tags r:id="rId137"/>
            </p:custDataLst>
          </p:nvPr>
        </p:nvSpPr>
        <p:spPr bwMode="gray">
          <a:xfrm>
            <a:off x="3590924" y="5692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65C55-B244-4F80-B086-355787FC4665}" type="datetime'''''''''''47''''''''''''''''''''''''''''''''.2'''''''''">
              <a:rPr lang="en-US" altLang="en-US" sz="1000" smtClean="0"/>
              <a:pPr/>
              <a:t>47.2</a:t>
            </a:fld>
            <a:endParaRPr kumimoji="1" lang="en-US" altLang="ja-JP" sz="1000" dirty="0">
              <a:sym typeface="+mn-lt"/>
            </a:endParaRPr>
          </a:p>
        </p:txBody>
      </p:sp>
      <p:sp>
        <p:nvSpPr>
          <p:cNvPr id="398" name="テキスト プレースホルダ 9">
            <a:extLst>
              <a:ext uri="{FF2B5EF4-FFF2-40B4-BE49-F238E27FC236}">
                <a16:creationId xmlns:a16="http://schemas.microsoft.com/office/drawing/2014/main" id="{E1C90EFD-BCBB-EACF-8C57-020839D9E797}"/>
              </a:ext>
            </a:extLst>
          </p:cNvPr>
          <p:cNvSpPr>
            <a:spLocks/>
          </p:cNvSpPr>
          <p:nvPr>
            <p:custDataLst>
              <p:tags r:id="rId138"/>
            </p:custDataLst>
          </p:nvPr>
        </p:nvSpPr>
        <p:spPr bwMode="gray">
          <a:xfrm>
            <a:off x="3876674" y="5621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F02914-F338-4FEA-B0E6-AAE0A34C68BB}" type="datetime'''''''''''53''''''.''''9'''''''''''''''''''''''''">
              <a:rPr lang="en-US" altLang="en-US" sz="1000" smtClean="0"/>
              <a:pPr/>
              <a:t>53.9</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45E7FFDC-B451-1690-0918-57B90CBCCAF0}"/>
              </a:ext>
            </a:extLst>
          </p:cNvPr>
          <p:cNvSpPr>
            <a:spLocks/>
          </p:cNvSpPr>
          <p:nvPr>
            <p:custDataLst>
              <p:tags r:id="rId139"/>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34BF1-677C-49CB-8BC9-36046ECEBD77}" type="datetime'''''''''0''''''''7'''''''''''''''''''''''''''''''''''''''''">
              <a:rPr lang="en-US" altLang="en-US" sz="1000" smtClean="0"/>
              <a:pPr/>
              <a:t>07</a:t>
            </a:fld>
            <a:endParaRPr kumimoji="1" lang="en-US" altLang="ja-JP" sz="1000" dirty="0">
              <a:sym typeface="+mn-lt"/>
            </a:endParaRPr>
          </a:p>
        </p:txBody>
      </p:sp>
      <p:sp>
        <p:nvSpPr>
          <p:cNvPr id="400" name="テキスト プレースホルダ 9">
            <a:extLst>
              <a:ext uri="{FF2B5EF4-FFF2-40B4-BE49-F238E27FC236}">
                <a16:creationId xmlns:a16="http://schemas.microsoft.com/office/drawing/2014/main" id="{BC9B282C-9B26-6F7D-A8EF-D6DCF0D00BDE}"/>
              </a:ext>
            </a:extLst>
          </p:cNvPr>
          <p:cNvSpPr>
            <a:spLocks/>
          </p:cNvSpPr>
          <p:nvPr>
            <p:custDataLst>
              <p:tags r:id="rId140"/>
            </p:custDataLst>
          </p:nvPr>
        </p:nvSpPr>
        <p:spPr bwMode="gray">
          <a:xfrm>
            <a:off x="4446587" y="5588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E6A59-5594-47D0-BBA4-E52EA41C81F5}" type="datetime'5''''''''7''''''''''''''''''''''''''''''''''.0'''''''''''''''">
              <a:rPr lang="en-US" altLang="en-US" sz="1000" smtClean="0"/>
              <a:pPr/>
              <a:t>57.0</a:t>
            </a:fld>
            <a:endParaRPr kumimoji="1" lang="en-US" altLang="ja-JP" sz="1000" dirty="0">
              <a:sym typeface="+mn-lt"/>
            </a:endParaRPr>
          </a:p>
        </p:txBody>
      </p:sp>
      <p:sp>
        <p:nvSpPr>
          <p:cNvPr id="401" name="テキスト プレースホルダ 9">
            <a:extLst>
              <a:ext uri="{FF2B5EF4-FFF2-40B4-BE49-F238E27FC236}">
                <a16:creationId xmlns:a16="http://schemas.microsoft.com/office/drawing/2014/main" id="{E71BBA5E-0895-182F-E6EE-ACF835198AF3}"/>
              </a:ext>
            </a:extLst>
          </p:cNvPr>
          <p:cNvSpPr>
            <a:spLocks/>
          </p:cNvSpPr>
          <p:nvPr>
            <p:custDataLst>
              <p:tags r:id="rId141"/>
            </p:custDataLst>
          </p:nvPr>
        </p:nvSpPr>
        <p:spPr bwMode="gray">
          <a:xfrm>
            <a:off x="4732337" y="5581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1F27B-B883-4457-8FC5-46DA3301B72D}" type="datetime'''''''''5''''''''7''''''''''''''''.''''''''6'''''">
              <a:rPr lang="en-US" altLang="en-US" sz="1000" smtClean="0"/>
              <a:pPr/>
              <a:t>57.6</a:t>
            </a:fld>
            <a:endParaRPr kumimoji="1" lang="en-US" altLang="ja-JP" sz="1000" dirty="0">
              <a:sym typeface="+mn-lt"/>
            </a:endParaRPr>
          </a:p>
        </p:txBody>
      </p:sp>
      <p:sp>
        <p:nvSpPr>
          <p:cNvPr id="402" name="テキスト プレースホルダ 9">
            <a:extLst>
              <a:ext uri="{FF2B5EF4-FFF2-40B4-BE49-F238E27FC236}">
                <a16:creationId xmlns:a16="http://schemas.microsoft.com/office/drawing/2014/main" id="{276D6F3D-70E3-5D98-C834-66EBD6228304}"/>
              </a:ext>
            </a:extLst>
          </p:cNvPr>
          <p:cNvSpPr>
            <a:spLocks/>
          </p:cNvSpPr>
          <p:nvPr>
            <p:custDataLst>
              <p:tags r:id="rId142"/>
            </p:custDataLst>
          </p:nvPr>
        </p:nvSpPr>
        <p:spPr bwMode="gray">
          <a:xfrm>
            <a:off x="5018087" y="5602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FD9FC5-BE1D-4F0D-9F6F-A0466AF66133}" type="datetime'''''''''''''''''''''''''''''''''''55''''''''.6'''''''''''">
              <a:rPr lang="en-US" altLang="en-US" sz="1000" smtClean="0"/>
              <a:pPr/>
              <a:t>55.6</a:t>
            </a:fld>
            <a:endParaRPr kumimoji="1" lang="en-US" altLang="ja-JP" sz="1000" dirty="0">
              <a:sym typeface="+mn-lt"/>
            </a:endParaRPr>
          </a:p>
        </p:txBody>
      </p:sp>
      <p:sp>
        <p:nvSpPr>
          <p:cNvPr id="403" name="テキスト プレースホルダ 9">
            <a:extLst>
              <a:ext uri="{FF2B5EF4-FFF2-40B4-BE49-F238E27FC236}">
                <a16:creationId xmlns:a16="http://schemas.microsoft.com/office/drawing/2014/main" id="{B4B86D65-835F-1620-1758-EBEB72CC197C}"/>
              </a:ext>
            </a:extLst>
          </p:cNvPr>
          <p:cNvSpPr>
            <a:spLocks/>
          </p:cNvSpPr>
          <p:nvPr>
            <p:custDataLst>
              <p:tags r:id="rId143"/>
            </p:custDataLst>
          </p:nvPr>
        </p:nvSpPr>
        <p:spPr bwMode="gray">
          <a:xfrm>
            <a:off x="5303837" y="5588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79B9C-4169-4CE7-A077-EE40FE63B550}" type="datetime'5''''''''''''''''''''''''''''''''''7''''''.''''0'''''''''''">
              <a:rPr lang="en-US" altLang="en-US" sz="1000" smtClean="0"/>
              <a:pPr/>
              <a:t>57.0</a:t>
            </a:fld>
            <a:endParaRPr kumimoji="1" lang="en-US" altLang="ja-JP" sz="1000" dirty="0">
              <a:sym typeface="+mn-lt"/>
            </a:endParaRPr>
          </a:p>
        </p:txBody>
      </p:sp>
      <p:sp>
        <p:nvSpPr>
          <p:cNvPr id="404" name="テキスト プレースホルダ 9">
            <a:extLst>
              <a:ext uri="{FF2B5EF4-FFF2-40B4-BE49-F238E27FC236}">
                <a16:creationId xmlns:a16="http://schemas.microsoft.com/office/drawing/2014/main" id="{3D216A50-B21A-4BC0-A8BC-20E2EC9923FA}"/>
              </a:ext>
            </a:extLst>
          </p:cNvPr>
          <p:cNvSpPr>
            <a:spLocks/>
          </p:cNvSpPr>
          <p:nvPr>
            <p:custDataLst>
              <p:tags r:id="rId144"/>
            </p:custDataLst>
          </p:nvPr>
        </p:nvSpPr>
        <p:spPr bwMode="gray">
          <a:xfrm>
            <a:off x="5589587" y="5541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A74E58-3E81-455A-A526-95B6EB4380A1}" type="datetime'''''''''''''''''''''6''''''1.''''''''''''''''''''''''''''2'''">
              <a:rPr lang="en-US" altLang="en-US" sz="1000" smtClean="0"/>
              <a:pPr/>
              <a:t>61.2</a:t>
            </a:fld>
            <a:endParaRPr kumimoji="1" lang="en-US" altLang="ja-JP" sz="1000" dirty="0">
              <a:sym typeface="+mn-lt"/>
            </a:endParaRPr>
          </a:p>
        </p:txBody>
      </p:sp>
      <p:sp>
        <p:nvSpPr>
          <p:cNvPr id="405" name="テキスト プレースホルダ 9">
            <a:extLst>
              <a:ext uri="{FF2B5EF4-FFF2-40B4-BE49-F238E27FC236}">
                <a16:creationId xmlns:a16="http://schemas.microsoft.com/office/drawing/2014/main" id="{48E29BEE-B913-FF5B-619A-142BC7478C2C}"/>
              </a:ext>
            </a:extLst>
          </p:cNvPr>
          <p:cNvSpPr>
            <a:spLocks/>
          </p:cNvSpPr>
          <p:nvPr>
            <p:custDataLst>
              <p:tags r:id="rId145"/>
            </p:custDataLst>
          </p:nvPr>
        </p:nvSpPr>
        <p:spPr bwMode="gray">
          <a:xfrm>
            <a:off x="5873749" y="5481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5A6820-B633-40D9-815C-94432494C375}" type="datetime'''''''''''''''66''''''''''''''''''''''''''''.9'''">
              <a:rPr lang="en-US" altLang="en-US" sz="1000" smtClean="0"/>
              <a:pPr/>
              <a:t>66.9</a:t>
            </a:fld>
            <a:endParaRPr kumimoji="1" lang="en-US" altLang="ja-JP" sz="1000" dirty="0">
              <a:sym typeface="+mn-lt"/>
            </a:endParaRPr>
          </a:p>
        </p:txBody>
      </p:sp>
      <p:sp>
        <p:nvSpPr>
          <p:cNvPr id="406" name="テキスト プレースホルダ 9">
            <a:extLst>
              <a:ext uri="{FF2B5EF4-FFF2-40B4-BE49-F238E27FC236}">
                <a16:creationId xmlns:a16="http://schemas.microsoft.com/office/drawing/2014/main" id="{5F3C95FB-27FF-D10C-7EDB-A968050F8B86}"/>
              </a:ext>
            </a:extLst>
          </p:cNvPr>
          <p:cNvSpPr>
            <a:spLocks/>
          </p:cNvSpPr>
          <p:nvPr>
            <p:custDataLst>
              <p:tags r:id="rId146"/>
            </p:custDataLst>
          </p:nvPr>
        </p:nvSpPr>
        <p:spPr bwMode="gray">
          <a:xfrm>
            <a:off x="6159499" y="549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F2A360-63EC-4182-82B2-FBA41A6F81E7}" type="datetime'''''''66''.''''''''''''''''''''''''''''''''''0'''''">
              <a:rPr lang="en-US" altLang="en-US" sz="1000" smtClean="0"/>
              <a:pPr/>
              <a:t>66.0</a:t>
            </a:fld>
            <a:endParaRPr kumimoji="1" lang="en-US" altLang="ja-JP" sz="1000" dirty="0">
              <a:sym typeface="+mn-lt"/>
            </a:endParaRPr>
          </a:p>
        </p:txBody>
      </p:sp>
      <p:sp>
        <p:nvSpPr>
          <p:cNvPr id="407" name="テキスト プレースホルダ 9">
            <a:extLst>
              <a:ext uri="{FF2B5EF4-FFF2-40B4-BE49-F238E27FC236}">
                <a16:creationId xmlns:a16="http://schemas.microsoft.com/office/drawing/2014/main" id="{D323B42B-52E3-DCAF-4967-203601C2CC91}"/>
              </a:ext>
            </a:extLst>
          </p:cNvPr>
          <p:cNvSpPr>
            <a:spLocks/>
          </p:cNvSpPr>
          <p:nvPr>
            <p:custDataLst>
              <p:tags r:id="rId147"/>
            </p:custDataLst>
          </p:nvPr>
        </p:nvSpPr>
        <p:spPr bwMode="gray">
          <a:xfrm>
            <a:off x="6445249" y="5540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39F06-6E07-4E94-A333-B5B628D56462}" type="datetime'''''''''''6''''''1''''.''''4'''''">
              <a:rPr lang="en-US" altLang="en-US" sz="1000" smtClean="0"/>
              <a:pPr/>
              <a:t>61.4</a:t>
            </a:fld>
            <a:endParaRPr kumimoji="1" lang="en-US" altLang="ja-JP" sz="1000" dirty="0">
              <a:sym typeface="+mn-lt"/>
            </a:endParaRPr>
          </a:p>
        </p:txBody>
      </p:sp>
      <p:sp>
        <p:nvSpPr>
          <p:cNvPr id="408" name="テキスト プレースホルダ 9">
            <a:extLst>
              <a:ext uri="{FF2B5EF4-FFF2-40B4-BE49-F238E27FC236}">
                <a16:creationId xmlns:a16="http://schemas.microsoft.com/office/drawing/2014/main" id="{9D2FE7F8-B600-CC2D-3CD4-0B37821BC98E}"/>
              </a:ext>
            </a:extLst>
          </p:cNvPr>
          <p:cNvSpPr>
            <a:spLocks/>
          </p:cNvSpPr>
          <p:nvPr>
            <p:custDataLst>
              <p:tags r:id="rId148"/>
            </p:custDataLst>
          </p:nvPr>
        </p:nvSpPr>
        <p:spPr bwMode="gray">
          <a:xfrm>
            <a:off x="6730999" y="53387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9D485-E32E-4ADC-92FD-FA8313B227D5}" type="datetime'80''''''.''''''''''''''''''''''''''''''1'''''''''''''''''">
              <a:rPr lang="en-US" altLang="en-US" sz="1000" smtClean="0"/>
              <a:pPr/>
              <a:t>80.1</a:t>
            </a:fld>
            <a:endParaRPr kumimoji="1" lang="en-US" altLang="ja-JP" sz="1000" dirty="0">
              <a:sym typeface="+mn-lt"/>
            </a:endParaRPr>
          </a:p>
        </p:txBody>
      </p:sp>
      <p:sp>
        <p:nvSpPr>
          <p:cNvPr id="399" name="テキスト プレースホルダ 9">
            <a:extLst>
              <a:ext uri="{FF2B5EF4-FFF2-40B4-BE49-F238E27FC236}">
                <a16:creationId xmlns:a16="http://schemas.microsoft.com/office/drawing/2014/main" id="{24C7180B-AC0E-A718-C324-79755F793AE0}"/>
              </a:ext>
            </a:extLst>
          </p:cNvPr>
          <p:cNvSpPr>
            <a:spLocks/>
          </p:cNvSpPr>
          <p:nvPr>
            <p:custDataLst>
              <p:tags r:id="rId149"/>
            </p:custDataLst>
          </p:nvPr>
        </p:nvSpPr>
        <p:spPr bwMode="gray">
          <a:xfrm>
            <a:off x="4162424" y="5603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816628-367B-4AF4-9037-59C07BF0FA9B}" type="datetime'''''''''''''''''''''''''5''''''5''''''''''''''.''5'''''''">
              <a:rPr lang="en-US" altLang="en-US" sz="1000" smtClean="0"/>
              <a:pPr/>
              <a:t>55.5</a:t>
            </a:fld>
            <a:endParaRPr kumimoji="1" lang="en-US" altLang="ja-JP" sz="1000" dirty="0">
              <a:sym typeface="+mn-lt"/>
            </a:endParaRPr>
          </a:p>
        </p:txBody>
      </p:sp>
      <p:sp>
        <p:nvSpPr>
          <p:cNvPr id="410" name="テキスト プレースホルダ 9">
            <a:extLst>
              <a:ext uri="{FF2B5EF4-FFF2-40B4-BE49-F238E27FC236}">
                <a16:creationId xmlns:a16="http://schemas.microsoft.com/office/drawing/2014/main" id="{E8E367F6-F1EB-9CB4-DAF7-8C82C2492CD4}"/>
              </a:ext>
            </a:extLst>
          </p:cNvPr>
          <p:cNvSpPr>
            <a:spLocks/>
          </p:cNvSpPr>
          <p:nvPr>
            <p:custDataLst>
              <p:tags r:id="rId150"/>
            </p:custDataLst>
          </p:nvPr>
        </p:nvSpPr>
        <p:spPr bwMode="gray">
          <a:xfrm>
            <a:off x="7300912" y="528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9580CF-2163-430A-B715-0FAF83C7B8AC}" type="datetime'''''''''8''''''''''5''''''''''''''''''''''.4'''''''">
              <a:rPr lang="en-US" altLang="en-US" sz="1000" smtClean="0"/>
              <a:pPr/>
              <a:t>85.4</a:t>
            </a:fld>
            <a:endParaRPr kumimoji="1" lang="en-US" altLang="ja-JP" sz="1000" dirty="0">
              <a:sym typeface="+mn-lt"/>
            </a:endParaRPr>
          </a:p>
        </p:txBody>
      </p:sp>
      <p:sp>
        <p:nvSpPr>
          <p:cNvPr id="411" name="テキスト プレースホルダ 9">
            <a:extLst>
              <a:ext uri="{FF2B5EF4-FFF2-40B4-BE49-F238E27FC236}">
                <a16:creationId xmlns:a16="http://schemas.microsoft.com/office/drawing/2014/main" id="{29D98AF4-FEF6-6E85-AD9C-6BDD3ECBF7FB}"/>
              </a:ext>
            </a:extLst>
          </p:cNvPr>
          <p:cNvSpPr>
            <a:spLocks/>
          </p:cNvSpPr>
          <p:nvPr>
            <p:custDataLst>
              <p:tags r:id="rId151"/>
            </p:custDataLst>
          </p:nvPr>
        </p:nvSpPr>
        <p:spPr bwMode="gray">
          <a:xfrm>
            <a:off x="7586662" y="5224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1BDCB0-93B4-4230-A4C5-B79B9ECB2E0E}" type="datetime'''''''''9''''''''''''''''''''0''''''''''''''''''''.''''7'">
              <a:rPr lang="en-US" altLang="en-US" sz="1000" smtClean="0"/>
              <a:pPr/>
              <a:t>90.7</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547403BE-9C29-1536-9706-ECBFA6E5859B}"/>
              </a:ext>
            </a:extLst>
          </p:cNvPr>
          <p:cNvSpPr>
            <a:spLocks/>
          </p:cNvSpPr>
          <p:nvPr>
            <p:custDataLst>
              <p:tags r:id="rId152"/>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6C8B10-A2D3-458C-97A4-A121D77DFA9A}" type="datetime'''0''''''8'''''''''''''''''">
              <a:rPr lang="en-US" altLang="en-US" sz="1000" smtClean="0"/>
              <a:pPr/>
              <a:t>08</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B982E3E3-27B7-88CA-A4FF-18B6AA79A069}"/>
              </a:ext>
            </a:extLst>
          </p:cNvPr>
          <p:cNvSpPr>
            <a:spLocks/>
          </p:cNvSpPr>
          <p:nvPr>
            <p:custDataLst>
              <p:tags r:id="rId153"/>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EA0BCE-D83D-4562-826E-E514E00A71E4}" type="datetime'''''''''''''''1''''''''''''''''0'''''''''''''''''''''''''''">
              <a:rPr lang="en-US" altLang="en-US" sz="1000" smtClean="0"/>
              <a:pPr/>
              <a:t>10</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F5CD472A-2FA6-71E5-40A1-770187B586C9}"/>
              </a:ext>
            </a:extLst>
          </p:cNvPr>
          <p:cNvSpPr>
            <a:spLocks/>
          </p:cNvSpPr>
          <p:nvPr>
            <p:custDataLst>
              <p:tags r:id="rId154"/>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F2130B-EE12-49E9-BF4F-7099FBBEED5D}" type="datetime'''''''''''''''1''1'''''''''''''''''''''''''''''''">
              <a:rPr lang="en-US" altLang="en-US" sz="1000" smtClean="0"/>
              <a:pPr/>
              <a:t>11</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1EA3C150-BA50-607C-F685-7DA77386A0B4}"/>
              </a:ext>
            </a:extLst>
          </p:cNvPr>
          <p:cNvSpPr>
            <a:spLocks/>
          </p:cNvSpPr>
          <p:nvPr>
            <p:custDataLst>
              <p:tags r:id="rId155"/>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D2F3A-A702-479B-B75B-59C86547C17A}" type="datetime'''''''''''''1''''''''''''2'''''''''''">
              <a:rPr lang="en-US" altLang="en-US" sz="1000" smtClean="0"/>
              <a:pPr/>
              <a:t>12</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780AC4D3-8F1E-000E-0872-A1BB7A75B695}"/>
              </a:ext>
            </a:extLst>
          </p:cNvPr>
          <p:cNvSpPr>
            <a:spLocks/>
          </p:cNvSpPr>
          <p:nvPr>
            <p:custDataLst>
              <p:tags r:id="rId156"/>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C275D-5941-42F4-A338-25CDDF217646}" type="datetime'''''''''''''''''''''''''''''''''''''''''''''''''''''1''3'''">
              <a:rPr lang="en-US" altLang="en-US" sz="1000" smtClean="0"/>
              <a:pPr/>
              <a:t>13</a:t>
            </a:fld>
            <a:endParaRPr kumimoji="1" lang="en-US" altLang="ja-JP" sz="1000" dirty="0">
              <a:sym typeface="+mn-lt"/>
            </a:endParaRPr>
          </a:p>
        </p:txBody>
      </p:sp>
      <p:sp>
        <p:nvSpPr>
          <p:cNvPr id="266" name="テキスト プレースホルダ 9">
            <a:extLst>
              <a:ext uri="{FF2B5EF4-FFF2-40B4-BE49-F238E27FC236}">
                <a16:creationId xmlns:a16="http://schemas.microsoft.com/office/drawing/2014/main" id="{1210CF93-0D2E-5135-A8D4-207419C78CAE}"/>
              </a:ext>
            </a:extLst>
          </p:cNvPr>
          <p:cNvSpPr>
            <a:spLocks/>
          </p:cNvSpPr>
          <p:nvPr>
            <p:custDataLst>
              <p:tags r:id="rId157"/>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D04F8-50EE-4700-A3EB-57A07CB75655}" type="datetime'''''''14'''''''''''''''''''">
              <a:rPr lang="en-US" altLang="en-US" sz="1000" smtClean="0"/>
              <a:pPr/>
              <a:t>14</a:t>
            </a:fld>
            <a:endParaRPr kumimoji="1" lang="en-US" altLang="ja-JP" sz="1000" dirty="0">
              <a:sym typeface="+mn-lt"/>
            </a:endParaRPr>
          </a:p>
        </p:txBody>
      </p:sp>
      <p:sp>
        <p:nvSpPr>
          <p:cNvPr id="267" name="テキスト プレースホルダ 9">
            <a:extLst>
              <a:ext uri="{FF2B5EF4-FFF2-40B4-BE49-F238E27FC236}">
                <a16:creationId xmlns:a16="http://schemas.microsoft.com/office/drawing/2014/main" id="{1B717699-0BEE-64ED-91EC-58F4C2C7F0E9}"/>
              </a:ext>
            </a:extLst>
          </p:cNvPr>
          <p:cNvSpPr>
            <a:spLocks/>
          </p:cNvSpPr>
          <p:nvPr>
            <p:custDataLst>
              <p:tags r:id="rId158"/>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FA69A-93A6-44A9-9679-54210717D3F6}" type="datetime'''''''1''''''''''''''''''5'''''''''''''''''''''''''">
              <a:rPr lang="en-US" altLang="en-US" sz="1000" smtClean="0"/>
              <a:pPr/>
              <a:t>15</a:t>
            </a:fld>
            <a:endParaRPr kumimoji="1" lang="en-US" altLang="ja-JP" sz="1000" dirty="0">
              <a:sym typeface="+mn-lt"/>
            </a:endParaRPr>
          </a:p>
        </p:txBody>
      </p:sp>
      <p:sp>
        <p:nvSpPr>
          <p:cNvPr id="409" name="テキスト プレースホルダ 9">
            <a:extLst>
              <a:ext uri="{FF2B5EF4-FFF2-40B4-BE49-F238E27FC236}">
                <a16:creationId xmlns:a16="http://schemas.microsoft.com/office/drawing/2014/main" id="{FAAD8535-2355-2530-1E6B-CB0B0F544585}"/>
              </a:ext>
            </a:extLst>
          </p:cNvPr>
          <p:cNvSpPr>
            <a:spLocks/>
          </p:cNvSpPr>
          <p:nvPr>
            <p:custDataLst>
              <p:tags r:id="rId159"/>
            </p:custDataLst>
          </p:nvPr>
        </p:nvSpPr>
        <p:spPr bwMode="gray">
          <a:xfrm>
            <a:off x="7016749" y="5227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D8BD3-6EAD-490A-B66B-E2F4E2C2A6BB}" type="datetime'''''''''9''''''''''''0''''''''''''''''''''''.3'">
              <a:rPr lang="en-US" altLang="en-US" sz="1000" smtClean="0"/>
              <a:pPr/>
              <a:t>90.3</a:t>
            </a:fld>
            <a:endParaRPr kumimoji="1" lang="en-US" altLang="ja-JP" sz="1000" dirty="0">
              <a:sym typeface="+mn-lt"/>
            </a:endParaRPr>
          </a:p>
        </p:txBody>
      </p:sp>
    </p:spTree>
    <p:extLst>
      <p:ext uri="{BB962C8B-B14F-4D97-AF65-F5344CB8AC3E}">
        <p14:creationId xmlns:p14="http://schemas.microsoft.com/office/powerpoint/2010/main" val="31293976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3/3</a:t>
            </a:r>
            <a:r>
              <a:rPr lang="ja-JP" altLang="en-US" dirty="0"/>
              <a:t>）</a:t>
            </a:r>
          </a:p>
        </p:txBody>
      </p:sp>
      <p:sp>
        <p:nvSpPr>
          <p:cNvPr id="11" name="テキスト ボックス 10"/>
          <p:cNvSpPr txBox="1"/>
          <p:nvPr/>
        </p:nvSpPr>
        <p:spPr>
          <a:xfrm>
            <a:off x="200472" y="1124744"/>
            <a:ext cx="9505056" cy="144219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文雄内閣総理大臣は、故安倍晋三国葬儀に参列するため訪日中のリー・シェンロン・シンガポール共和国首相と首脳会談を行い、東シナ海・南シナ海情勢、経済的威圧、核・ミサイル問題や拉致問題を含む北朝鮮への対応等について連携していくことを一致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同年５月にも岸田文雄内閣総理大臣とリー・シェンロン・シンガポール共和国首相の首脳会談が行われ、二国間関係の推進、地域情勢及び国際場裡における協力等について議論が行われた他、デジタル分野の協力覚書及びスタートアップ支援の協力覚書の交換式が実施された。</a:t>
            </a:r>
          </a:p>
        </p:txBody>
      </p:sp>
      <p:sp>
        <p:nvSpPr>
          <p:cNvPr id="36" name="テキスト ボックス 35"/>
          <p:cNvSpPr txBox="1"/>
          <p:nvPr/>
        </p:nvSpPr>
        <p:spPr>
          <a:xfrm>
            <a:off x="272480" y="6617177"/>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 https://www.mofa.go.jp/mofaj/area/singapore/visit/index.html</a:t>
            </a:r>
            <a:r>
              <a:rPr lang="ja-JP" altLang="en-US" sz="800" dirty="0"/>
              <a:t>）</a:t>
            </a:r>
          </a:p>
        </p:txBody>
      </p:sp>
      <p:grpSp>
        <p:nvGrpSpPr>
          <p:cNvPr id="12" name="グループ化 11"/>
          <p:cNvGrpSpPr/>
          <p:nvPr/>
        </p:nvGrpSpPr>
        <p:grpSpPr>
          <a:xfrm>
            <a:off x="560512" y="2647798"/>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723849146"/>
              </p:ext>
            </p:extLst>
          </p:nvPr>
        </p:nvGraphicFramePr>
        <p:xfrm>
          <a:off x="560512" y="2983300"/>
          <a:ext cx="8784976" cy="3595680"/>
        </p:xfrm>
        <a:graphic>
          <a:graphicData uri="http://schemas.openxmlformats.org/drawingml/2006/table">
            <a:tbl>
              <a:tblPr firstRow="1" bandRow="1">
                <a:tableStyleId>{5C22544A-7EE6-4342-B048-85BDC9FD1C3A}</a:tableStyleId>
              </a:tblPr>
              <a:tblGrid>
                <a:gridCol w="572870">
                  <a:extLst>
                    <a:ext uri="{9D8B030D-6E8A-4147-A177-3AD203B41FA5}">
                      <a16:colId xmlns:a16="http://schemas.microsoft.com/office/drawing/2014/main" val="20000"/>
                    </a:ext>
                  </a:extLst>
                </a:gridCol>
                <a:gridCol w="1718608">
                  <a:extLst>
                    <a:ext uri="{9D8B030D-6E8A-4147-A177-3AD203B41FA5}">
                      <a16:colId xmlns:a16="http://schemas.microsoft.com/office/drawing/2014/main" val="20001"/>
                    </a:ext>
                  </a:extLst>
                </a:gridCol>
                <a:gridCol w="2389042">
                  <a:extLst>
                    <a:ext uri="{9D8B030D-6E8A-4147-A177-3AD203B41FA5}">
                      <a16:colId xmlns:a16="http://schemas.microsoft.com/office/drawing/2014/main" val="20002"/>
                    </a:ext>
                  </a:extLst>
                </a:gridCol>
                <a:gridCol w="4104456">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2779295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ルギー（</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2994534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20999161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86567747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官邸</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迎賓館赤坂離宮</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官邸</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4225205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ーレンス・ウォ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631607013"/>
                  </a:ext>
                </a:extLst>
              </a:tr>
            </a:tbl>
          </a:graphicData>
        </a:graphic>
      </p:graphicFrame>
    </p:spTree>
    <p:extLst>
      <p:ext uri="{BB962C8B-B14F-4D97-AF65-F5344CB8AC3E}">
        <p14:creationId xmlns:p14="http://schemas.microsoft.com/office/powerpoint/2010/main" val="31213112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07469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5564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219152366"/>
              </p:ext>
            </p:extLst>
          </p:nvPr>
        </p:nvGraphicFramePr>
        <p:xfrm>
          <a:off x="198971" y="1695145"/>
          <a:ext cx="9504001" cy="48082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5597">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597844">
                  <a:extLst>
                    <a:ext uri="{9D8B030D-6E8A-4147-A177-3AD203B41FA5}">
                      <a16:colId xmlns:a16="http://schemas.microsoft.com/office/drawing/2014/main" val="20005"/>
                    </a:ext>
                  </a:extLst>
                </a:gridCol>
              </a:tblGrid>
              <a:tr h="159691">
                <a:tc>
                  <a:txBody>
                    <a:bodyPr/>
                    <a:lstStyle/>
                    <a:p>
                      <a:pPr algn="ctr" fontAlgn="ctr" hangingPunct="0">
                        <a:spcBef>
                          <a:spcPts val="0"/>
                        </a:spcBef>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16691">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21</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福祉用具</a:t>
                      </a:r>
                      <a:endParaRPr kumimoji="1" lang="ja-JP"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フランスベッド株式会社</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フランスベッドが所有する介護ベッド等を貸し出す「越境レンタル 卸」のスキームを構築し、レンタル事業をシンガポールに紹介・試行することで、 福祉用具レンタルの認知・普及を目指す。</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リテールのレンタルサービスの運営は明成商会シンガポールが行い、</a:t>
                      </a:r>
                      <a:r>
                        <a:rPr lang="en-US" altLang="ja-JP" sz="1050" dirty="0"/>
                        <a:t>Ageing Asia</a:t>
                      </a:r>
                      <a:r>
                        <a:rPr lang="ja-JP" altLang="en-US" sz="1050" dirty="0"/>
                        <a:t>が相談窓口、宣伝活動、</a:t>
                      </a:r>
                      <a:r>
                        <a:rPr lang="en-US" altLang="ja-JP" sz="1050" dirty="0"/>
                        <a:t>TSA Logistic</a:t>
                      </a:r>
                      <a:r>
                        <a:rPr lang="ja-JP" altLang="en-US" sz="1050" dirty="0"/>
                        <a:t>が 洗浄・消毒・メンテナンス作業を行い、そのノウハウは、フランスベッドが提供する。</a:t>
                      </a:r>
                      <a:endPar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r>
                        <a:rPr lang="ja-JP" altLang="en-US" sz="1050" dirty="0"/>
                        <a:t>レンタル事業の啓蒙・プロモーション（</a:t>
                      </a:r>
                      <a:r>
                        <a:rPr lang="en-US" altLang="ja-JP" sz="1050" dirty="0"/>
                        <a:t>4</a:t>
                      </a:r>
                      <a:r>
                        <a:rPr lang="ja-JP" altLang="en-US" sz="1050" dirty="0"/>
                        <a:t>件のレンタル事業セミナー及び </a:t>
                      </a:r>
                      <a:r>
                        <a:rPr lang="en-US" altLang="ja-JP" sz="1050" dirty="0"/>
                        <a:t>2</a:t>
                      </a:r>
                      <a:r>
                        <a:rPr lang="ja-JP" altLang="en-US" sz="1050" dirty="0"/>
                        <a:t>件の展示会への出展）、レンタルサービス（レンタル卸スキーム）の試行（１件）、現地政府への働 きかけ等を実施。</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現地パートナーとのビジネススキーム・役割の明確化及び現地パートナーに対する技術移転に向けた</a:t>
                      </a:r>
                      <a:r>
                        <a:rPr lang="en-US" altLang="ja-JP" sz="1050" dirty="0"/>
                        <a:t>WEB</a:t>
                      </a:r>
                      <a:r>
                        <a:rPr lang="ja-JP" altLang="en-US" sz="1050" dirty="0"/>
                        <a:t>研修を実施。</a:t>
                      </a: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912518">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介護</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介護サービス輸出促進コンソーシアム</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の介護サービスのパッケージ輸出を目指すに当たり、文献調査およびヒアリング調査を実施。</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は、２つの調査対象国のうちの１つ。（もう一方はベトナム）</a:t>
                      </a:r>
                      <a:endParaRPr kumimoji="1" lang="en-US" altLang="ja-JP" sz="1050" kern="1200" dirty="0">
                        <a:solidFill>
                          <a:schemeClr val="dk1"/>
                        </a:solidFill>
                        <a:latin typeface="+mn-lt"/>
                        <a:ea typeface="+mn-ea"/>
                        <a:cs typeface="+mn-cs"/>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においては、高齢化が進んでおり、介護のニーズが顕在化。</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介護はシンガポール人が好まない職業であるため、ビザ取得に関し</a:t>
                      </a:r>
                      <a:r>
                        <a:rPr lang="en-US" altLang="ja-JP" sz="1050" dirty="0"/>
                        <a:t>t</a:t>
                      </a:r>
                      <a:r>
                        <a:rPr lang="ja-JP" altLang="en-US" sz="1050" dirty="0"/>
                        <a:t>規制緩和される可能性が高いとの意見を確認。</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現地で介護施設を設立するには、周辺住民の反対から不動産取得が難しいなど、ハードルが高いとの意見も確認。</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r h="1188663">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介護</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メディカル・ケア・サービス株式会社</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kern="1200" dirty="0">
                          <a:solidFill>
                            <a:schemeClr val="dk1"/>
                          </a:solidFill>
                          <a:latin typeface="+mn-lt"/>
                          <a:ea typeface="+mn-ea"/>
                          <a:cs typeface="+mn-cs"/>
                        </a:rPr>
                        <a:t>シンガポールを含むアジアの３か国において、認知症介護サービス（グループホーム、小規模多機能型施設、訪問介護）等の海外展開に関する実証調査を行う。</a:t>
                      </a:r>
                      <a:endParaRPr kumimoji="1" lang="en-US" altLang="ja-JP" sz="105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kern="1200" dirty="0">
                          <a:solidFill>
                            <a:schemeClr val="dk1"/>
                          </a:solidFill>
                          <a:latin typeface="+mn-lt"/>
                          <a:ea typeface="+mn-ea"/>
                          <a:cs typeface="+mn-cs"/>
                        </a:rPr>
                        <a:t>市場規模や関連制度の調査の他、実証調査を通じた需要調査を実施する。</a:t>
                      </a:r>
                      <a:endParaRPr kumimoji="1" lang="en-US" altLang="ja-JP" sz="1050" kern="1200" dirty="0">
                        <a:solidFill>
                          <a:schemeClr val="dk1"/>
                        </a:solidFill>
                        <a:latin typeface="+mn-lt"/>
                        <a:ea typeface="+mn-ea"/>
                        <a:cs typeface="+mn-cs"/>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実証に先駆けておこなった意識調査では、日本の商品・サービスについては、特に「家庭的な環境づくり」について魅力を感じているなど、良好なイメージ を持っていることがわかった。</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式介護の実証調査においては、実際の施術対象者の </a:t>
                      </a:r>
                      <a:r>
                        <a:rPr lang="en-US" altLang="ja-JP" sz="1050" dirty="0"/>
                        <a:t>1 </a:t>
                      </a:r>
                      <a:r>
                        <a:rPr lang="ja-JP" altLang="en-US" sz="1050" dirty="0"/>
                        <a:t>名に夜間 の拘束帯の使用中止、食事量の増加、 睡眠の良質化という具体的効果を得るなど、有用性を明らかにすることができた。</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48285161"/>
                  </a:ext>
                </a:extLst>
              </a:tr>
              <a:tr h="1064605">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医療</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日本式パーソナライズド骨変形治癒矯正診療コンソーシアム</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今後、社会・経済発展著しいアジア諸国において、骨折後変形患者人口は増加傾向にあり、日本式パーソナライズド骨変形治癒矯正診療の国際展開を目的として、調査等を実施する。</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及び香港において、骨変形治癒矯正診療に関する市場環境調査の他、現地医師へのセミナー及び手術デモンストレーションを実施する。</a:t>
                      </a:r>
                      <a:endParaRPr lang="en-US" altLang="ja-JP" sz="1050" dirty="0"/>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式骨変形治癒矯正診療は、シンガポール、香港において既存参入企業がいないこと、相当数の患者が存在すること等から、当初想定していたよりも規模の大きい市場であることを確認した。</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においては、シンガポール国立大学病院において、全</a:t>
                      </a:r>
                      <a:r>
                        <a:rPr lang="en-US" altLang="ja-JP" sz="1050" dirty="0"/>
                        <a:t>2 </a:t>
                      </a:r>
                      <a:r>
                        <a:rPr lang="ja-JP" altLang="en-US" sz="1050" dirty="0"/>
                        <a:t>症例の手術デモンストレーション及び第一回セミナーを開催した。</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23293702"/>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シンガポール共和国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塩崎厚生労働大臣は、来日中のシンガポール共和国保健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大臣との間で、医療・保健分野における協力覚書に署名を行った。</a:t>
            </a:r>
          </a:p>
        </p:txBody>
      </p:sp>
      <p:sp>
        <p:nvSpPr>
          <p:cNvPr id="7" name="フリーフォーム 6"/>
          <p:cNvSpPr/>
          <p:nvPr/>
        </p:nvSpPr>
        <p:spPr>
          <a:xfrm>
            <a:off x="4181624" y="2641345"/>
            <a:ext cx="771090" cy="3956305"/>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37668" y="2542097"/>
            <a:ext cx="4355292"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21</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塩崎厚生労働大臣</a:t>
            </a:r>
            <a:r>
              <a:rPr lang="ja-JP" altLang="en-US" sz="1200" b="0" i="0" dirty="0">
                <a:solidFill>
                  <a:srgbClr val="333333"/>
                </a:solidFill>
                <a:effectLst/>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大臣</a:t>
            </a:r>
            <a:r>
              <a:rPr lang="ja-JP" altLang="en-US" sz="1200" dirty="0">
                <a:solidFill>
                  <a:srgbClr val="333333"/>
                </a:solidFill>
              </a:rPr>
              <a:t>が</a:t>
            </a:r>
            <a:r>
              <a:rPr lang="en-US" altLang="ja-JP" sz="1200" dirty="0">
                <a:solidFill>
                  <a:srgbClr val="333333"/>
                </a:solidFill>
              </a:rPr>
              <a:t>MOC</a:t>
            </a:r>
            <a:r>
              <a:rPr lang="ja-JP" altLang="en-US" sz="1200" dirty="0">
                <a:solidFill>
                  <a:srgbClr val="333333"/>
                </a:solidFill>
              </a:rPr>
              <a:t>に</a:t>
            </a:r>
            <a:r>
              <a:rPr lang="ja-JP" altLang="en-US" sz="1200" dirty="0"/>
              <a:t>署名した。</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シンガポール共和国保健省と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1" y="2929345"/>
            <a:ext cx="4824983" cy="3668305"/>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72000" bIns="108000" rtlCol="0" anchor="t"/>
          <a:lstStyle/>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目的</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それぞれの法律や規制に沿って、互恵及び相互利益の原則に基づき、保健・医療分野において、双方が協力することを通して、その基盤を確立すること。</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協力分野</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健康的な加齢 ②非感染性疾患</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保健に関する研究と保健医療分野のロボット工学　④感染症のコントロールと予防　⑤災害への準備と対応　⑥その他双方の決定により定める協力分野</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協力様式</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経験と情報の共有　②両国の保健専門家の視察の受入れ　③共同研究活動の奨励　④その他の双方の同意により定める協力様式</a:t>
            </a:r>
          </a:p>
        </p:txBody>
      </p:sp>
      <p:sp>
        <p:nvSpPr>
          <p:cNvPr id="66" name="片側の 2 つの角を丸めた四角形 65"/>
          <p:cNvSpPr/>
          <p:nvPr/>
        </p:nvSpPr>
        <p:spPr>
          <a:xfrm>
            <a:off x="4880991" y="2641345"/>
            <a:ext cx="4824983"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協力覚書（概要）</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1" y="1628068"/>
            <a:ext cx="3670049" cy="1080120"/>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19" y="2093123"/>
            <a:ext cx="1134211"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シンガポールを</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0634" y="2091863"/>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2200" dirty="0">
                <a:latin typeface="Arial" panose="020B0604020202020204" pitchFamily="34" charset="0"/>
                <a:ea typeface="ＭＳ Ｐゴシック" panose="020B0600070205080204" pitchFamily="50" charset="-128"/>
                <a:cs typeface="Arial" panose="020B0604020202020204" pitchFamily="34" charset="0"/>
              </a:rPr>
              <a:t>１</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0">
            <a:extLst>
              <a:ext uri="{FF2B5EF4-FFF2-40B4-BE49-F238E27FC236}">
                <a16:creationId xmlns:a16="http://schemas.microsoft.com/office/drawing/2014/main" id="{FF14F50E-AD18-29E0-696A-22E2BDF6DF81}"/>
              </a:ext>
            </a:extLst>
          </p:cNvPr>
          <p:cNvGraphicFramePr>
            <a:graphicFrameLocks noGrp="1"/>
          </p:cNvGraphicFramePr>
          <p:nvPr>
            <p:extLst>
              <p:ext uri="{D42A27DB-BD31-4B8C-83A1-F6EECF244321}">
                <p14:modId xmlns:p14="http://schemas.microsoft.com/office/powerpoint/2010/main" val="4167569330"/>
              </p:ext>
            </p:extLst>
          </p:nvPr>
        </p:nvGraphicFramePr>
        <p:xfrm>
          <a:off x="720508" y="3104216"/>
          <a:ext cx="8496000" cy="683473"/>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00000">
                  <a:extLst>
                    <a:ext uri="{9D8B030D-6E8A-4147-A177-3AD203B41FA5}">
                      <a16:colId xmlns:a16="http://schemas.microsoft.com/office/drawing/2014/main" val="20002"/>
                    </a:ext>
                  </a:extLst>
                </a:gridCol>
                <a:gridCol w="4680000">
                  <a:extLst>
                    <a:ext uri="{9D8B030D-6E8A-4147-A177-3AD203B41FA5}">
                      <a16:colId xmlns:a16="http://schemas.microsoft.com/office/drawing/2014/main" val="20003"/>
                    </a:ext>
                  </a:extLst>
                </a:gridCol>
              </a:tblGrid>
              <a:tr h="31242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836322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sp>
        <p:nvSpPr>
          <p:cNvPr id="8" name="テキスト ボックス 95">
            <a:extLst>
              <a:ext uri="{FF2B5EF4-FFF2-40B4-BE49-F238E27FC236}">
                <a16:creationId xmlns:a16="http://schemas.microsoft.com/office/drawing/2014/main" id="{5256121F-5F6D-4A54-9DFC-8452755884C5}"/>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3803174508"/>
              </p:ext>
            </p:extLst>
          </p:nvPr>
        </p:nvGraphicFramePr>
        <p:xfrm>
          <a:off x="200472" y="1052736"/>
          <a:ext cx="9504000" cy="511256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6171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16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に対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新規キメラ抗原受容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療法開発に関する国際共同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信州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は</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在日本側が有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技術を用い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培養法について、シンガポール側研究施設への技術移転を行う。また、共同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作製の遺伝子導入条件検討し、最適な遺伝子導入条件を決定した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法によ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を作製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 vit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の抗腫瘍効果活性を評価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116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rowSpan="3">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3">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がん</a:t>
                      </a:r>
                    </a:p>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coding the molecular and cellular complexities for therapy response and transformation in myeloid</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京都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uke-NUS Medical School</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385323776"/>
                  </a:ext>
                </a:extLst>
              </a:tr>
              <a:tr h="133448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vMerge="1">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蔓延する環境要因によるエビゲノム影響とがん進化に関する研究開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千葉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partment of Medical Sciences, National Cancer Centre Singapor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80762582"/>
                  </a:ext>
                </a:extLst>
              </a:tr>
              <a:tr h="14931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内外エフェクターに対する大腸がん細胞の適応システムの包括的解析と新規芽根季療法の開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名古屋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TAR Genome Institute of Singapore, Spatial and Single Cell Systems</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4739697"/>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シンガポール／</a:t>
            </a:r>
            <a:r>
              <a:rPr lang="ja-JP" altLang="en-US" dirty="0"/>
              <a:t>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である。（</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88099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1"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reportstop/asia/sg/reports/?_page=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88504" y="3861048"/>
            <a:ext cx="3888432" cy="262507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日・</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のサプライチェーン強靱化のため、</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等の地域において、サプライチェーン多元化を⽬的とした設備導⼊や、設備導入のための</a:t>
            </a:r>
            <a:r>
              <a:rPr lang="en-US" altLang="ja-JP" sz="1400" dirty="0">
                <a:solidFill>
                  <a:srgbClr val="000000"/>
                </a:solidFill>
                <a:latin typeface="ヒラギノ角ゴ Pro W3"/>
              </a:rPr>
              <a:t>FS</a:t>
            </a:r>
            <a:r>
              <a:rPr lang="ja-JP" altLang="en-US" sz="1400" dirty="0">
                <a:solidFill>
                  <a:srgbClr val="000000"/>
                </a:solidFill>
                <a:latin typeface="ヒラギノ角ゴ Pro W3"/>
              </a:rPr>
              <a:t>調査、実証事業等にかかる経費の一部を補助。</a:t>
            </a:r>
            <a:endParaRPr lang="en-US" altLang="ja-JP" sz="1400" dirty="0">
              <a:solidFill>
                <a:srgbClr val="000000"/>
              </a:solidFill>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具体的には</a:t>
            </a:r>
            <a:r>
              <a:rPr lang="en-US" altLang="ja-JP" sz="1400" dirty="0">
                <a:solidFill>
                  <a:srgbClr val="000000"/>
                </a:solidFill>
                <a:latin typeface="ヒラギノ角ゴ Pro W3"/>
              </a:rPr>
              <a:t>ⅰ</a:t>
            </a:r>
            <a:r>
              <a:rPr lang="ja-JP" altLang="en-US" sz="1400" dirty="0">
                <a:solidFill>
                  <a:srgbClr val="000000"/>
                </a:solidFill>
                <a:latin typeface="ヒラギノ角ゴ Pro W3"/>
              </a:rPr>
              <a:t>）海外サプライチェーン多元化等に資する設備導入補助事業 </a:t>
            </a:r>
            <a:r>
              <a:rPr lang="en-US" altLang="ja-JP" sz="1400" dirty="0">
                <a:solidFill>
                  <a:srgbClr val="000000"/>
                </a:solidFill>
                <a:latin typeface="ヒラギノ角ゴ Pro W3"/>
              </a:rPr>
              <a:t>ⅱ</a:t>
            </a:r>
            <a:r>
              <a:rPr lang="ja-JP" altLang="en-US" sz="1400" dirty="0">
                <a:solidFill>
                  <a:srgbClr val="000000"/>
                </a:solidFill>
                <a:latin typeface="ヒラギノ角ゴ Pro W3"/>
              </a:rPr>
              <a:t>）海外サプライチェーン多元化等に資する実証事業 </a:t>
            </a:r>
            <a:r>
              <a:rPr lang="en-US" altLang="ja-JP" sz="1400" dirty="0">
                <a:solidFill>
                  <a:srgbClr val="000000"/>
                </a:solidFill>
                <a:latin typeface="ヒラギノ角ゴ Pro W3"/>
              </a:rPr>
              <a:t>ⅲ</a:t>
            </a:r>
            <a:r>
              <a:rPr lang="ja-JP" altLang="en-US" sz="1400" dirty="0">
                <a:solidFill>
                  <a:srgbClr val="000000"/>
                </a:solidFill>
                <a:latin typeface="ヒラギノ角ゴ Pro W3"/>
              </a:rPr>
              <a:t>）海外サプライチェーン多元化等に資する実現可能性調査の</a:t>
            </a:r>
            <a:r>
              <a:rPr lang="en-US" altLang="ja-JP" sz="1400" dirty="0">
                <a:solidFill>
                  <a:srgbClr val="000000"/>
                </a:solidFill>
                <a:latin typeface="ヒラギノ角ゴ Pro W3"/>
              </a:rPr>
              <a:t>3</a:t>
            </a:r>
            <a:r>
              <a:rPr lang="ja-JP" altLang="en-US" sz="1400" dirty="0">
                <a:solidFill>
                  <a:srgbClr val="000000"/>
                </a:solidFill>
                <a:latin typeface="ヒラギノ角ゴ Pro W3"/>
              </a:rPr>
              <a:t>つの事業を実施。</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44488" y="3573016"/>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サプライチェーン多元化等支援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88504" y="2132856"/>
            <a:ext cx="3888432" cy="132023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a:t>
            </a:r>
            <a:r>
              <a:rPr lang="en-US" altLang="ja-JP" sz="1400" dirty="0"/>
              <a:t>ASEAN</a:t>
            </a:r>
            <a:r>
              <a:rPr lang="ja-JP" altLang="en-US" sz="1400" dirty="0"/>
              <a:t>（インドネシア、カンボジア、シンガポール、タイ、フィリピン、ベトナム、マレーシア、ラオス）、中国、韓国、南西アジア（インド、スリランカ、パキスタン、バングラデシュ）からバイヤー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44488" y="1866878"/>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医療機器オンライン商談会（アジア地域）</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7" name="表 30">
            <a:extLst>
              <a:ext uri="{FF2B5EF4-FFF2-40B4-BE49-F238E27FC236}">
                <a16:creationId xmlns:a16="http://schemas.microsoft.com/office/drawing/2014/main" id="{9CF6ACB0-2BDB-F944-28CC-5C5B03EE6F53}"/>
              </a:ext>
            </a:extLst>
          </p:cNvPr>
          <p:cNvGraphicFramePr>
            <a:graphicFrameLocks noGrp="1"/>
          </p:cNvGraphicFramePr>
          <p:nvPr>
            <p:extLst>
              <p:ext uri="{D42A27DB-BD31-4B8C-83A1-F6EECF244321}">
                <p14:modId xmlns:p14="http://schemas.microsoft.com/office/powerpoint/2010/main" val="651759925"/>
              </p:ext>
            </p:extLst>
          </p:nvPr>
        </p:nvGraphicFramePr>
        <p:xfrm>
          <a:off x="4935543" y="2325097"/>
          <a:ext cx="4770433" cy="4000502"/>
        </p:xfrm>
        <a:graphic>
          <a:graphicData uri="http://schemas.openxmlformats.org/drawingml/2006/table">
            <a:tbl>
              <a:tblPr firstRow="1" bandRow="1">
                <a:tableStyleId>{5C22544A-7EE6-4342-B048-85BDC9FD1C3A}</a:tableStyleId>
              </a:tblPr>
              <a:tblGrid>
                <a:gridCol w="385190">
                  <a:extLst>
                    <a:ext uri="{9D8B030D-6E8A-4147-A177-3AD203B41FA5}">
                      <a16:colId xmlns:a16="http://schemas.microsoft.com/office/drawing/2014/main" val="20000"/>
                    </a:ext>
                  </a:extLst>
                </a:gridCol>
                <a:gridCol w="625809">
                  <a:extLst>
                    <a:ext uri="{9D8B030D-6E8A-4147-A177-3AD203B41FA5}">
                      <a16:colId xmlns:a16="http://schemas.microsoft.com/office/drawing/2014/main" val="20001"/>
                    </a:ext>
                  </a:extLst>
                </a:gridCol>
                <a:gridCol w="1879717">
                  <a:extLst>
                    <a:ext uri="{9D8B030D-6E8A-4147-A177-3AD203B41FA5}">
                      <a16:colId xmlns:a16="http://schemas.microsoft.com/office/drawing/2014/main" val="20003"/>
                    </a:ext>
                  </a:extLst>
                </a:gridCol>
                <a:gridCol w="1879717">
                  <a:extLst>
                    <a:ext uri="{9D8B030D-6E8A-4147-A177-3AD203B41FA5}">
                      <a16:colId xmlns:a16="http://schemas.microsoft.com/office/drawing/2014/main" val="1107345160"/>
                    </a:ext>
                  </a:extLst>
                </a:gridCol>
              </a:tblGrid>
              <a:tr h="31242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レポート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ンク</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関連食品調査</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6"/>
                        </a:rPr>
                        <a:t>https://www.jetro.go.jp/ext_images/_Reports/02/2023/74dc32d015494f4b/pf_spr_01.pdf</a:t>
                      </a:r>
                      <a:endParaRPr kumimoji="1" lang="zh-TW" altLang="en-US" sz="1100" b="0" i="0" u="none" strike="noStrike" kern="1200" baseline="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121398812"/>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向調査</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7"/>
                        </a:rPr>
                        <a:t>https://www.jetro.go.jp/world/reports/2022/02/ab7026b72051af9f.html</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多国籍企業によるシンガポールを拠点としたオープンイノベーション </a:t>
                      </a:r>
                      <a:r>
                        <a:rPr lang="en-US" altLang="ja-JP" sz="1100" b="0" i="0" dirty="0">
                          <a:solidFill>
                            <a:srgbClr val="000000"/>
                          </a:solidFill>
                          <a:effectLst/>
                          <a:latin typeface="ヒラギノ角ゴ Pro W3"/>
                        </a:rPr>
                        <a:t>―</a:t>
                      </a:r>
                      <a:r>
                        <a:rPr lang="ja-JP" altLang="en-US" sz="1100" b="0" i="0" dirty="0">
                          <a:solidFill>
                            <a:srgbClr val="000000"/>
                          </a:solidFill>
                          <a:effectLst/>
                          <a:latin typeface="ヒラギノ角ゴ Pro W3"/>
                        </a:rPr>
                        <a:t>スタートアップとの協業、ベンチャー創出活動のケーススタディ</a:t>
                      </a:r>
                      <a:r>
                        <a:rPr lang="en-US" altLang="ja-JP" sz="1100" b="0" i="0" dirty="0">
                          <a:solidFill>
                            <a:srgbClr val="000000"/>
                          </a:solidFill>
                          <a:effectLst/>
                          <a:latin typeface="ヒラギノ角ゴ Pro W3"/>
                        </a:rPr>
                        <a:t>―</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8"/>
                        </a:rPr>
                        <a:t>https://www.jetro.go.jp/ext_images/_Reports/02/2022/ec6a11427b1b71bf/202203.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528182329"/>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シンガポール概況と日系企業の進出動向</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9"/>
                        </a:rPr>
                        <a:t>https://www.jetro.go.jp/ext_images/_Reports/01/40ae8bbf70797fe9/20210040.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578133075"/>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アジア新興国における競争力強化に資するスタートアップ投資調査報告書</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10"/>
                        </a:rPr>
                        <a:t>https://www.jetro.go.jp/ext_images/_Reports/02/2021/3b50f6dc3800fc5d/rpasia_202104all.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4036450778"/>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solidFill>
                            <a:srgbClr val="000000"/>
                          </a:solidFill>
                          <a:latin typeface="ヒラギノ角ゴ Pro W3"/>
                          <a:ea typeface="ＭＳ Ｐゴシック" panose="020B0600070205080204" pitchFamily="50" charset="-128"/>
                          <a:cs typeface="Arial" panose="020B0604020202020204" pitchFamily="34" charset="0"/>
                        </a:rPr>
                        <a:t>ヘルスケア・ビジネスの</a:t>
                      </a:r>
                      <a:r>
                        <a:rPr lang="en-US" altLang="ja-JP" sz="1100" dirty="0">
                          <a:solidFill>
                            <a:srgbClr val="000000"/>
                          </a:solidFill>
                          <a:latin typeface="ヒラギノ角ゴ Pro W3"/>
                          <a:ea typeface="ＭＳ Ｐゴシック" panose="020B0600070205080204" pitchFamily="50" charset="-128"/>
                          <a:cs typeface="Arial" panose="020B0604020202020204" pitchFamily="34" charset="0"/>
                        </a:rPr>
                        <a:t>ASEAN</a:t>
                      </a:r>
                      <a:r>
                        <a:rPr lang="ja-JP" altLang="en-US" sz="1100" dirty="0">
                          <a:solidFill>
                            <a:srgbClr val="000000"/>
                          </a:solidFill>
                          <a:latin typeface="ヒラギノ角ゴ Pro W3"/>
                          <a:ea typeface="ＭＳ Ｐゴシック" panose="020B0600070205080204" pitchFamily="50" charset="-128"/>
                          <a:cs typeface="Arial" panose="020B0604020202020204" pitchFamily="34" charset="0"/>
                        </a:rPr>
                        <a:t>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11"/>
                        </a:rPr>
                        <a:t>https://www.jetro.go.jp/ext_images/_Reports/02/2018/e999e1cbfd5a7b1f/report.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474664866"/>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774218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6" imgW="360" imgH="360" progId="TCLayout.ActiveDocument.1">
                  <p:embed/>
                </p:oleObj>
              </mc:Choice>
              <mc:Fallback>
                <p:oleObj name="think-cellスライド" r:id="rId76" imgW="360" imgH="360" progId="TCLayout.ActiveDocument.1">
                  <p:embed/>
                  <p:pic>
                    <p:nvPicPr>
                      <p:cNvPr id="7" name="Object 6" hidden="1"/>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2329743"/>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4942599" y="2329743"/>
            <a:ext cx="4826876"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182336" y="1052887"/>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インフレ率は比較的低水準で推移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世界的なインフレ率上昇や国内の労働需給の圧迫による賃金上昇などから、企業による商品価格へのコスト転嫁が進んだとみられる。また、物価の上昇の鈍化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インフレ率は低下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インフレ率は消費支出の増加と政府の支援策によるもの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範囲内にとどまると予想されているが、世界的な不確実性と地政学的緊張による下振れのリスクは根強い。</a:t>
            </a:r>
          </a:p>
        </p:txBody>
      </p:sp>
      <p:graphicFrame>
        <p:nvGraphicFramePr>
          <p:cNvPr id="110" name="Chart 109">
            <a:extLst>
              <a:ext uri="{FF2B5EF4-FFF2-40B4-BE49-F238E27FC236}">
                <a16:creationId xmlns:a16="http://schemas.microsoft.com/office/drawing/2014/main" id="{8E4FA1F0-86AB-75E5-39E7-1EC4400845A5}"/>
              </a:ext>
            </a:extLst>
          </p:cNvPr>
          <p:cNvGraphicFramePr/>
          <p:nvPr>
            <p:custDataLst>
              <p:tags r:id="rId3"/>
            </p:custDataLst>
            <p:extLst>
              <p:ext uri="{D42A27DB-BD31-4B8C-83A1-F6EECF244321}">
                <p14:modId xmlns:p14="http://schemas.microsoft.com/office/powerpoint/2010/main" val="2606700250"/>
              </p:ext>
            </p:extLst>
          </p:nvPr>
        </p:nvGraphicFramePr>
        <p:xfrm>
          <a:off x="44450" y="2663825"/>
          <a:ext cx="4826000" cy="3605213"/>
        </p:xfrm>
        <a:graphic>
          <a:graphicData uri="http://schemas.openxmlformats.org/drawingml/2006/chart">
            <c:chart xmlns:c="http://schemas.openxmlformats.org/drawingml/2006/chart" xmlns:r="http://schemas.openxmlformats.org/officeDocument/2006/relationships" r:id="rId78"/>
          </a:graphicData>
        </a:graphic>
      </p:graphicFrame>
      <p:cxnSp>
        <p:nvCxnSpPr>
          <p:cNvPr id="83" name="Straight Connector 82">
            <a:extLst>
              <a:ext uri="{FF2B5EF4-FFF2-40B4-BE49-F238E27FC236}">
                <a16:creationId xmlns:a16="http://schemas.microsoft.com/office/drawing/2014/main" id="{2486F6C7-068B-2DE5-77EA-EE06E204DD6C}"/>
              </a:ext>
            </a:extLst>
          </p:cNvPr>
          <p:cNvCxnSpPr/>
          <p:nvPr>
            <p:custDataLst>
              <p:tags r:id="rId4"/>
            </p:custDataLst>
          </p:nvPr>
        </p:nvCxnSpPr>
        <p:spPr bwMode="auto">
          <a:xfrm>
            <a:off x="657225" y="5246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AEB48921-8C75-D108-226B-A27D51EDAF5D}"/>
              </a:ext>
            </a:extLst>
          </p:cNvPr>
          <p:cNvCxnSpPr/>
          <p:nvPr>
            <p:custDataLst>
              <p:tags r:id="rId5"/>
            </p:custDataLst>
          </p:nvPr>
        </p:nvCxnSpPr>
        <p:spPr bwMode="auto">
          <a:xfrm>
            <a:off x="3432175" y="5457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2E746F8B-A4DF-37D0-DF12-22EDA1F8FC03}"/>
              </a:ext>
            </a:extLst>
          </p:cNvPr>
          <p:cNvCxnSpPr/>
          <p:nvPr>
            <p:custDataLst>
              <p:tags r:id="rId6"/>
            </p:custDataLst>
          </p:nvPr>
        </p:nvCxnSpPr>
        <p:spPr bwMode="auto">
          <a:xfrm>
            <a:off x="4573588" y="5283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21A3970-DF99-28EA-3BED-7119AB0670E8}"/>
              </a:ext>
            </a:extLst>
          </p:cNvPr>
          <p:cNvSpPr>
            <a:spLocks/>
          </p:cNvSpPr>
          <p:nvPr>
            <p:custDataLst>
              <p:tags r:id="rId7"/>
            </p:custDataLst>
          </p:nvPr>
        </p:nvSpPr>
        <p:spPr bwMode="auto">
          <a:xfrm>
            <a:off x="7572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a:sym typeface="+mn-lt"/>
            </a:endParaRPr>
          </a:p>
        </p:txBody>
      </p:sp>
      <p:sp>
        <p:nvSpPr>
          <p:cNvPr id="18" name="Text Placeholder 12">
            <a:extLst>
              <a:ext uri="{FF2B5EF4-FFF2-40B4-BE49-F238E27FC236}">
                <a16:creationId xmlns:a16="http://schemas.microsoft.com/office/drawing/2014/main" id="{35B0FB27-8621-A6A1-7789-0897C88BFD03}"/>
              </a:ext>
            </a:extLst>
          </p:cNvPr>
          <p:cNvSpPr>
            <a:spLocks/>
          </p:cNvSpPr>
          <p:nvPr>
            <p:custDataLst>
              <p:tags r:id="rId8"/>
            </p:custDataLst>
          </p:nvPr>
        </p:nvSpPr>
        <p:spPr bwMode="auto">
          <a:xfrm>
            <a:off x="919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a:sym typeface="+mn-lt"/>
            </a:endParaRPr>
          </a:p>
        </p:txBody>
      </p:sp>
      <p:sp>
        <p:nvSpPr>
          <p:cNvPr id="19" name="Text Placeholder 12">
            <a:extLst>
              <a:ext uri="{FF2B5EF4-FFF2-40B4-BE49-F238E27FC236}">
                <a16:creationId xmlns:a16="http://schemas.microsoft.com/office/drawing/2014/main" id="{5DB46215-EFF1-EBA3-C1E3-03E595476CDD}"/>
              </a:ext>
            </a:extLst>
          </p:cNvPr>
          <p:cNvSpPr>
            <a:spLocks/>
          </p:cNvSpPr>
          <p:nvPr>
            <p:custDataLst>
              <p:tags r:id="rId9"/>
            </p:custDataLst>
          </p:nvPr>
        </p:nvSpPr>
        <p:spPr bwMode="auto">
          <a:xfrm>
            <a:off x="1082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a:sym typeface="+mn-lt"/>
            </a:endParaRPr>
          </a:p>
        </p:txBody>
      </p:sp>
      <p:sp>
        <p:nvSpPr>
          <p:cNvPr id="20" name="Text Placeholder 12">
            <a:extLst>
              <a:ext uri="{FF2B5EF4-FFF2-40B4-BE49-F238E27FC236}">
                <a16:creationId xmlns:a16="http://schemas.microsoft.com/office/drawing/2014/main" id="{92248DDA-AB4F-B3D7-1CE6-0E750DE683AD}"/>
              </a:ext>
            </a:extLst>
          </p:cNvPr>
          <p:cNvSpPr>
            <a:spLocks/>
          </p:cNvSpPr>
          <p:nvPr>
            <p:custDataLst>
              <p:tags r:id="rId10"/>
            </p:custDataLst>
          </p:nvPr>
        </p:nvSpPr>
        <p:spPr bwMode="auto">
          <a:xfrm>
            <a:off x="1246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a:sym typeface="+mn-lt"/>
            </a:endParaRPr>
          </a:p>
        </p:txBody>
      </p:sp>
      <p:sp>
        <p:nvSpPr>
          <p:cNvPr id="21" name="Text Placeholder 12">
            <a:extLst>
              <a:ext uri="{FF2B5EF4-FFF2-40B4-BE49-F238E27FC236}">
                <a16:creationId xmlns:a16="http://schemas.microsoft.com/office/drawing/2014/main" id="{AC6130B4-5AE2-4C24-9E0B-580C165BE2E6}"/>
              </a:ext>
            </a:extLst>
          </p:cNvPr>
          <p:cNvSpPr>
            <a:spLocks/>
          </p:cNvSpPr>
          <p:nvPr>
            <p:custDataLst>
              <p:tags r:id="rId11"/>
            </p:custDataLst>
          </p:nvPr>
        </p:nvSpPr>
        <p:spPr bwMode="auto">
          <a:xfrm>
            <a:off x="1409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a:sym typeface="+mn-lt"/>
            </a:endParaRPr>
          </a:p>
        </p:txBody>
      </p:sp>
      <p:sp>
        <p:nvSpPr>
          <p:cNvPr id="14" name="Text Placeholder 12">
            <a:extLst>
              <a:ext uri="{FF2B5EF4-FFF2-40B4-BE49-F238E27FC236}">
                <a16:creationId xmlns:a16="http://schemas.microsoft.com/office/drawing/2014/main" id="{EB30DC6B-56E4-8BA8-F3A2-6918B99550EC}"/>
              </a:ext>
            </a:extLst>
          </p:cNvPr>
          <p:cNvSpPr>
            <a:spLocks/>
          </p:cNvSpPr>
          <p:nvPr>
            <p:custDataLst>
              <p:tags r:id="rId12"/>
            </p:custDataLst>
          </p:nvPr>
        </p:nvSpPr>
        <p:spPr bwMode="auto">
          <a:xfrm>
            <a:off x="1573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a:sym typeface="+mn-lt"/>
            </a:endParaRPr>
          </a:p>
        </p:txBody>
      </p:sp>
      <p:sp>
        <p:nvSpPr>
          <p:cNvPr id="17" name="Text Placeholder 12">
            <a:extLst>
              <a:ext uri="{FF2B5EF4-FFF2-40B4-BE49-F238E27FC236}">
                <a16:creationId xmlns:a16="http://schemas.microsoft.com/office/drawing/2014/main" id="{86BFC6F7-5488-CA93-22B5-A9DFD8A71FA2}"/>
              </a:ext>
            </a:extLst>
          </p:cNvPr>
          <p:cNvSpPr>
            <a:spLocks/>
          </p:cNvSpPr>
          <p:nvPr>
            <p:custDataLst>
              <p:tags r:id="rId13"/>
            </p:custDataLst>
          </p:nvPr>
        </p:nvSpPr>
        <p:spPr bwMode="auto">
          <a:xfrm>
            <a:off x="1735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a:sym typeface="+mn-lt"/>
            </a:endParaRPr>
          </a:p>
        </p:txBody>
      </p:sp>
      <p:sp>
        <p:nvSpPr>
          <p:cNvPr id="16" name="Text Placeholder 12">
            <a:extLst>
              <a:ext uri="{FF2B5EF4-FFF2-40B4-BE49-F238E27FC236}">
                <a16:creationId xmlns:a16="http://schemas.microsoft.com/office/drawing/2014/main" id="{34D25B37-352A-FA8D-DFE0-5C4576256E0D}"/>
              </a:ext>
            </a:extLst>
          </p:cNvPr>
          <p:cNvSpPr>
            <a:spLocks/>
          </p:cNvSpPr>
          <p:nvPr>
            <p:custDataLst>
              <p:tags r:id="rId14"/>
            </p:custDataLst>
          </p:nvPr>
        </p:nvSpPr>
        <p:spPr bwMode="auto">
          <a:xfrm>
            <a:off x="1898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a:sym typeface="+mn-lt"/>
            </a:endParaRPr>
          </a:p>
        </p:txBody>
      </p:sp>
      <p:sp>
        <p:nvSpPr>
          <p:cNvPr id="23" name="Text Placeholder 12">
            <a:extLst>
              <a:ext uri="{FF2B5EF4-FFF2-40B4-BE49-F238E27FC236}">
                <a16:creationId xmlns:a16="http://schemas.microsoft.com/office/drawing/2014/main" id="{CA9E85E5-7A8D-80D5-BDBC-81EE73089EAD}"/>
              </a:ext>
            </a:extLst>
          </p:cNvPr>
          <p:cNvSpPr>
            <a:spLocks/>
          </p:cNvSpPr>
          <p:nvPr>
            <p:custDataLst>
              <p:tags r:id="rId15"/>
            </p:custDataLst>
          </p:nvPr>
        </p:nvSpPr>
        <p:spPr bwMode="auto">
          <a:xfrm>
            <a:off x="2062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a:sym typeface="+mn-lt"/>
            </a:endParaRPr>
          </a:p>
        </p:txBody>
      </p:sp>
      <p:sp>
        <p:nvSpPr>
          <p:cNvPr id="24" name="Text Placeholder 12">
            <a:extLst>
              <a:ext uri="{FF2B5EF4-FFF2-40B4-BE49-F238E27FC236}">
                <a16:creationId xmlns:a16="http://schemas.microsoft.com/office/drawing/2014/main" id="{F4567BB2-DD92-F7CC-5507-97220EFC98DF}"/>
              </a:ext>
            </a:extLst>
          </p:cNvPr>
          <p:cNvSpPr>
            <a:spLocks/>
          </p:cNvSpPr>
          <p:nvPr>
            <p:custDataLst>
              <p:tags r:id="rId16"/>
            </p:custDataLst>
          </p:nvPr>
        </p:nvSpPr>
        <p:spPr bwMode="auto">
          <a:xfrm>
            <a:off x="2225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a:sym typeface="+mn-lt"/>
            </a:endParaRPr>
          </a:p>
        </p:txBody>
      </p:sp>
      <p:sp>
        <p:nvSpPr>
          <p:cNvPr id="32" name="Text Placeholder 12">
            <a:extLst>
              <a:ext uri="{FF2B5EF4-FFF2-40B4-BE49-F238E27FC236}">
                <a16:creationId xmlns:a16="http://schemas.microsoft.com/office/drawing/2014/main" id="{14160A57-6FDB-8174-A606-0089E2EB92EB}"/>
              </a:ext>
            </a:extLst>
          </p:cNvPr>
          <p:cNvSpPr>
            <a:spLocks/>
          </p:cNvSpPr>
          <p:nvPr>
            <p:custDataLst>
              <p:tags r:id="rId17"/>
            </p:custDataLst>
          </p:nvPr>
        </p:nvSpPr>
        <p:spPr bwMode="auto">
          <a:xfrm>
            <a:off x="2389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a:sym typeface="+mn-lt"/>
            </a:endParaRPr>
          </a:p>
        </p:txBody>
      </p:sp>
      <p:sp>
        <p:nvSpPr>
          <p:cNvPr id="34" name="Text Placeholder 12">
            <a:extLst>
              <a:ext uri="{FF2B5EF4-FFF2-40B4-BE49-F238E27FC236}">
                <a16:creationId xmlns:a16="http://schemas.microsoft.com/office/drawing/2014/main" id="{0F6792D1-8F94-D232-CDDC-60657081F850}"/>
              </a:ext>
            </a:extLst>
          </p:cNvPr>
          <p:cNvSpPr>
            <a:spLocks/>
          </p:cNvSpPr>
          <p:nvPr>
            <p:custDataLst>
              <p:tags r:id="rId18"/>
            </p:custDataLst>
          </p:nvPr>
        </p:nvSpPr>
        <p:spPr bwMode="auto">
          <a:xfrm>
            <a:off x="2552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a:sym typeface="+mn-lt"/>
            </a:endParaRPr>
          </a:p>
        </p:txBody>
      </p:sp>
      <p:sp>
        <p:nvSpPr>
          <p:cNvPr id="75" name="Text Placeholder 12"/>
          <p:cNvSpPr>
            <a:spLocks/>
          </p:cNvSpPr>
          <p:nvPr>
            <p:custDataLst>
              <p:tags r:id="rId19"/>
            </p:custDataLst>
          </p:nvPr>
        </p:nvSpPr>
        <p:spPr bwMode="auto">
          <a:xfrm>
            <a:off x="190500" y="25590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37" name="Text Placeholder 12">
            <a:extLst>
              <a:ext uri="{FF2B5EF4-FFF2-40B4-BE49-F238E27FC236}">
                <a16:creationId xmlns:a16="http://schemas.microsoft.com/office/drawing/2014/main" id="{357FDDCA-A152-E1CD-3CFD-960951004AB2}"/>
              </a:ext>
            </a:extLst>
          </p:cNvPr>
          <p:cNvSpPr>
            <a:spLocks/>
          </p:cNvSpPr>
          <p:nvPr>
            <p:custDataLst>
              <p:tags r:id="rId20"/>
            </p:custDataLst>
          </p:nvPr>
        </p:nvSpPr>
        <p:spPr bwMode="auto">
          <a:xfrm>
            <a:off x="287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a:sym typeface="+mn-lt"/>
            </a:endParaRPr>
          </a:p>
        </p:txBody>
      </p:sp>
      <p:sp>
        <p:nvSpPr>
          <p:cNvPr id="22" name="Text Placeholder 12">
            <a:extLst>
              <a:ext uri="{FF2B5EF4-FFF2-40B4-BE49-F238E27FC236}">
                <a16:creationId xmlns:a16="http://schemas.microsoft.com/office/drawing/2014/main" id="{CF60E422-B941-1088-AF07-5D0D85165F7B}"/>
              </a:ext>
            </a:extLst>
          </p:cNvPr>
          <p:cNvSpPr>
            <a:spLocks/>
          </p:cNvSpPr>
          <p:nvPr>
            <p:custDataLst>
              <p:tags r:id="rId21"/>
            </p:custDataLst>
          </p:nvPr>
        </p:nvSpPr>
        <p:spPr bwMode="auto">
          <a:xfrm>
            <a:off x="3041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a:sym typeface="+mn-lt"/>
            </a:endParaRPr>
          </a:p>
        </p:txBody>
      </p:sp>
      <p:sp>
        <p:nvSpPr>
          <p:cNvPr id="35" name="Text Placeholder 12">
            <a:extLst>
              <a:ext uri="{FF2B5EF4-FFF2-40B4-BE49-F238E27FC236}">
                <a16:creationId xmlns:a16="http://schemas.microsoft.com/office/drawing/2014/main" id="{F0F8A30D-2B72-ED4A-B8D3-6DEE37D6739B}"/>
              </a:ext>
            </a:extLst>
          </p:cNvPr>
          <p:cNvSpPr>
            <a:spLocks/>
          </p:cNvSpPr>
          <p:nvPr>
            <p:custDataLst>
              <p:tags r:id="rId22"/>
            </p:custDataLst>
          </p:nvPr>
        </p:nvSpPr>
        <p:spPr bwMode="auto">
          <a:xfrm>
            <a:off x="320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a:sym typeface="+mn-lt"/>
            </a:endParaRPr>
          </a:p>
        </p:txBody>
      </p:sp>
      <p:sp>
        <p:nvSpPr>
          <p:cNvPr id="11" name="Text Placeholder 12">
            <a:extLst>
              <a:ext uri="{FF2B5EF4-FFF2-40B4-BE49-F238E27FC236}">
                <a16:creationId xmlns:a16="http://schemas.microsoft.com/office/drawing/2014/main" id="{F7EC7DAE-B421-E19D-4056-3B26512CA480}"/>
              </a:ext>
            </a:extLst>
          </p:cNvPr>
          <p:cNvSpPr>
            <a:spLocks/>
          </p:cNvSpPr>
          <p:nvPr>
            <p:custDataLst>
              <p:tags r:id="rId23"/>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38" name="Text Placeholder 12">
            <a:extLst>
              <a:ext uri="{FF2B5EF4-FFF2-40B4-BE49-F238E27FC236}">
                <a16:creationId xmlns:a16="http://schemas.microsoft.com/office/drawing/2014/main" id="{232BF69A-A116-3466-C3D8-D863361181CB}"/>
              </a:ext>
            </a:extLst>
          </p:cNvPr>
          <p:cNvSpPr>
            <a:spLocks/>
          </p:cNvSpPr>
          <p:nvPr>
            <p:custDataLst>
              <p:tags r:id="rId24"/>
            </p:custDataLst>
          </p:nvPr>
        </p:nvSpPr>
        <p:spPr bwMode="auto">
          <a:xfrm>
            <a:off x="3368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a:sym typeface="+mn-lt"/>
            </a:endParaRPr>
          </a:p>
        </p:txBody>
      </p:sp>
      <p:sp>
        <p:nvSpPr>
          <p:cNvPr id="39" name="Text Placeholder 12">
            <a:extLst>
              <a:ext uri="{FF2B5EF4-FFF2-40B4-BE49-F238E27FC236}">
                <a16:creationId xmlns:a16="http://schemas.microsoft.com/office/drawing/2014/main" id="{D12BE675-CE4A-768A-D858-E2FD70E28D9E}"/>
              </a:ext>
            </a:extLst>
          </p:cNvPr>
          <p:cNvSpPr>
            <a:spLocks/>
          </p:cNvSpPr>
          <p:nvPr>
            <p:custDataLst>
              <p:tags r:id="rId25"/>
            </p:custDataLst>
          </p:nvPr>
        </p:nvSpPr>
        <p:spPr bwMode="auto">
          <a:xfrm>
            <a:off x="35306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a:sym typeface="+mn-lt"/>
            </a:endParaRPr>
          </a:p>
        </p:txBody>
      </p:sp>
      <p:sp>
        <p:nvSpPr>
          <p:cNvPr id="10" name="Text Placeholder 12">
            <a:extLst>
              <a:ext uri="{FF2B5EF4-FFF2-40B4-BE49-F238E27FC236}">
                <a16:creationId xmlns:a16="http://schemas.microsoft.com/office/drawing/2014/main" id="{AC28255A-E1CA-9B6D-43D1-FE5C534C7186}"/>
              </a:ext>
            </a:extLst>
          </p:cNvPr>
          <p:cNvSpPr>
            <a:spLocks/>
          </p:cNvSpPr>
          <p:nvPr>
            <p:custDataLst>
              <p:tags r:id="rId26"/>
            </p:custDataLst>
          </p:nvPr>
        </p:nvSpPr>
        <p:spPr bwMode="auto">
          <a:xfrm>
            <a:off x="369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a:sym typeface="+mn-lt"/>
            </a:endParaRPr>
          </a:p>
        </p:txBody>
      </p:sp>
      <p:sp>
        <p:nvSpPr>
          <p:cNvPr id="43" name="Text Placeholder 12">
            <a:extLst>
              <a:ext uri="{FF2B5EF4-FFF2-40B4-BE49-F238E27FC236}">
                <a16:creationId xmlns:a16="http://schemas.microsoft.com/office/drawing/2014/main" id="{AF3D2296-0BEA-A3F2-DD5A-C5C64BFB735A}"/>
              </a:ext>
            </a:extLst>
          </p:cNvPr>
          <p:cNvSpPr>
            <a:spLocks/>
          </p:cNvSpPr>
          <p:nvPr>
            <p:custDataLst>
              <p:tags r:id="rId27"/>
            </p:custDataLst>
          </p:nvPr>
        </p:nvSpPr>
        <p:spPr bwMode="auto">
          <a:xfrm>
            <a:off x="385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a:sym typeface="+mn-lt"/>
            </a:endParaRPr>
          </a:p>
        </p:txBody>
      </p:sp>
      <p:sp>
        <p:nvSpPr>
          <p:cNvPr id="44" name="Text Placeholder 12">
            <a:extLst>
              <a:ext uri="{FF2B5EF4-FFF2-40B4-BE49-F238E27FC236}">
                <a16:creationId xmlns:a16="http://schemas.microsoft.com/office/drawing/2014/main" id="{70F3F52A-31E4-55BE-35B8-3D1F95A9A51B}"/>
              </a:ext>
            </a:extLst>
          </p:cNvPr>
          <p:cNvSpPr>
            <a:spLocks/>
          </p:cNvSpPr>
          <p:nvPr>
            <p:custDataLst>
              <p:tags r:id="rId28"/>
            </p:custDataLst>
          </p:nvPr>
        </p:nvSpPr>
        <p:spPr bwMode="auto">
          <a:xfrm>
            <a:off x="402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a:sym typeface="+mn-lt"/>
            </a:endParaRPr>
          </a:p>
        </p:txBody>
      </p:sp>
      <p:sp>
        <p:nvSpPr>
          <p:cNvPr id="45" name="Text Placeholder 12">
            <a:extLst>
              <a:ext uri="{FF2B5EF4-FFF2-40B4-BE49-F238E27FC236}">
                <a16:creationId xmlns:a16="http://schemas.microsoft.com/office/drawing/2014/main" id="{CE61FE71-7A73-9A59-9755-E416D1B12594}"/>
              </a:ext>
            </a:extLst>
          </p:cNvPr>
          <p:cNvSpPr>
            <a:spLocks/>
          </p:cNvSpPr>
          <p:nvPr>
            <p:custDataLst>
              <p:tags r:id="rId29"/>
            </p:custDataLst>
          </p:nvPr>
        </p:nvSpPr>
        <p:spPr bwMode="auto">
          <a:xfrm>
            <a:off x="4184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lgn="ctr">
                <a:spcBef>
                  <a:spcPct val="0"/>
                </a:spcBef>
                <a:spcAft>
                  <a:spcPct val="0"/>
                </a:spcAft>
              </a:pPr>
              <a:t>23</a:t>
            </a:fld>
            <a:endParaRPr kumimoji="0" lang="ja-JP" altLang="en-US" sz="800" b="0">
              <a:sym typeface="+mn-lt"/>
            </a:endParaRPr>
          </a:p>
        </p:txBody>
      </p:sp>
      <p:sp>
        <p:nvSpPr>
          <p:cNvPr id="46" name="Text Placeholder 12">
            <a:extLst>
              <a:ext uri="{FF2B5EF4-FFF2-40B4-BE49-F238E27FC236}">
                <a16:creationId xmlns:a16="http://schemas.microsoft.com/office/drawing/2014/main" id="{125C58CF-5187-6C61-333A-3ABF74E28685}"/>
              </a:ext>
            </a:extLst>
          </p:cNvPr>
          <p:cNvSpPr>
            <a:spLocks/>
          </p:cNvSpPr>
          <p:nvPr>
            <p:custDataLst>
              <p:tags r:id="rId30"/>
            </p:custDataLst>
          </p:nvPr>
        </p:nvSpPr>
        <p:spPr bwMode="auto">
          <a:xfrm>
            <a:off x="4346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lgn="ctr">
                <a:spcBef>
                  <a:spcPct val="0"/>
                </a:spcBef>
                <a:spcAft>
                  <a:spcPct val="0"/>
                </a:spcAft>
              </a:pPr>
              <a:t>24</a:t>
            </a:fld>
            <a:endParaRPr kumimoji="0" lang="ja-JP" altLang="en-US" sz="800" b="0">
              <a:sym typeface="+mn-lt"/>
            </a:endParaRPr>
          </a:p>
        </p:txBody>
      </p:sp>
      <p:sp useBgFill="1">
        <p:nvSpPr>
          <p:cNvPr id="89" name="テキスト プレースホルダ 9">
            <a:extLst>
              <a:ext uri="{FF2B5EF4-FFF2-40B4-BE49-F238E27FC236}">
                <a16:creationId xmlns:a16="http://schemas.microsoft.com/office/drawing/2014/main" id="{28C4A997-4D0D-866D-F69E-1B2F6C7674E1}"/>
              </a:ext>
            </a:extLst>
          </p:cNvPr>
          <p:cNvSpPr>
            <a:spLocks/>
          </p:cNvSpPr>
          <p:nvPr>
            <p:custDataLst>
              <p:tags r:id="rId31"/>
            </p:custDataLst>
          </p:nvPr>
        </p:nvSpPr>
        <p:spPr bwMode="gray">
          <a:xfrm>
            <a:off x="4468813" y="51308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36BC74-D5E3-469C-82EC-5325A6126A3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2" name="Text Placeholder 12">
            <a:extLst>
              <a:ext uri="{FF2B5EF4-FFF2-40B4-BE49-F238E27FC236}">
                <a16:creationId xmlns:a16="http://schemas.microsoft.com/office/drawing/2014/main" id="{51846DF5-6F34-B5EC-2EC2-52DD5EFEB3E2}"/>
              </a:ext>
            </a:extLst>
          </p:cNvPr>
          <p:cNvSpPr>
            <a:spLocks/>
          </p:cNvSpPr>
          <p:nvPr>
            <p:custDataLst>
              <p:tags r:id="rId32"/>
            </p:custDataLst>
          </p:nvPr>
        </p:nvSpPr>
        <p:spPr bwMode="auto">
          <a:xfrm>
            <a:off x="593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a:sym typeface="+mn-lt"/>
            </a:endParaRPr>
          </a:p>
        </p:txBody>
      </p:sp>
      <p:sp>
        <p:nvSpPr>
          <p:cNvPr id="47" name="Text Placeholder 12">
            <a:extLst>
              <a:ext uri="{FF2B5EF4-FFF2-40B4-BE49-F238E27FC236}">
                <a16:creationId xmlns:a16="http://schemas.microsoft.com/office/drawing/2014/main" id="{0EDEC6F8-2211-5464-70CF-F100664FC7A0}"/>
              </a:ext>
            </a:extLst>
          </p:cNvPr>
          <p:cNvSpPr>
            <a:spLocks/>
          </p:cNvSpPr>
          <p:nvPr>
            <p:custDataLst>
              <p:tags r:id="rId33"/>
            </p:custDataLst>
          </p:nvPr>
        </p:nvSpPr>
        <p:spPr bwMode="auto">
          <a:xfrm>
            <a:off x="4510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lgn="ctr">
                <a:spcBef>
                  <a:spcPct val="0"/>
                </a:spcBef>
                <a:spcAft>
                  <a:spcPct val="0"/>
                </a:spcAft>
              </a:pPr>
              <a:t>25</a:t>
            </a:fld>
            <a:endParaRPr kumimoji="0" lang="ja-JP" altLang="en-US" sz="800" b="0" dirty="0">
              <a:sym typeface="+mn-lt"/>
            </a:endParaRPr>
          </a:p>
        </p:txBody>
      </p:sp>
      <p:sp>
        <p:nvSpPr>
          <p:cNvPr id="87" name="Text Placeholder 12">
            <a:extLst>
              <a:ext uri="{FF2B5EF4-FFF2-40B4-BE49-F238E27FC236}">
                <a16:creationId xmlns:a16="http://schemas.microsoft.com/office/drawing/2014/main" id="{52E611A5-987F-45D5-B667-7749AB6DFBDD}"/>
              </a:ext>
            </a:extLst>
          </p:cNvPr>
          <p:cNvSpPr>
            <a:spLocks/>
          </p:cNvSpPr>
          <p:nvPr>
            <p:custDataLst>
              <p:tags r:id="rId34"/>
            </p:custDataLst>
          </p:nvPr>
        </p:nvSpPr>
        <p:spPr bwMode="auto">
          <a:xfrm>
            <a:off x="4673600"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D986B01-2176-4D10-AFDF-F50F3BEB9F45}" type="datetime'''''''''''2''''''''''''''''''''''''''''''''''6'''''">
              <a:rPr kumimoji="0" lang="en-US" altLang="en-US" sz="800" b="0" smtClean="0"/>
              <a:pPr/>
              <a:t>26</a:t>
            </a:fld>
            <a:endParaRPr kumimoji="0" lang="ja-JP" altLang="en-US" sz="800" b="0">
              <a:sym typeface="+mn-lt"/>
            </a:endParaRPr>
          </a:p>
        </p:txBody>
      </p:sp>
      <p:sp>
        <p:nvSpPr>
          <p:cNvPr id="36" name="Text Placeholder 12">
            <a:extLst>
              <a:ext uri="{FF2B5EF4-FFF2-40B4-BE49-F238E27FC236}">
                <a16:creationId xmlns:a16="http://schemas.microsoft.com/office/drawing/2014/main" id="{59D1E0A1-4533-7D70-8988-E70750E9FC12}"/>
              </a:ext>
            </a:extLst>
          </p:cNvPr>
          <p:cNvSpPr>
            <a:spLocks/>
          </p:cNvSpPr>
          <p:nvPr>
            <p:custDataLst>
              <p:tags r:id="rId35"/>
            </p:custDataLst>
          </p:nvPr>
        </p:nvSpPr>
        <p:spPr bwMode="auto">
          <a:xfrm>
            <a:off x="2714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a:sym typeface="+mn-lt"/>
            </a:endParaRPr>
          </a:p>
        </p:txBody>
      </p:sp>
      <p:graphicFrame>
        <p:nvGraphicFramePr>
          <p:cNvPr id="307" name="Chart 306">
            <a:extLst>
              <a:ext uri="{FF2B5EF4-FFF2-40B4-BE49-F238E27FC236}">
                <a16:creationId xmlns:a16="http://schemas.microsoft.com/office/drawing/2014/main" id="{DC4ED7BB-8464-4BB8-7FA7-99EE8E54C463}"/>
              </a:ext>
            </a:extLst>
          </p:cNvPr>
          <p:cNvGraphicFramePr/>
          <p:nvPr>
            <p:custDataLst>
              <p:tags r:id="rId36"/>
            </p:custDataLst>
            <p:extLst>
              <p:ext uri="{D42A27DB-BD31-4B8C-83A1-F6EECF244321}">
                <p14:modId xmlns:p14="http://schemas.microsoft.com/office/powerpoint/2010/main" val="219575341"/>
              </p:ext>
            </p:extLst>
          </p:nvPr>
        </p:nvGraphicFramePr>
        <p:xfrm>
          <a:off x="4911725" y="2816225"/>
          <a:ext cx="4973638" cy="3744913"/>
        </p:xfrm>
        <a:graphic>
          <a:graphicData uri="http://schemas.openxmlformats.org/drawingml/2006/chart">
            <c:chart xmlns:c="http://schemas.openxmlformats.org/drawingml/2006/chart" xmlns:r="http://schemas.openxmlformats.org/officeDocument/2006/relationships" r:id="rId79"/>
          </a:graphicData>
        </a:graphic>
      </p:graphicFrame>
      <p:cxnSp>
        <p:nvCxnSpPr>
          <p:cNvPr id="159" name="Straight Connector 158">
            <a:extLst>
              <a:ext uri="{FF2B5EF4-FFF2-40B4-BE49-F238E27FC236}">
                <a16:creationId xmlns:a16="http://schemas.microsoft.com/office/drawing/2014/main" id="{8415EE97-A9CE-0117-33AD-64929B95647B}"/>
              </a:ext>
            </a:extLst>
          </p:cNvPr>
          <p:cNvCxnSpPr/>
          <p:nvPr>
            <p:custDataLst>
              <p:tags r:id="rId37"/>
            </p:custDataLst>
          </p:nvPr>
        </p:nvCxnSpPr>
        <p:spPr bwMode="auto">
          <a:xfrm>
            <a:off x="5630863" y="452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B0CF13AA-4ED7-AF5F-FFF3-DEFBBD2651E6}"/>
              </a:ext>
            </a:extLst>
          </p:cNvPr>
          <p:cNvCxnSpPr>
            <a:cxnSpLocks/>
          </p:cNvCxnSpPr>
          <p:nvPr>
            <p:custDataLst>
              <p:tags r:id="rId38"/>
            </p:custDataLst>
          </p:nvPr>
        </p:nvCxnSpPr>
        <p:spPr bwMode="auto">
          <a:xfrm flipV="1">
            <a:off x="5978525" y="4722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11C7186-5085-3EA9-823C-637D4553921D}"/>
              </a:ext>
            </a:extLst>
          </p:cNvPr>
          <p:cNvCxnSpPr/>
          <p:nvPr>
            <p:custDataLst>
              <p:tags r:id="rId39"/>
            </p:custDataLst>
          </p:nvPr>
        </p:nvCxnSpPr>
        <p:spPr bwMode="auto">
          <a:xfrm>
            <a:off x="6153150" y="4618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6870DC50-BCBE-99CE-2F51-58250C021B8D}"/>
              </a:ext>
            </a:extLst>
          </p:cNvPr>
          <p:cNvCxnSpPr>
            <a:cxnSpLocks/>
          </p:cNvCxnSpPr>
          <p:nvPr>
            <p:custDataLst>
              <p:tags r:id="rId40"/>
            </p:custDataLst>
          </p:nvPr>
        </p:nvCxnSpPr>
        <p:spPr bwMode="auto">
          <a:xfrm flipV="1">
            <a:off x="6326188" y="4730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A5B7DB94-3422-FCD7-5160-23E52FE5AC81}"/>
              </a:ext>
            </a:extLst>
          </p:cNvPr>
          <p:cNvCxnSpPr/>
          <p:nvPr>
            <p:custDataLst>
              <p:tags r:id="rId41"/>
            </p:custDataLst>
          </p:nvPr>
        </p:nvCxnSpPr>
        <p:spPr bwMode="auto">
          <a:xfrm>
            <a:off x="7196138" y="461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677BF06B-90B1-F42A-175D-B295872FB671}"/>
              </a:ext>
            </a:extLst>
          </p:cNvPr>
          <p:cNvCxnSpPr>
            <a:cxnSpLocks/>
          </p:cNvCxnSpPr>
          <p:nvPr>
            <p:custDataLst>
              <p:tags r:id="rId42"/>
            </p:custDataLst>
          </p:nvPr>
        </p:nvCxnSpPr>
        <p:spPr bwMode="auto">
          <a:xfrm flipV="1">
            <a:off x="7369175" y="4800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A7BD22D-A546-53C4-32C4-98293BC77FA1}"/>
              </a:ext>
            </a:extLst>
          </p:cNvPr>
          <p:cNvCxnSpPr/>
          <p:nvPr>
            <p:custDataLst>
              <p:tags r:id="rId43"/>
            </p:custDataLst>
          </p:nvPr>
        </p:nvCxnSpPr>
        <p:spPr bwMode="auto">
          <a:xfrm>
            <a:off x="7796213" y="42179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54A8B6CC-C7E0-0EEA-05E8-425598AA8069}"/>
              </a:ext>
            </a:extLst>
          </p:cNvPr>
          <p:cNvCxnSpPr/>
          <p:nvPr>
            <p:custDataLst>
              <p:tags r:id="rId44"/>
            </p:custDataLst>
          </p:nvPr>
        </p:nvCxnSpPr>
        <p:spPr bwMode="auto">
          <a:xfrm>
            <a:off x="8143875" y="43418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FED4DEEE-7354-9527-207C-BB75DD424D4D}"/>
              </a:ext>
            </a:extLst>
          </p:cNvPr>
          <p:cNvCxnSpPr/>
          <p:nvPr>
            <p:custDataLst>
              <p:tags r:id="rId45"/>
            </p:custDataLst>
          </p:nvPr>
        </p:nvCxnSpPr>
        <p:spPr bwMode="auto">
          <a:xfrm>
            <a:off x="8586788" y="4165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B1F3688-FA04-B082-FBB1-83AA30487448}"/>
              </a:ext>
            </a:extLst>
          </p:cNvPr>
          <p:cNvCxnSpPr>
            <a:cxnSpLocks/>
          </p:cNvCxnSpPr>
          <p:nvPr>
            <p:custDataLst>
              <p:tags r:id="rId46"/>
            </p:custDataLst>
          </p:nvPr>
        </p:nvCxnSpPr>
        <p:spPr bwMode="auto">
          <a:xfrm flipV="1">
            <a:off x="8759825" y="4383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FE94406-B023-F41C-B18F-04221265D10D}"/>
              </a:ext>
            </a:extLst>
          </p:cNvPr>
          <p:cNvCxnSpPr/>
          <p:nvPr>
            <p:custDataLst>
              <p:tags r:id="rId47"/>
            </p:custDataLst>
          </p:nvPr>
        </p:nvCxnSpPr>
        <p:spPr bwMode="auto">
          <a:xfrm>
            <a:off x="8934450" y="4278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09C9FE92-463C-7F5E-C864-32BDE37C49ED}"/>
              </a:ext>
            </a:extLst>
          </p:cNvPr>
          <p:cNvSpPr>
            <a:spLocks/>
          </p:cNvSpPr>
          <p:nvPr>
            <p:custDataLst>
              <p:tags r:id="rId48"/>
            </p:custDataLst>
          </p:nvPr>
        </p:nvSpPr>
        <p:spPr bwMode="auto">
          <a:xfrm>
            <a:off x="72929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F52BD-17B9-47E4-B3A4-4E2BEB667C5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B3320630-ECB3-B0F8-18F7-23430E1F2509}"/>
              </a:ext>
            </a:extLst>
          </p:cNvPr>
          <p:cNvSpPr>
            <a:spLocks/>
          </p:cNvSpPr>
          <p:nvPr>
            <p:custDataLst>
              <p:tags r:id="rId49"/>
            </p:custDataLst>
          </p:nvPr>
        </p:nvSpPr>
        <p:spPr bwMode="auto">
          <a:xfrm>
            <a:off x="746760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3D002-861B-4332-AFE3-8B0608CF056D}"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660CE481-78A6-7460-5250-383775A573AD}"/>
              </a:ext>
            </a:extLst>
          </p:cNvPr>
          <p:cNvSpPr>
            <a:spLocks/>
          </p:cNvSpPr>
          <p:nvPr>
            <p:custDataLst>
              <p:tags r:id="rId50"/>
            </p:custDataLst>
          </p:nvPr>
        </p:nvSpPr>
        <p:spPr bwMode="auto">
          <a:xfrm>
            <a:off x="764063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5C7D4-9747-49A0-8FF1-E6F71ED06BA9}"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91DDD419-5045-B065-D622-BCE47CDC377D}"/>
              </a:ext>
            </a:extLst>
          </p:cNvPr>
          <p:cNvSpPr>
            <a:spLocks/>
          </p:cNvSpPr>
          <p:nvPr>
            <p:custDataLst>
              <p:tags r:id="rId51"/>
            </p:custDataLst>
          </p:nvPr>
        </p:nvSpPr>
        <p:spPr bwMode="auto">
          <a:xfrm>
            <a:off x="78152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0DE37-E0C7-4F85-87B8-33408828865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042EAACF-F2E6-D233-2EFE-87C8C6527A4A}"/>
              </a:ext>
            </a:extLst>
          </p:cNvPr>
          <p:cNvSpPr>
            <a:spLocks/>
          </p:cNvSpPr>
          <p:nvPr>
            <p:custDataLst>
              <p:tags r:id="rId52"/>
            </p:custDataLst>
          </p:nvPr>
        </p:nvSpPr>
        <p:spPr bwMode="auto">
          <a:xfrm>
            <a:off x="798830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3638B-83C2-40D4-8F9C-7D13C091E8F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D3FB673E-5FDF-2174-9DE3-E87B467E4562}"/>
              </a:ext>
            </a:extLst>
          </p:cNvPr>
          <p:cNvSpPr>
            <a:spLocks/>
          </p:cNvSpPr>
          <p:nvPr>
            <p:custDataLst>
              <p:tags r:id="rId53"/>
            </p:custDataLst>
          </p:nvPr>
        </p:nvSpPr>
        <p:spPr bwMode="auto">
          <a:xfrm>
            <a:off x="81629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756772-9C80-4569-977A-9E314C18E55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C7FC8661-24F7-C92A-191C-94E2062EE570}"/>
              </a:ext>
            </a:extLst>
          </p:cNvPr>
          <p:cNvSpPr>
            <a:spLocks/>
          </p:cNvSpPr>
          <p:nvPr>
            <p:custDataLst>
              <p:tags r:id="rId54"/>
            </p:custDataLst>
          </p:nvPr>
        </p:nvSpPr>
        <p:spPr bwMode="auto">
          <a:xfrm>
            <a:off x="83359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36907-4DCD-4D95-975D-964819E8A13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15" name="Text Placeholder 12"/>
          <p:cNvSpPr>
            <a:spLocks/>
          </p:cNvSpPr>
          <p:nvPr>
            <p:custDataLst>
              <p:tags r:id="rId55"/>
            </p:custDataLst>
          </p:nvPr>
        </p:nvSpPr>
        <p:spPr bwMode="auto">
          <a:xfrm>
            <a:off x="5014913" y="2711450"/>
            <a:ext cx="1217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シンガポールドル）</a:t>
            </a:r>
          </a:p>
        </p:txBody>
      </p:sp>
      <p:sp>
        <p:nvSpPr>
          <p:cNvPr id="117" name="テキスト プレースホルダ 9">
            <a:extLst>
              <a:ext uri="{FF2B5EF4-FFF2-40B4-BE49-F238E27FC236}">
                <a16:creationId xmlns:a16="http://schemas.microsoft.com/office/drawing/2014/main" id="{502BC3E7-C4E7-483A-E151-FBC677C1748C}"/>
              </a:ext>
            </a:extLst>
          </p:cNvPr>
          <p:cNvSpPr>
            <a:spLocks/>
          </p:cNvSpPr>
          <p:nvPr>
            <p:custDataLst>
              <p:tags r:id="rId56"/>
            </p:custDataLst>
          </p:nvPr>
        </p:nvSpPr>
        <p:spPr bwMode="auto">
          <a:xfrm>
            <a:off x="86836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8DF5A4-7F02-416E-8B33-8F6A62691F8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B79187A3-22F6-CDD9-2F1F-22F64250D1CD}"/>
              </a:ext>
            </a:extLst>
          </p:cNvPr>
          <p:cNvSpPr>
            <a:spLocks/>
          </p:cNvSpPr>
          <p:nvPr>
            <p:custDataLst>
              <p:tags r:id="rId57"/>
            </p:custDataLst>
          </p:nvPr>
        </p:nvSpPr>
        <p:spPr bwMode="auto">
          <a:xfrm>
            <a:off x="88582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10610-B87F-47B7-BFEE-BE9FB669581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A7A47A8B-C611-FE6A-E3B7-D1292DD409A7}"/>
              </a:ext>
            </a:extLst>
          </p:cNvPr>
          <p:cNvSpPr>
            <a:spLocks/>
          </p:cNvSpPr>
          <p:nvPr>
            <p:custDataLst>
              <p:tags r:id="rId58"/>
            </p:custDataLst>
          </p:nvPr>
        </p:nvSpPr>
        <p:spPr bwMode="auto">
          <a:xfrm>
            <a:off x="90312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DA248-91F4-44D5-AED1-B394AA6E613A}"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1DFC768E-24B6-66E2-0208-348E66368884}"/>
              </a:ext>
            </a:extLst>
          </p:cNvPr>
          <p:cNvSpPr>
            <a:spLocks/>
          </p:cNvSpPr>
          <p:nvPr>
            <p:custDataLst>
              <p:tags r:id="rId59"/>
            </p:custDataLst>
          </p:nvPr>
        </p:nvSpPr>
        <p:spPr bwMode="auto">
          <a:xfrm>
            <a:off x="92059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DE908-B8DC-48DE-9FD4-967196485EB5}"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044DB88C-0869-79C6-9DC6-2975C959D522}"/>
              </a:ext>
            </a:extLst>
          </p:cNvPr>
          <p:cNvSpPr>
            <a:spLocks/>
          </p:cNvSpPr>
          <p:nvPr>
            <p:custDataLst>
              <p:tags r:id="rId60"/>
            </p:custDataLst>
          </p:nvPr>
        </p:nvSpPr>
        <p:spPr bwMode="auto">
          <a:xfrm>
            <a:off x="93789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43EA3-BA03-44AE-B410-E932B4612436}" type="datetime'''2''''''''''''''''''''''''''''''''''''3'">
              <a:rPr lang="en-US" altLang="en-US" sz="1000" smtClean="0"/>
              <a:pPr/>
              <a:t>2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3C3D48AA-CD54-67C5-4AA9-C90C53512293}"/>
              </a:ext>
            </a:extLst>
          </p:cNvPr>
          <p:cNvSpPr>
            <a:spLocks/>
          </p:cNvSpPr>
          <p:nvPr>
            <p:custDataLst>
              <p:tags r:id="rId61"/>
            </p:custDataLst>
          </p:nvPr>
        </p:nvSpPr>
        <p:spPr bwMode="auto">
          <a:xfrm>
            <a:off x="95535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D4848-8194-43B8-862C-B934217AECB2}" type="datetime'''''2''4'''">
              <a:rPr lang="en-US" altLang="en-US" sz="1000" smtClean="0"/>
              <a:pPr/>
              <a:t>24</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A6BA8B67-F18C-FEBF-79B3-1EE4C0DF8CB5}"/>
              </a:ext>
            </a:extLst>
          </p:cNvPr>
          <p:cNvSpPr>
            <a:spLocks/>
          </p:cNvSpPr>
          <p:nvPr>
            <p:custDataLst>
              <p:tags r:id="rId62"/>
            </p:custDataLst>
          </p:nvPr>
        </p:nvSpPr>
        <p:spPr bwMode="auto">
          <a:xfrm>
            <a:off x="97266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283BD-41A6-4B7C-B6F2-729AC60DB5EC}" type="datetime'''''''''''''''''''''''''''''''''''''''''2''''''''''''5'''''''">
              <a:rPr lang="en-US" altLang="en-US" sz="1000" smtClean="0"/>
              <a:pPr/>
              <a:t>2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8466D545-EBAD-7741-D108-77C33BCE9D90}"/>
              </a:ext>
            </a:extLst>
          </p:cNvPr>
          <p:cNvSpPr>
            <a:spLocks/>
          </p:cNvSpPr>
          <p:nvPr>
            <p:custDataLst>
              <p:tags r:id="rId63"/>
            </p:custDataLst>
          </p:nvPr>
        </p:nvSpPr>
        <p:spPr bwMode="auto">
          <a:xfrm>
            <a:off x="5311775" y="64214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3B641-E1FC-4C41-B31E-7B66DD9DF04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8711524-3CB6-A654-E298-176A113BFEF9}"/>
              </a:ext>
            </a:extLst>
          </p:cNvPr>
          <p:cNvSpPr>
            <a:spLocks/>
          </p:cNvSpPr>
          <p:nvPr>
            <p:custDataLst>
              <p:tags r:id="rId64"/>
            </p:custDataLst>
          </p:nvPr>
        </p:nvSpPr>
        <p:spPr bwMode="auto">
          <a:xfrm>
            <a:off x="55546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9AFCB0-B900-46D1-B430-14DB9B346D8B}"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22D6D9C-42C0-3630-E6DA-E81CB51D3C5C}"/>
              </a:ext>
            </a:extLst>
          </p:cNvPr>
          <p:cNvSpPr>
            <a:spLocks/>
          </p:cNvSpPr>
          <p:nvPr>
            <p:custDataLst>
              <p:tags r:id="rId65"/>
            </p:custDataLst>
          </p:nvPr>
        </p:nvSpPr>
        <p:spPr bwMode="auto">
          <a:xfrm>
            <a:off x="57292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5C513-BBB8-4D18-9369-601B948B7700}"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AB43C6CD-71F8-AE79-A30D-95B78A1FB13F}"/>
              </a:ext>
            </a:extLst>
          </p:cNvPr>
          <p:cNvSpPr>
            <a:spLocks/>
          </p:cNvSpPr>
          <p:nvPr>
            <p:custDataLst>
              <p:tags r:id="rId66"/>
            </p:custDataLst>
          </p:nvPr>
        </p:nvSpPr>
        <p:spPr bwMode="auto">
          <a:xfrm>
            <a:off x="59023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6ACFA-3552-4F86-9193-90041C960D9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4F0E3BC-DB4F-9C63-5C4C-8D26A57FD782}"/>
              </a:ext>
            </a:extLst>
          </p:cNvPr>
          <p:cNvSpPr>
            <a:spLocks/>
          </p:cNvSpPr>
          <p:nvPr>
            <p:custDataLst>
              <p:tags r:id="rId67"/>
            </p:custDataLst>
          </p:nvPr>
        </p:nvSpPr>
        <p:spPr bwMode="auto">
          <a:xfrm>
            <a:off x="60769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F62A8-61AF-40CC-AF5F-EE1797D760F9}"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041C42E2-B421-B92E-F48B-4B49D7CC4C15}"/>
              </a:ext>
            </a:extLst>
          </p:cNvPr>
          <p:cNvSpPr>
            <a:spLocks/>
          </p:cNvSpPr>
          <p:nvPr>
            <p:custDataLst>
              <p:tags r:id="rId68"/>
            </p:custDataLst>
          </p:nvPr>
        </p:nvSpPr>
        <p:spPr bwMode="auto">
          <a:xfrm>
            <a:off x="62499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01244-EADB-4AF4-BD49-3EB1EACD8B3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73CB3C8-052B-30D9-959F-E79F59470D00}"/>
              </a:ext>
            </a:extLst>
          </p:cNvPr>
          <p:cNvSpPr>
            <a:spLocks/>
          </p:cNvSpPr>
          <p:nvPr>
            <p:custDataLst>
              <p:tags r:id="rId69"/>
            </p:custDataLst>
          </p:nvPr>
        </p:nvSpPr>
        <p:spPr bwMode="auto">
          <a:xfrm>
            <a:off x="64246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FF1416-FCC5-4205-A946-0454485DBEF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06A3BB0F-FB04-9307-3348-8D690417A246}"/>
              </a:ext>
            </a:extLst>
          </p:cNvPr>
          <p:cNvSpPr>
            <a:spLocks/>
          </p:cNvSpPr>
          <p:nvPr>
            <p:custDataLst>
              <p:tags r:id="rId70"/>
            </p:custDataLst>
          </p:nvPr>
        </p:nvSpPr>
        <p:spPr bwMode="auto">
          <a:xfrm>
            <a:off x="65976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A1CBE4-4C13-47C9-B249-721B315E44B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EE296550-00D8-8457-9F92-1914F1A46038}"/>
              </a:ext>
            </a:extLst>
          </p:cNvPr>
          <p:cNvSpPr>
            <a:spLocks/>
          </p:cNvSpPr>
          <p:nvPr>
            <p:custDataLst>
              <p:tags r:id="rId71"/>
            </p:custDataLst>
          </p:nvPr>
        </p:nvSpPr>
        <p:spPr bwMode="auto">
          <a:xfrm>
            <a:off x="67722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7D241-6C6D-4A6E-8521-2B4101E21B15}"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A1A226B-06C7-2928-790A-237824095ECF}"/>
              </a:ext>
            </a:extLst>
          </p:cNvPr>
          <p:cNvSpPr>
            <a:spLocks/>
          </p:cNvSpPr>
          <p:nvPr>
            <p:custDataLst>
              <p:tags r:id="rId72"/>
            </p:custDataLst>
          </p:nvPr>
        </p:nvSpPr>
        <p:spPr bwMode="auto">
          <a:xfrm>
            <a:off x="69453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316622-C94A-4BFB-9B05-8CFF718E6FE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71C3CDCB-F964-F607-BF1E-31D7C7F03513}"/>
              </a:ext>
            </a:extLst>
          </p:cNvPr>
          <p:cNvSpPr>
            <a:spLocks/>
          </p:cNvSpPr>
          <p:nvPr>
            <p:custDataLst>
              <p:tags r:id="rId73"/>
            </p:custDataLst>
          </p:nvPr>
        </p:nvSpPr>
        <p:spPr bwMode="auto">
          <a:xfrm>
            <a:off x="711993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14754-B74B-4B34-ABD9-0DC103236FD3}"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1288F7DF-9A4F-2569-BBCF-8E157E2BCC23}"/>
              </a:ext>
            </a:extLst>
          </p:cNvPr>
          <p:cNvSpPr>
            <a:spLocks/>
          </p:cNvSpPr>
          <p:nvPr>
            <p:custDataLst>
              <p:tags r:id="rId74"/>
            </p:custDataLst>
          </p:nvPr>
        </p:nvSpPr>
        <p:spPr bwMode="auto">
          <a:xfrm>
            <a:off x="85105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E0009D-7869-4FED-835C-DE656A0568A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grpSp>
        <p:nvGrpSpPr>
          <p:cNvPr id="98" name="グループ化 1">
            <a:extLst>
              <a:ext uri="{FF2B5EF4-FFF2-40B4-BE49-F238E27FC236}">
                <a16:creationId xmlns:a16="http://schemas.microsoft.com/office/drawing/2014/main" id="{0CA8F3BF-7CBA-DAEA-468C-EFD7C358DF1C}"/>
              </a:ext>
            </a:extLst>
          </p:cNvPr>
          <p:cNvGrpSpPr/>
          <p:nvPr/>
        </p:nvGrpSpPr>
        <p:grpSpPr>
          <a:xfrm>
            <a:off x="3560465" y="2689864"/>
            <a:ext cx="1150021" cy="3837282"/>
            <a:chOff x="5396402" y="-215874"/>
            <a:chExt cx="1481799" cy="3975300"/>
          </a:xfrm>
        </p:grpSpPr>
        <p:sp>
          <p:nvSpPr>
            <p:cNvPr id="99" name="フリーフォーム 40">
              <a:extLst>
                <a:ext uri="{FF2B5EF4-FFF2-40B4-BE49-F238E27FC236}">
                  <a16:creationId xmlns:a16="http://schemas.microsoft.com/office/drawing/2014/main" id="{7203C830-09F4-69C0-A472-49DD4D8D85A9}"/>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01" name="角丸四角形 41">
              <a:extLst>
                <a:ext uri="{FF2B5EF4-FFF2-40B4-BE49-F238E27FC236}">
                  <a16:creationId xmlns:a16="http://schemas.microsoft.com/office/drawing/2014/main" id="{5F38B4A9-5576-A1FE-20E2-26A3513C7D0B}"/>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34126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62433721948608145169E+00&quot;&gt;&lt;m_msothmcolidx val=&quot;0&quot;/&gt;&lt;m_rgb r=&quot;80&quot; g=&quot;CC&quot; b=&quot;E8&quot;/&gt;&lt;/elem&gt;&lt;elem m_fUsage=&quot;2.68036791643113048167E+00&quot;&gt;&lt;m_msothmcolidx val=&quot;0&quot;/&gt;&lt;m_rgb r=&quot;1F&quot; g=&quot;49&quot; b=&quot;7D&quot;/&gt;&lt;/elem&gt;&lt;elem m_fUsage=&quot;2.32011539595351434784E+00&quot;&gt;&lt;m_msothmcolidx val=&quot;0&quot;/&gt;&lt;m_rgb r=&quot;C0&quot; g=&quot;E6&quot; b=&quot;F4&quot;/&gt;&lt;/elem&gt;&lt;elem m_fUsage=&quot;1.33233906167100002449E+00&quot;&gt;&lt;m_msothmcolidx val=&quot;0&quot;/&gt;&lt;m_rgb r=&quot;33&quot; g=&quot;99&quot; b=&quot;CC&quot;/&gt;&lt;/elem&gt;&lt;elem m_fUsage=&quot;2.25283995449391989674E-02&quot;&gt;&lt;m_msothmcolidx val=&quot;0&quot;/&gt;&lt;m_rgb r=&quot;F3&quot; g=&quot;F3&quot; b=&quot;F3&quot;/&gt;&lt;/elem&gt;&lt;elem m_fUsage=&quot;2.02858500205908252878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rt7MziejAOwzpvIq8Jfb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y_zXAbvfRKpxNZ3eO8vMz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LN8zWmaXdg0qn17Z1vvu8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y8A0xQdisVQF9l0keznyx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DhcMki0uXBpIFgfYfHGX7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50ZtYwmEUl5gxLdb0iI5V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psNccBCcTceaicgEfwf0l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wtkc.0nN9amICR3lK2HNo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q2wD5mKBZ2P.3o4swm3Ng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elaeWM3NXaVDDdeCaKiwJ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_W1yORAfB3fqiiKwTbh9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0Gds9bskA1TgJ4IEkdH1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5PoIfQ8drI9XvadKS8.AD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6WirRsPy5Ts4mwjN9axPH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Bws0MvdG3j3Lj1tO38cBL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7nlSv2VkLo9MTrp6QV_Fu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ytQaJcY_1OzaRMvKlLq44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SSGQ.HSlt_tOoDxU6kNI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aQ_UFI8M47K81Nyd8xbCZ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xx.uYUVu74egZIwqt9GUS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VyHAqKR0DETvPRtdfAJz1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K9KdNBe3JK9ClzrgSIgS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nmCgenh5Uipff9eQgdND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d3SGJl7gAFVLlHTA2aifZ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UL1VziOXAGiNyf47_PNu9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0trkYX4BFPUDv3Hk5EChO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ALrvXVh1HV5shlFvu_QD9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tndE73gfeqiHm93dz2THQ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ztv96mUJI6ynsINukQPtM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N.Ryfz_qFUworvK_LU1y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IH0f_94TRIQPwYhbGo2s7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SC.FxjitYOqouHh2zGj.E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2YUznNml4_5kHg0V4Gz5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eCCUCQdcvcRwjsoYOy5L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TEEDEAvedicmqyUyvBmrf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r_yVPQkaLWmMfU0yEeQ70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QV5M7IgJBh6Kf.YV7eto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m5dJz3JwrftMTaSAuY8BD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nLWGL25vZ1C_RURin4UAL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m14.W8ttmm4PEG5CssAuv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EDh_t1j.x5QCyNtrMHSMr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K0J8LoBnKtzpYNWiCPb88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7GrAXUmCCfdSWIFXksXb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x22nhLCdctuNrJrTt5eY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d1NS.cz3lIH2ZOoyUpVPa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EtDRO7_elXfe9H8A9_6F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0otELssTG1KMybT9A0to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Er7Q7VDC1JQfBengY62.3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FK_K_LKbp.aQUGE7kqQr9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rPHnEs1EyQsGoH_MZRzbA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R1OW13JvobhzuhXUFQFrd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FV5MUOxfflaheQXyKtCV4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AsevhFCtJETfsM.0zG9Xw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m9fMt4BnMA1R1K_heYr.V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0qDUGAbUe2T.NcxGmbDsl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xJc_5JVLOWqRCM2s1PS4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6TOYRA949qQHfLi3orsF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jrNxhSpRE_oUgi8UPcwH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mZewx7cdXQIRDb8anJyTt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FSek4ow8Z51kNXkOxKnIy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321kuouXkY1gbxbspbZbd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s01fyQQ919.TbfxFpq..U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JCAbhgwl4pSf9fvEIyHvR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eDbvXn4jVb7rKqC6XzSyT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UBvZSIWcUBoE_812v0R9s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ipxRNW4sw5sEqAhTV7amf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fzy_eoTjw26A8JtIcv_cq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KKhZwZ2QS5vm.mTUfC2L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PQ63YM0we49BoNWnQRQ8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wTccQeD12v4G.WjwuEyvX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LC.FmHbkcgniMGNzCVOCw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40leUGshdgxD1T3ST5UIb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Iy27w37IpXjrqpVy7tij6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Bc5TJC82pbXxvhDC7Pjbt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QecaroUlS7JCwIikaLzFe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cd5qZL9jnQr6g3ILCbdnx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Txq1seCISCzM82aRjTCIC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Qr7VZuWXIAkPQKqU2mG26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NBcJi9yaccmWl3d9Cbm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H58Vdp18HzsBlLDBxu7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3NcW.XzGfExpvs2KI2XXr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veEhGeL4LbPLXqFnNwG3B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jv2NS4tXib71U2w86AR18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xNJGvLj4ySYRLkceJVWkL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GWlMmbJQRy6QuHc2.dwDW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jD7EyWhCKt.2qyHcZoxab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rqTchAX07jkEMuM_Gkqhp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0h6kmnMCvspHBtGpE49GA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Y8WUJD0gVJz1mOMNGf6Tl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0.2xYts7Cy0y0lWzG008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IwB1UN1jL1OJi9NoQ1_v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0oweXlwhSV7iD26vzegfp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riwEeyDNflXKgiD6jVSwH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ZO5ssRIKX61Wwg7aUh.Fx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aaGlU7IZsW2Vnon_bxaB3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tWAbAED9Seh7IQfbT3K32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6vIsFRGbbdDVla0BCnHpD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rFHbbZcQvi.ZDDdtrJQwX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fiDVcXpTr4nQDAaT1Wbj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sp8uiHcEgh7sckude51pH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NLZ18oRzrcPUuDuBozNq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wIMPfrdvmCfHwyQ_RZjX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NAME" val="4. Footno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h9G.5fMZzqC47NAWIzuo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Rd4_NA7MEV.REMomrfp8_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g4zBq7ZZbsxoUq7LZCc0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Wi3kHCwI5QpxubpGTgYQf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eKQ.WPtXfQZgVjHrr_Yf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IAbvmp5mETjUJnUmTCQ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bIPIEIngWwiGr8K05t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7Yy0hGd2hTPleSOFk5h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dDqiWRi8sl0n_hXVRMX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N7xhHDuzhDp9KmMy0Ao8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yvH2WphWqCbalXCJDRe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HHKpsjuZ6uklQgUw5fn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0Ulw6Mr1BGWzhqiNB6e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HvMkWwCXsaYEp7KlEK8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bKMcL5qGuNsGXonXoye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ND3LfMruCn35K1Z_ubX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LBCGDQHxe3LhTPsGjyy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0B1qLtB1ZH5lNDt_rWUy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nxUBU2tg14OjBmk77NE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fIHIaQ6Guod5TGYCW2d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_gIRycS0pACno1Dd6YD4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udT6LQ88D7AcDGeK0lU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JDIaAQGcwh1n8F91MpF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pfXvMsX_pXp7s6Z4I3Z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I4_qqwl3IfzruyV42u1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whIx7soxMW.GBJx8tJD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z4Xlc4SCWfYw_jMhtPDC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EqRfZPhUglcfOn4SsVwN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4Pt_IJ_TeZ2BGcZJYIY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7RE9I2E3XwM9DDyf1xg5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HjidTLhYqXdjIxM8yKL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fq_S1KAgGplrKpMjtg4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lDKNOtRHMbbMp9JU7Hv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o8p2069U5zrOJqmDUny9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4wjdjR48BQyZCC3EVJU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FLvOmCAx3eOUN0.7ku._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PdIA_opmLUYXyVwdSb.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i_FqggCXA6H8zMhvHCkH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_YpViKypqK8IdkLNd3n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k6rf3r_oY9ChpgH.HbJ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wGXF7GtcNZ0EK068.m9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3XJtulNQEz_dWJIybFF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Y2sFwVh2S3V9dEGrKCs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XnPReUQv3IjRa20e62Xm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26uKxJIrm4jLbm42TuU.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EwJ.qMIDzDi7Hk_Z27hL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yOxEAG6DTJmLBpfgDSe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CIBsm4fepBHVT7PPr1aW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V.CuI7Pp9rZZ_L1k9K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dFYlY95DZc2GCR7BZ7j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E4_Ak6ikpnmYyKfYUHq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YiF6tanoLfkqR7hl0Mc9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sP1W8JurUtjxtVasV9Y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t5mIaMzeQpZKSsS47nS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fYWsSDixWV9LTRyQn77A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qg8KaPEISNnuxWx.w.G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JMJHSF4pQLGi61SzkOw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5BD45PcVMWXUqVW1eBV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R.s1gsSM7HxdAfzLG9x5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7gWE3kvbT32RitrKxFQN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ayN.uaWxGQ36i4ovzc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6cfrtn6QGp7kBvKefaB7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Re7AuAVTv3t1CNQl7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BH5ofcAH3VB0KlL67j8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LuitQuAcz59bkIQ.R0r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pf58DvqmjiHITIRCOeH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kNyDR9soNN_IOkjtsYQ1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XZdirtIz.hhP2jvhQ.m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L9zCcOBUZ_QvF1fT_fe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ZpwAgqORessMeTAzIyWE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dXlz89nPOEbjUpJsPaJk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q.gJjX.c4Y_8jJuR_jS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TrEDgDDlBb_F15g3VT3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y1ALJdCy9z.NGcIoS3l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dmSnSqq6iAIxXSICgzz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HSJjlxpRbCsYe1V9Tcr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pzKC7ooeAcXA2k6aaGUr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4IbYVFvUdnt5_kYVXIG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egLEobadbjKacGiu2O8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wmBNwYzX2VMNSHKE9vO5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ZCQqGOLSgipilfBosFq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wJAmhtd_DlfLWsWFaK0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SXvj0XP7ZX0V9docYdr_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JYIR8gJ9gnwmP49ztcs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ZGcBGZ7Cn_Vyu1Xosv7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rAC99JFzoGJuE.vreBtM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un2.nh44pd4adkjFoTW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_LtQdrzSLWGaq7HOpP2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kDIxNTRtxABdZsx.jVMX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2HhIkxCz.zrT7EKflDLs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t_V1dyrOlVguD2DekoX6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wepQpE9uCkgdHn5.QUU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2F3.m_ZUjxhn6B6fwml8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YEScJFYrxfCFXpiFI6Af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CzlDaHM.Lb5pFnY6qiLb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6KgCS4w5dBa.v7dmTIj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Vftv83mk0SBZAxtRLc1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7MonBX1U71qYX01nD_BC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cILySC8VhvP0ClbaAW_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gjQnuVGJqPvGI2LeQPNi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64fwHeiKx3I1_uyoE4Hw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z7qLAtpV8XaM5qTpF7Q7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UT8ZEhWXB6vo_3fCadh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0fApYV.rU0LMBVkjHfrH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OZJytivoR5Xe1CXtMG3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5TmcJ7NYYFZWInDxB8cW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I3rogezXiB9Jtm7bbLF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xxWIhUyk5YSS2jQASIP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OPzvsQLOZsmomQUAvu0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4Wa4Gc7.fxfn.QbrGLP3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AQVu6Yg4tQX9lR_tox2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krOe_.gzmjIhhmlG6Fe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WspnGd3k2bs9ZwpBT.g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qlUuOfhXcFd.uaHtajsh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qPZdX74yrQFL2HS8FuzA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jFMaLt_0_mMKWzHhOwT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reGfGNTpNpwlvcqTQnQ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PnU_Um1GvgGOiaT4vyv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T60wF2PngE4z.MPQYYR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B7rsr45mviYTd51Wk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layrKygnUQpFmx4ENNMu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WZXi3V0n4pMmlKp7VS7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N01gJ1_inMFa3JTSt7H3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X4fGbPPf1E5sFpEuuIUn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YIg0D9E8bgKFhgaQFK2_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9XrAOSRbSX8n569OyEBo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tR1vb2W.Yu9xzb9HA.8x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4ouWNzzg_xtFJXaCBpGM8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oE6dKl_Ts00kvxIyXFU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C4IfA1uGU6Ev5bbiMgy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9lRcT3pynxJQrVOeJY8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bLOFHVmGCx7VCTj7zoX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fU6886WjW7TUZ.zW9.Zr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oYLGPAA7rozur6j.TNze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uIf3BU1RJogdwIx4cBV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Hix1DOF6o2LlzLExfLxM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Cm.NrzZBDbwhH.UMx3IO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1cfu2QH3oQ_Sogo_Q0g2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Bx0qIgxuWjqpSq7fiavz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C_oR2QbE3flGDBShGIQd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u3Vu61LrRq2DfogWb2HT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USga5.11MDnx3kkeQ_l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Ok89Q59ZAfeH4Js2jjBL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wQ64xClXh3Kqrh6dHLfk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gzeNKH3FGWhRhD1bRep0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PUbUh57mFPf._FauDJA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OBpnzbYzyRMGeK9TUElV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GTe88CVstXfx3TYWVk7m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rYUaVbJ74pAgFKCzQDpQ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ovocBRF162EvvBx7zBuF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_VDtjgBb1aT9YtxRKyiX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MMt.V6gFAFWDPdi9w19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ZzNFsHIXsP0Ua_gMQqh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igFGkuz6fYxfy2B_Hw09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cACiKm4ODf3TxVd.dT.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lp3y7AnQpb_jxQkSFlrE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RsbkGyIZyvATmDEX0jui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uzYZcZ5WfK3GDdYLwGZ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IrmVJx26X63f0F7FE_l6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PX5ugFMFHPAc572FZhiz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BlkqlWe9PEBgJMPMrIRU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ADOyEotwfEgWtf.pBKl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uoPKY0Qx.X43TR7FASl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hOutI5o8DP3PHzb2TKH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pWUsuNPXeS0jXbJH3gVf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3S95_BJb7pXCtAmwHhoT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_pWwr2JgjAGNS_4hd31r7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2LzoJ1yVSehA0PvI2UL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6nshajM_CQel.aYpuHDq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LwUgw136a8e14b1_4aTU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su1EZNcy9hgwhGo3VbrR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i1rjU0Aq8jqPwCrQvAvD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DZJ.cvib1PO7Br.zLxtt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IYFhycQ_FbmWenwioAKO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vzr2TZfaY7HLoUTtVN6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mPaTHiiB00jt1wBmUM_u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d.T9n1uN_A49i0PaEX2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CDAInv6Y.ldXnox0O1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w4ZtvefIyJFmMlukvMv5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KbvuNRkO_dLmI5BeyfPF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UU9FSyjoO0jZXU2jHU0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Ckdo5gTDvlEmC_Odbcm8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TJu5QqSxd52PKOLNaN19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NXhQL_T4w9gJ2UvT7VuX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ncYZuCuTi9R7xaggWYnv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6EixMstVJxFI2i0UBigk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HMThMvMG8PehswAFe6w.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p7LgNrWeZ32BcgYe5X_0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jmJUcT.oSJ77kSGYAAM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uDoit.nbRmGzxNZhC0e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ThFyIedcczvTQwd84OF3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eVAldp8udo5WozdQcMVJ6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PhJJfVpzDBYIGCc5eKTs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7LHK9yyfPX0N0pC.SO.H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1424rE8qi_Qsdl3dxXV9j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w6vyVzhuas6BcbGF5V2P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7MOJDTm64LFw_5tKF6X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jm7aQiWtQAvGPB3FIjU7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P9cOPx7kyq4s6qWL4qNh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HxJ7PMbn9IcjxUSftoZ4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gjQ7XMDnhwXbxhRIOjZ8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X5WO7wy9xoIeZ3l6xqBQ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eEjyMB9DLYd_3iNLhcA7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qwL_U6WeZPU4atd_6GBN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OBWApXu0JxJhz4b1Q458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MIJhGyKpq5d36f2_9o2u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jTr6S4qlu.JO_.zrifCy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9Jruz2XZZeKUoMRq_1Z6_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Jievl3Ld8.QrUQ.BO1l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1jxL_7QAj4Sc74YOZTtM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tvyDHSr1jkhXuvaPGmC8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tHXVyroZxB9dzAkf9KeG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DQ46taoQApEiSrVwv5YX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8YPpgImriJy6MNtxucD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e7TfcQcc4FUFBWUW28qh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31mZn33FqMSSyQHgYt4i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H4OXW0Q09RrZKFAWlB8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up1.6OJx5v9KAKrMwjVU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jTm0JCLHvhUEjlaHooBF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EaFFY3kYATZhYvjD4pCb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smyzWeWap1RqoXNzkkpZ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fO82IrhYjc2suXrUrpS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9UZ2i8r1_Gsc34q4DrfOE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m4tDDWgGH87EIMgr8Ir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f1SSvn66SNo.j1ql0M0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O15qfv3V9tS5mFAWzpPw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PbbV.8MlRuGpoLjbRHk6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yL3qUeVIj5avdd3t5FPU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3O1_ZLwfL0FuJQ1YuhQnD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JKViGqHICwiyNRvFgpP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MD4b28Uf7Wl3Sv23eW1U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rofGA9i_VxJU.BOzdW1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0sLuB1hDHuGQfqaihMA.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zLGG.SWyyXcxWit5SdVn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sdrUfxLqZVDsYDVwfkAU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NXcFGi2B82BWfUNKak9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utw6Xs0FQxb_HOtEC5f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Tq30rRiHHr7ls_8qTp3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NFunejGOtSeqKQ0J5vVp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2Q0g7IagiGK2eWo6z9Cq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EKbTUNhOdv8l5Un9_B5x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QKVtbaSjWGyLnmLR55I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w2_2UM20s3bT_mdo7s5o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7HJd8_eA6mSPDGb40U8S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NAQIc9WocSCyNnscSXzM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jG6Z8U9vcGmQUT7ofcos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FvjVdfeNQykpizPDzla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xHIMy.3G3KRH6HSK7DZq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3M.fVKpdM7sf4qVNEqcU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LfHomVV9q9G1xkYBJBI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F4k.vTptbBSnkxs4226X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WxZk0zl5FKzY4t1GdV5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VfnPnrc0QGZ_zOaevh5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eyGloE5fq7cTSIJYtGpK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5_3isYCkZbVkgdFNphaMG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qomOxADaBecFcbhQ1yB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jeQbaNVIbwDcZEXtCdo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k0bO_.yztYZF6YLeSQe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9idOR7AZpl3MxWL2o39I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rq2A4YlA1E9wWy18lTVd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644ZMlvZzpZ0KEUzN1j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JiBL07n79cE9XkcIsKwD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UQtnDpPxmMxfCjkpeNXpQ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mTodvCzwdxQusoUaTiHB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IAtIUpUfBxT3AoRttu_5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tApp3leBgyTQCmAGju_QH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zzu_USq11Nnj60IQWQ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hQFd_aG_uqr4jfpEwidG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Aw9hKtwNECQT8FzXvHdl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PBtARmooCzvRa.3c_Pk8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W2paJRGp5QdJFKyw0Qen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WLwNpNdexlJ1sYH4uPxq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Sfj3JVwSLuiCQO9IiLZ3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ytPYqOv4Qs6rBa3ywbR2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cSLo8yqQIwp9MRgUKrL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2RmI4lBqQHSZpPmlCJJSa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j1et8a1D1Ou4vu2V2cJ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471_SuOPCOz.P_.cCb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roRxRmrMwKxkZnYQKETB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6PTL7bsaQTra1CGHaO28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lTFttz56K5IdBa5g9pq7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ElUCsMBV5vlPJgGnj8Rq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vitunm29J4EQJDuSln3I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pMdpjtd5SNfNWi0t9MR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2sMp1p8Cu6kbKTuKEtAv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zWkqnSgHCn7VD39.gg4a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s_.MfXYsol1xZVLTfh6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q2P7aZ80WYz5nld_o2Mv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CaG38UHWs52dF4ADjpf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NthYIstgBAt6_PJ4jQAW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UFcMeWjJ7sYJAO1AqYbhn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aY_VwyoGoDvVqPc7Yao_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HunFITHaiFczKEc7MCPU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R7LQ6XclIwJgjkBEsSP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DLgCcragWcZTwCEsEJa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myal1NSJeSlUMfvPFKtb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Vbpzvx8rhJQ2Syk4E1z8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2rzYu4VxAAv8xjM2jX7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rKk7eRBdF1004BJ41gFmi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iL1O9Xp9F3slpa6VZyg9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hZClyGV.s5BJgXXXpTk6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7S4csEVWRlmejRu7eX9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00521Y0e3ghT1x70ROnZ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1h_lgeVPJUcv5CLQ0mUVU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ZsAQ1r6uC3XYBg0MYls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kbOeTTJSM.fTPV_YkbrM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pI4LBFYltAmdGJXsE5H6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j274jBuDke.iGX1y.Itzu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9zBmgpv14gO1l6aWYKJ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nezocP5MMIL4XoxUWIfx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2KF4QySQBloyw9jxThWC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a6n829uneuwo7kZv5ba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I7qZw212OLZWl2rPVa3I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_dS9PqOGlXzZ.rRGdZXkA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P5Q2KrK8mdIMpR8qYUv.L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Xsuo1lSEY.OLdayssZ_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axs0zodJggmu2ZeVIUpR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wJcXE9MtMTc92gbYwjW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F.VQMU4MZdCHb2GYk5Mh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Dnl.oe.gYgB.IH2_MQCP.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4DqsSieDqODywssu6DN4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1H05rxgM5.a1WRpIrq0Mz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iUL.8nDvctzK_FF27Bsr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jPb8Qxwiq9eU0G4fq8_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9ypKHy_pgCsUPYmi1kWu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MHZvW8EajdwYWES1b5WwG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ysz7mxnFDPoRYNdYSkn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ymXDBl73kjfYNIJfBeXv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8V6QrF8GE8.7w6KVG34q_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UyRIfP834T3_n4NZzkKM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LdoSDojxrc50M0uzBaW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i1rnmB5sLwuKaPb2ZcDX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qKzt4owDE.vu2w4mvIhiV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D6xQSa8HIqTHuKk8A4dO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DuTZoNaIqq7gRTJW0uPU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0cbEKL0NdBEiAuPAAjIP3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8dYRQ4BLsh_z5UdU3gmq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E2ATNatZIZkKciJbGpnO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7VAxYUYxIs0p1IznxM7v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OqxJ.XRbCqI9uZgvYFPP5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O7I8pEeE2.LIbU5JHQ7mw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rseID9n_ruSOB8gbbKW_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jv.78kT6F2kNiT6CJgeM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ygnbDTDDf0yqP9EDp9Hm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PdrMi5hImuLcbvzWB5lZ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7wLaG9IFBaA_Pnke.g._V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fSkZYz48kCGZo8P2CHuM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nMFRiN4V0snG101gG8l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DOjkddqOZ_cU7og8fROO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fVoXl0Uz9UM0kVnN2uQt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xAlvdEOS64FJlG8TZ603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zRPsfjozSqJOrFmLhpLqw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TwPGz.mXPPP9_utzs7iJ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7J9SRSFjjffyr_FylkE26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NX1PkOWP806IbBIxHny1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ngXSgNMt0zZxtpmsNwXb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589EveHKw8T8urGqpLIFq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9wjt.cwTxASHdPv0wGS6K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ropqZUBB8DCsSgVGFZEk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CfXxCwJ2h3pexGjuKoDy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7GgYn2uwgQS2h43MM1IVo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n664tYDiGpNIJuxSspwIZ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6E3ooRbwkfDtJhkNRz6P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A_ZZn7gaEfNaT7RIKJHX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L4n6ixpRIMcOCVF_ZR8v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x0AxOBULaJVPgcydx3Lz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jlo7G8fuUfR.GXdRed9j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WLoMnIscIBjCgmRCz9M4u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mHsuSwyPrtfXsG8FeITm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IyKqn8B_4n6qUHpX4D6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KSa27uYkQgR5qG0YJ0i4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8pjmYNHGGwaAuplXEu49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O.8I9FslDc4NuaivIgof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HgdnPhNp0Q2mn3rLp9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SRM0XO8DgmeL8jLItRuP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0Ji_ijkBKm.JB5FMUEiqw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YJ_1vPtFDhklhuc90JEQ2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yZ2L1gU_qgZrZrzzuPw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yWpD8UPTkyXmI5rQA3Fc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LuFWlxQSnHQjWULx3HjU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RSOn85ajV3hwUmJ63UW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ycXTTk2LXrIWLSHs2fda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GF2cgY1uLwyKMHGICFlO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7t8VRKYAU_WBbtBMvtRO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lJrjUJDEQV5ijqXhaS8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vGuMkIQRMmWPmrG05uPa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QWh9MxMwCnjnFCtdVl5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qdJ9e5DfeQInZp5XYbgp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T6nyG5vy_UbHqO2GZ48P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3OiajPdcGaYhd3xsjDXjR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M_nvoAHFK22ibnuWtpfMc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E4eiWObUzRvUGZsa_T8g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IH9wop4rSBlP3QfKetN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EMTLR09hrXgfd1F4vO3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Q7HzgG_ZLC1m7f3sOnNs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wfRpmfTV628eRPeElbi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OI7BoOjn_F9nMIdLc.9VU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QQsMioGQV.I.0pgAz0d1M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bKedRlAQNNWelQm1TtSE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yMtG_RP4ZLqZz.8fzFfV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IdqcYzJY21N5kBThiN7nx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0unYps.63xxnRdskPZhV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kQjBrMEl3fF5RK3Bo5aA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3wRUBdRWermW8CbaPL5Ho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wisgsBV0ijghePaerptk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EHlhgzz2zmiQUgel.877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DynNWptcUpe91sklKdn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_UuTij4JeNudy0a2c7D1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1PSk5IRg1bsa_PVb_lF8X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ME5aoTZUy_.lcHMYn4z8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mdjKXyKcyhcm21cOrgyD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3jjYqt.5p09baS_gU_n1z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ceTBYxwjh978B0tnh_Yq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Cg8dg9Vw_Z8DiPZKEr50w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sDwdRg7f.J5Yw1BIKAV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FCgmGOjZeE_Jng5pl7d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XOaTl9wnoOrqC7LWHYlH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Tgzpr0lSxzZ5_sUTTbePo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SSGttoE9GrIkBKvVzBiUU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ztx8Y8VdHyDQx6D7xzE5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_eiuz..8I8NQcReRNuSpe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nURZD4dB2OmwHwvO2zUc3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Wx14dyS5LHMjJcjp7joe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mlnQMq.QYiWePwLGlgt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cZJUEjbmxC9boO9nNWtA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DyFALqNYbELNEsbP3_or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nmty9xmLR3fAJqKGsPuN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bztPMHCgUjm.3fLX6Oq8i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apCy5brYj.jVvSjs6cQG2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PPr2D.gBtrh6qHwhWkKx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jokePMUgyabe9F7z_wSr1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RTbHKtc8H.Qs.FdjNxAJV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7kBROtcgf9XTWnyeV0sNO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jN8iQlRL.DjWWdlH9DFf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N2ascaytdHM4UaCAJVf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464Tgrme2o4x837jJIZ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aL.4_jnljOCUzdHct5PS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dp._uJoVMOMTrRu_ubvZ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41wEYXxTnLvuye.8Z_FT3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m4Wtmij0yN9pfjUz2e0l_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JidblY_YcwOwAOB.21ZS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L4l0bfDLeASwpHEuH4LM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ceyAbflmhWvLyg9UIpido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0V5k9DktTRL7_y_w4.RV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383npuitbhSAax.r2fUn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nSdynOHA9tjY4JGXVWMj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VF8D4mNqOZl_ZHzyART2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jfloCNShhQiz4MOfKjkL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v6GEao9oj8bwcouNktRD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ChaohPuoR3BLxcmUHU9p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Rbj.8Mm5uoFxBr08pp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idlrM2yXRbpJSTri90Dv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030bAtK7Mb58d7QaZad8X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A3Abo9OtYkktmG83Z7n_d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WQoqsHfzm4mjybwnciw5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mGUV.ypv8TBp6dzhzwwk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BRhWzLEFSTzNdudm93ea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8t0Smi5UkePFI4mgOtRk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1gIURRfL0aHydcXwlP7X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z92PNWiPyALMkTX2Bl30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JGgliTdJVYaX1mWOzhhDj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9SnLd_CqDqXk1jdZFRdNX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5ta7_Nyvl8oR84ocMW.7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ukaNt8VC93.7twSzKOe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s6RwyQVnqSn07bLTq1A0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UE4h3AI4CED8oUpi7hq9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AqebaLCluVLOXZvMBc7c1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FGVldgnT3c9BEcgQVL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BDDC6XLOOaPskxOOa2Y4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0TtLtZR32CzfGcdmaLYk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h823Lnqa5__7vlLsSzME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MtwO2pgaPbhLeIvvRhPwV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eHw6yZhcvZ9su8grOKdj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KSVeAX4ozcYzbNDxzLgmN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WvNG7yXljiBal3FNJhk1i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54ImlTWYXfzpHDWOHEFW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Dhr18rNqsJ6wOOGp5YKuv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YnHsDWAOUPW5GEIv_Qi9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KyNVpE757ug_g9baJnQE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FhKmjOEXx_hNo.8yojBu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ZnNec4bS.GtEY4SnMxhB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MxMO6IHw16PAAMAI6Zx2N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Jn6wvVZKsHRUH.h7FY0A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NoqDl4L0Jf.sM_LtHiCHq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gjZN8sf7_QE9lHRs2ke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ITcBLiaJg4qaBXscKPN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zL82eewpGYNP1UUrKFGD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S2uKHMs7fAOHVIzD.Y2l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5tdUl1kvpVx1UiWHiTITr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4NGXVhYRpcPPayXkhwbxF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gCzT5VtGROQKXPY23k06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FEMxhKzyFAR07imQI8LK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5DwAdQqIBn.jZfuE4EV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61h3AXv_GUj9djeO8nQA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aQgrH1ND21h3tGdEa3sE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U4gse2JC88aumOUqSLPvp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uXk1W1rq9TZibdFYjGOV8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myOy7KtTxWABFsYgOJi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CxtzE1trMEyt.9ZMFzg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sl6ttxfzjteeAJk6vCr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PtNEiHV9.AsbiDcHLb_U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m0nw5I13vu7IgnsZP9h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IJ0CeeuXaEM5xrIzqsa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DxyHA6pdnsKzUeGe8yK.X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aHazdR7FDxNSnDJSu_t7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wdjXxacQg4rDe6pE_YXyo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DwEL_f9SPKfp1dVCk9GPQ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mGwZJXNXzCGzte0mbiU6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a9zEVZBscpT6CBKC42x8E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qE6BCflUIJ3XwowvcJ0q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qYAPezFncwpOkrv3eyjr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KnplorD2enFMyItIcgQS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p083lKIH_NHFG_WnrL9p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HoLmvpjoKc3.XaeixXeH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BYlE8nSfawEJzNxXsNcL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2Pg0iMUoVrQ1KxaiTTt.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0sMI6P4iShEK2I1pOU2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AZk1kSw4LkjpA3xrACPYz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99dl2ONOf3Oz3Az9bKFb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7eStEHQX84h1DFFIPWd_m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rUffqDN8N.LOyVJ2Erh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FYLTLzsX_q2UmUks5w5A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lJo6qZ93KjvPj0WtsGW6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eYkVNHFfe0uAkdtzopA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eVJnP_Hx6riyS8yS2VC9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9l4pfXN5uZN86NYyJ4T7k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OuqvwI9GAQ6CKZ3extvZ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TuIJez2kdiI9ZdBvbe6QQ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SEqcp831YXFy9mfuEmsw5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rvRcNW4TkCoIjhTgUtBAI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uVkZ1M594P.LqH6Bj967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8bHNv7OlQtnyzOnxuTnW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7F8rSsWDekWtiefVqLK06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Jezfn7ExYmL60jYfH0bv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C5qoBOoJKho9x3Z1.NS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DQclx7SB8V2rRLNQJNQi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rIUE2aKPrFk1tiDrQlK9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Gxv9LfwVRVVVnZeohcRD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eWnlY1B_gYZrhNTB6sVU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DfpSRBBoZWRiR0hZhPHB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qnQvUlIQEJso8LIveVAV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0uxsInU1G33CkHdWtN.m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ii3s8o1Nl8hXZ9aFwamT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gKs7KknR6omOWjdzeuD9h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fFHJdXhebHsT4J9_Uk8x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kNCCAJM3jWmnXxqNEle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8sTxXLoKNkdCVI0NsAdv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P7blkBGVV733uMliJyz1i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aT0TYL3cKP7SHsSlpn4bd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WSf.hs5GKvlbTvTYXeVg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ibTIW5EVlIAKisg_jEQEm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XLQjulcOnxqoSjo5QVL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jtfsbz1SZvYhYVDXDGIuA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h_6jfXz57zGajXV2n3Gi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y0gqIUriN2.4GOgTBesR4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7HKXjiBdw8r1VqIEMN3vd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ZVVFetz8yskthoJecWx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JwSzpudTfIA31jSLtnnN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_62y1beUaYRlcNvTQg5C_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hPEcNZl8B1mNo.vn.M9C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Rwo_gAQXrDSLCEidtFU6Z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CBZJVxk.FYOJZqKM5JGG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JOu0Hw_0h60OATkPF.6sp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MAkpu23lvereDkKLjEi4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fxcgXS5A_Zhmb12CqpFL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wyGnouksM78RPg6D.1ax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lovvx_UXXrjCeBj0_V8J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i8k6MreraE3cw2Lew_.4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7si6Iy0DSNNIoOqu93j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xJWseLGnkgvvIgS7lgDS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sx9XLAX1loLqK46LBLxM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1xNODIHmy8ECb7knn.8c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8RyZ9CmyfoG8kmDV0RMNu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jAQ5f7b4RQD4O6YCocZ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5j6kbteT1.wb3DCBy9a2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Ef.JS2QpRSSaRF6Pj2dF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CEFIYM413VXkHuFBkR3at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Nzwo.ZjDSylexaoqhqRT7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ZQHn929XxCOYTSUvWjOs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bPeBW5pCB5EUPYGKdBTU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PvYu6NFiIrACoJM1ob0zu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clK82dDOGYFgKK3xj9wD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_tDbzzZM6y.4Y4ZMgPl2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5dOJbQxD3.XGdx2TnMRh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MNTCZNihSM2sQYKkCmMSg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E7832JSVhRBhBdBl9ky8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LHGNLqIcUtZOI29PcBHe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QR97UMDmv_JJwLLMbhug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37KEDwjoidZmm7RNPN0x7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YRDV0g56lTKNBFpJ9Pyn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WG8Wbjpb4ljuGz3Uu1rf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KGW7UHF35KRhCv4s8oObj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dJ8EtCHJw9eTJ3mFQjP5A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CeYHl6YSGsOzsdw27uS5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ZOpy7r2tK4RM7S23UkIAH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ArCjB6Zfn2P.fH20ryVnm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Cecsv3f3Z9sNZhHUfcx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1.LqWvkPjYOKnC_rw_soh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Lwl8qowpcqRD0tRK8LtGd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KENoiAD1I1xzboNWFuka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qzoRwQw9ve9mSKBV8HK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WC1aTw7uLglAwn2yZnnM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MZae3tixYJIBN2CapGpS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d6W4FmHS3xInZrvQxsvN8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ndEm4JR0vyCkEBdC1UO0c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8SL79Tqdz.SjUmP_NvT0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slImqbhELOn9LVGj_wMbO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PR2gJOxwVoLFv6fcaXRjY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qLRN3sEeGyo3LqzqM8IR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TTPb5pJ_ci_tCJEDSALS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FaWOYFTaK65lPd3uJy7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gD69Np862UBPJ9LQKqm6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EiBLx6HFMQCIj5ByuCzv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0kpWweCu2cB36dwuMHsKV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_djD4.gYW9NTh.h351MlE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2Q8cIo4aZUg7V_mndG1jf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Js2WmB52XTQ8bcuvWED3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gZXxjzG93Q.MnLsyvGksp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mNUPCzIm1obcDjIcV6F.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xzoeS72nubClw5rcGhm1K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QBJ4sm3rLRzd58VUQ0QCT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lC.OVeBH2ZLbqKhkpmNL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WJJ17dht9.QAvfuB0LUsr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mjZ8pGPqHZvcfWr9hD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faQNkqFs1PmcyQ8zEMzn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5W6zvOXITf7.yX.IWwcPk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1UshRyFqwoKJCtR2TgzQr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qQfMISu6roeqbe.yenQK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KlaJxM4wsnsvz3muNt9w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6xouJN4XfBzzpAT6.iF4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2Ssd1JbCeNShUzv2sW7rw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x0AsR1B5B5_uc7Z3i8EWn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iQPCj6xUY_RLs2oFAUXuw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7p_PzfuMpkRl4XzjVMZc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Mqe1iW2XIiwfrYxyGNRn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rft1ma..ybZLey.YkjYH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5RcbfJBS_EfY01.DPWwlJ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pAv.GHvgbbUouCZfVxiA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6mCfuhjQVdnCCrPli4xC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gAEfiOoOVy5MKAG4..3h9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qnWX1x0SVrUEENryiXZa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24t.1BdfdV6TFRRK6QDn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PAIe5tzb4zOTS5EEtTlmn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POHmtU4mkPLi7QUWkfzO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EIu5kxY0CjuukTn2Q0vq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Benk9u8cLoKr88XbDnni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Q9YEYzdvMMtJPzOK4G4qu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3v1olAtUJIuGQJScr7K3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6xOvD3qgFnVtYa2hUHVpq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yPGholqu.LFS0nnGnlEi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twB3GvMuDPmFagSU_Vl3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5KfZBpUIBlzvWB2gnKsQO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OTltQXyYqw4E5EUcqQhiQ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YnqySBFSI9Zi8pzojqEFn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6pZzTzcIHzfvRvZ64uyk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NKqvbieTHnwrz9TbWKff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xC5FEIFS7y7ZljoCld4A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r0SWFi_BaMjjCtc9kjx47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M9Hj63BibfC3sIO2AQtl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4dHg62ItB3bxb.7rC_Mu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UMdHtoPu8VEAMYivsqD4a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4xkZX8Ds5JKctORokKd4J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doTaeQQSNhjYUXUS3bK8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zo4pB8uGda742TjdqfATm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I5xAZrTMLEA29IoU9LaKh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QvZ4uBwnpO97fPa9WcJXG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d001SEZTdzJCa07x1uWH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9VyEGz15gXVFpQy_.F4M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Ko9Cv1iu6bTx41kD0B48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m4Y3W1b3B4qW97k5hDxZ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9yNkBUoVBWdACb5UbBoPA"/>
</p:tagLst>
</file>

<file path=ppt/tags/tag800.xml><?xml version="1.0" encoding="utf-8"?>
<p:tagLst xmlns:a="http://schemas.openxmlformats.org/drawingml/2006/main" xmlns:r="http://schemas.openxmlformats.org/officeDocument/2006/relationships" xmlns:p="http://schemas.openxmlformats.org/presentationml/2006/main">
  <p:tag name="NAME" val="4. Footno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YPjGxSWxm_EjIyGTrYL8o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3UGuWurXXOjNwylWZllEX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Sl5_eSSmxjOqUzB9l2Nld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ukTKzVlPcuk6OUAWYVNF3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4AJ2G8HSHc5bZVsxqGq1_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0L95GXf.irWfNQm5mEKve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Ja0qcynaVu9MA2_DIHP6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hZ0ANexD42iNy0VCP1k.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uS9pg4cwnIjpx_DLH.ujY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xarD5KgnMLOTQxPMmPo55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5HTKBzfvJGreuDT68kb8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BoOr_uyORsi1SxfedkpEk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MOHvgfQt5ixxyp9wwVb0W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ObsrDccnPK942Q3fkElx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nIk0aFJO_tkh1aqkf4gd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SPRuXF71W3o0lbpcf6jv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z4GxeUIdA6TbLgsRsoZR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MQNC.jfwblO5N30F7Dz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X.Njt74cu4exW9d3KSjY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ndllKcqZOooD2d1gLeZo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DCmVmn2Ue9OAdOT0C398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aXtgyh4eVmsJJ9hLy2rHE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lM175si4EN0HKVWaMgv_q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ewV_2WxpAfFb9HRIG2Bg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yUp2Gy1LjQxJJOq.Y8bM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vcNw41KvrZ1eSmR621b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cneVBvNxymFKdQoaYX6kc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UkjKQMDiSvPaJbs2HBwyf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LIB0DqEJqpndFQ4zLmTk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gRNj4AVjXkCbobFjn2NU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YLQf6RE8SSmLNc1IZ6cMG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2RE0qJw_jzo3y9dJI3wAy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KsficCBfKGeRtZs8E8_X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zFq1vRBc0UPfBPgT0rF4R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eCG3ptcFkNqQtXMFhpS_I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w.qGBkfKf9aNkYiGehZp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IADuBRGkSjBnVCeyhbb9V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1J0kO2.sf4IDuUtm1cNbD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AJEwcoY5ndberRGx3oXL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dwKxpsKMCNGW4lNdaP5t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e2YFEfBbMg_6HsPfZXiH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2550HcvQ_m5VCV5ol3.7G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6UyZSGu1RfDg_COTkzXhv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fQCOHUKVYGQ5OdxcF0kyy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IaqBHoBkifa2ckfZUTu.B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VSSA_HTh3W6PdT.87KoK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Jr86kouZwE62jCY7IzRW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zJ_Wnx2pHDtni7lzX2HB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kPAry9zvvKskLUhzLraE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o65ZGJEQEQcngFe9pf5AL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dlVh09o10d4ThFzc0jKQ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kbsPxUUTCfrd6AihuEko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3QUxrSKDAxiE6DyrUs905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Z_8d7qhODoNGJ0bPiZsK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7k.th1..O5h45ZBTIeq7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vMozqwARxRxVVn8it5Ac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6p6YPtEuSj.qeCuzR_D3f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6HifRYZB43XlbHIonEEQf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4tVlKZ6YtCQ2MNMsWxO06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FlAexwJGVGImAtQh6Viz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DthS_EjG8_.r4FVtYAmF1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p0WdDjtIPR1YntdOC_Wo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NMEBrOg52B3ceSO.H26c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KVuWbn6dCj4a4xo91F0ZI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ajfId8ms2mUO5vKsJN3d4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scgB7ixbpqA2LI7sSNzyD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BFlhXYggr9CmSMjPTh2iO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59xnzpb8PxvAlw2AhNdg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yf9DRPZvPgonB1MpaZfoz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Iw2BOaflnqY_SeVoRYJC.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GV7KtPq.BjU_2uBY4.d2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62Tq9AXFvYBh9PttNs4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U8UhNDgejwEF1s7IIgS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34OXX8MXP_DyopvJUaF3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C6C6LPKM5hmrF1LlgKKG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e0YRQkmY6CSvyAVFS9JPf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Zb6U_AT7sxFr2io5zxVA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ghb3ofl5iF.130op3CNJI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4l.Z_rn4UVxAnq7uiESsC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HpWV_to0E4zka9RLl3BB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niciIFHuIUn17gUjbuZ9f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6KCaiG28ReraHugTIyS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zb9OHLecygd4HdoIXS84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wBXL8Axbd9Ps3Ft._G.jT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0xyjkOzgag3UstzyM0qU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c.Xkr46WMq_c9AuLo5hC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upoeH0RYPI_p2pVzX3qQM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lF0NgjspnqMZvM5Bu8FE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t011QByYiDoMz8tITObIp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YV5lYWrnZN7M9ZAqvmDD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cUELyTuvQbjvdJIIw8Pn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ALW8tmBmDcytLo.CgPiJ4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_ZGPUlwFXxNFcmyY4KjP1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fHXv5spL0OZdRXparaEm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8PEa4KND51ke0oXoWgBoa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R89a40Ka_kotD_URAiOth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Kkk9gR3umUhc4iKX6ry_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fLf5UoXpDHO_5bE4wcqa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7c4N9B1LHCoVVi25A8EV8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CvfAYRX030x14Kq.yQwEm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7ACwbPsQ8v5pXSIxAxOu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65InTMwko17bS.19DPgd3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6TpyWYInL6brLkokb_3RW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UBhaiwQ7wVeZtOZ7cDbr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a06jhwL0OmsT2btcvp5n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qzaUYIysa_N37ROswlMR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2WxEjrpgMkvgKkzC0tuZn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KFomMxq7pPHJIkIcWoxz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QVI7i7K4x_88rmg0x0jEs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LpQDwe25YcvB4cLDtY1dV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jkWHTx8T9FbCQpnqnF8oX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y2e.oRwTlI5szStkZtdHG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GVHQTDkpJ9EOXvNl38QtC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xlLaoi_xuA_NYb_xunnAZ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zGfn7WwkIAHR0nxhSqZw_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wrupshIJB7SAdT5pWmRc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dMCuvDH05.gLDGgEQJeIj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IQfdew0knLtXcfzx6aGzZ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QT20L597ykfNF_0IHpBF2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yFa0mTwzSu9tUVufq.VoL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OC25HksAyA7LkUuC.wHBV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DjJJlD7PKINsgcIs4oCWc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SUjbU1VhiD7PFbMM.HCNS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Fy7B9x7e9yQM7KuYDh_mD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8TDXwQYALlR2ETR9n4Ga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i8Pj1GlXrIf00bWGZgL8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s.h9rvUUA1_mkx1R2YMj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0k5R6BErNMVNaPIh8_5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NjDAHYiXWDKgHhg6dWgId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pHe0bJ57VSQE1CQe75AdX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g1POCKGHe2F68ntAmcyh7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392vXGgmJh7HqK2wIK5qz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1uSEQIPuRbyeDJz20.rG8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cB1FrXXtDdEJYXLQ5k16L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xSTIkwVLvJjn3sWpVdpqU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n146LtHAeM0cy8.cW6FB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WwfiDFxgf86MSFbD7vg2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O67ZQZ9kvqWB6bb_jPQs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KQpS0NTL5RkSwet4Xsyn0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vmCafHaDs_Q6ckvpk2tW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4wRxALC9321Wr_D2o.C6J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3pYcIdqhPhM2dFkm34Fz0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DtJBDH17OUaG.mQGZrcIW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Ip1_B.b4l6EqSA2Pw4.M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JX49SLEDVc6GtluAuyPwX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kR4ONTu9bOBScew0h5K8I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JgURxpeyabASaY6Gewr6a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Ru700I6Q_Jc511NpDv2k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fAvMeAByW0LCFtDBJLx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EqmrpSxVZzBnew6o355qj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asCBBNlYOee4yCNR5dvMy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C.UEQyCMcUz8LKUtoMgp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_g7FKpjwKH4xde0VNFFn1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NKCPLsfSHUlIJ1AeIZcF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QhwHHAHFsUnsbfcS6dty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eIVQ5pR.o1ZtGWbjeGPM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fknh09PG83EzHhZMr1HXN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EBMtJhlxXF1bj8Qk.e9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6e3gsFkZCOLepvHOX2EqL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iSk1hJPm1HXHcqkyA9nxT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4443</Words>
  <Application>Microsoft Office PowerPoint</Application>
  <PresentationFormat>A4 210 x 297 mm</PresentationFormat>
  <Paragraphs>3632</Paragraphs>
  <Slides>88</Slides>
  <Notes>16</Notes>
  <HiddenSlides>0</HiddenSlides>
  <MMClips>0</MMClips>
  <ScaleCrop>false</ScaleCrop>
  <HeadingPairs>
    <vt:vector size="8" baseType="variant">
      <vt:variant>
        <vt:lpstr>使用されているフォント</vt:lpstr>
      </vt:variant>
      <vt:variant>
        <vt:i4>13</vt:i4>
      </vt:variant>
      <vt:variant>
        <vt:lpstr>テーマ</vt:lpstr>
      </vt:variant>
      <vt:variant>
        <vt:i4>2</vt:i4>
      </vt:variant>
      <vt:variant>
        <vt:lpstr>埋め込まれた OLE サーバー</vt:lpstr>
      </vt:variant>
      <vt:variant>
        <vt:i4>1</vt:i4>
      </vt:variant>
      <vt:variant>
        <vt:lpstr>スライド タイトル</vt:lpstr>
      </vt:variant>
      <vt:variant>
        <vt:i4>88</vt:i4>
      </vt:variant>
    </vt:vector>
  </HeadingPairs>
  <TitlesOfParts>
    <vt:vector size="104" baseType="lpstr">
      <vt:lpstr>Arial Unicode MS</vt:lpstr>
      <vt:lpstr>HGP創英角ｺﾞｼｯｸUB</vt:lpstr>
      <vt:lpstr>Meiryo UI</vt:lpstr>
      <vt:lpstr>ＭＳ Ｐゴシック</vt:lpstr>
      <vt:lpstr>Yu Gothic UI</vt:lpstr>
      <vt:lpstr>Yu Gothic UI (body)</vt:lpstr>
      <vt:lpstr>ヒラギノ角ゴ Pro W3</vt:lpstr>
      <vt:lpstr>Yu Gothic</vt:lpstr>
      <vt:lpstr>Arial</vt:lpstr>
      <vt:lpstr>Arial Black</vt:lpstr>
      <vt:lpstr>Courier New</vt:lpstr>
      <vt:lpstr>Georgia</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シンガポール／一般概況</vt:lpstr>
      <vt:lpstr>シンガポール／一般概況／経済</vt:lpstr>
      <vt:lpstr>シンガポール／一般概況／経済</vt:lpstr>
      <vt:lpstr>シンガポール／一般概況／経済</vt:lpstr>
      <vt:lpstr>シンガポール／一般概況／経済</vt:lpstr>
      <vt:lpstr>シンガポール／一般概況／経済</vt:lpstr>
      <vt:lpstr>シンガポール／一般概況／規制</vt:lpstr>
      <vt:lpstr>シンガポール／一般概況／規制</vt:lpstr>
      <vt:lpstr>シンガポール／一般概況／規制</vt:lpstr>
      <vt:lpstr>シンガポール／一般概況／規制</vt:lpstr>
      <vt:lpstr>シンガポール／一般概況／規制</vt:lpstr>
      <vt:lpstr>シンガポール／一般概況／規制</vt:lpstr>
      <vt:lpstr>医療関連</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医療サービス</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薬品</vt:lpstr>
      <vt:lpstr>シンガポール／医療関連／医薬品</vt:lpstr>
      <vt:lpstr>シンガポール／医療関連／医薬品</vt:lpstr>
      <vt:lpstr>シンガポール／医療関連／介護</vt:lpstr>
      <vt:lpstr>シンガポール／医療関連／歯科</vt:lpstr>
      <vt:lpstr>その他</vt:lpstr>
      <vt:lpstr>シンガポール／医療関連／その他</vt:lpstr>
      <vt:lpstr>シンガポール／医療関連／その他</vt:lpstr>
      <vt:lpstr>シンガポール／医療関連／その他</vt:lpstr>
      <vt:lpstr>シンガポール／医療関連／その他</vt:lpstr>
      <vt:lpstr>シンガポール／医療関連／その他</vt:lpstr>
      <vt:lpstr>シンガポール／医療関連／その他</vt:lpstr>
      <vt:lpstr>政策動向</vt:lpstr>
      <vt:lpstr>シンガポール／政策動向</vt:lpstr>
      <vt:lpstr>シンガポール／政策動向</vt:lpstr>
      <vt:lpstr>シンガポール／政策動向</vt:lpstr>
      <vt:lpstr>シンガポール／政策動向</vt:lpstr>
      <vt:lpstr>シンガポール／政策動向</vt:lpstr>
      <vt:lpstr>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41:40Z</dcterms:created>
  <dcterms:modified xsi:type="dcterms:W3CDTF">2026-06-04T04:18:28Z</dcterms:modified>
</cp:coreProperties>
</file>